
<file path=[Content_Types].xml><?xml version="1.0" encoding="utf-8"?>
<Types xmlns="http://schemas.openxmlformats.org/package/2006/content-types">
  <Default Extension="bin" ContentType="application/vnd.openxmlformats-officedocument.oleObject"/>
  <Default Extension="bmp" ContentType="image/bmp"/>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5.xml" ContentType="application/vnd.openxmlformats-officedocument.theme+xml"/>
  <Override PartName="/ppt/tags/tag109.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6.xml" ContentType="application/vnd.openxmlformats-officedocument.theme+xml"/>
  <Override PartName="/ppt/tags/tag110.xml" ContentType="application/vnd.openxmlformats-officedocument.presentationml.tags+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7.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8.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9.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0.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11.xml" ContentType="application/vnd.openxmlformats-officedocument.theme+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theme/theme12.xml" ContentType="application/vnd.openxmlformats-officedocument.theme+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theme/theme1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theme/theme14.xml" ContentType="application/vnd.openxmlformats-officedocument.theme+xml"/>
  <Override PartName="/ppt/tags/tag270.xml" ContentType="application/vnd.openxmlformats-officedocument.presentationml.tags+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theme/theme15.xml" ContentType="application/vnd.openxmlformats-officedocument.theme+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theme/theme16.xml" ContentType="application/vnd.openxmlformats-officedocument.theme+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theme/theme17.xml" ContentType="application/vnd.openxmlformats-officedocument.theme+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notesSlides/notesSlide9.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0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7FFFF078_5A764120.xml" ContentType="application/vnd.ms-powerpoint.comments+xml"/>
  <Override PartName="/ppt/notesSlides/notesSlide22.xml" ContentType="application/vnd.openxmlformats-officedocument.presentationml.notesSlide+xml"/>
  <Override PartName="/ppt/comments/modernComment_7FFE64FC_E2C6D4CC.xml" ContentType="application/vnd.ms-powerpoint.comment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heme/themeOverride1.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23" r:id="rId2"/>
    <p:sldMasterId id="2147483740" r:id="rId3"/>
    <p:sldMasterId id="2147483792" r:id="rId4"/>
    <p:sldMasterId id="2147483891" r:id="rId5"/>
    <p:sldMasterId id="2147483919" r:id="rId6"/>
    <p:sldMasterId id="2147483948" r:id="rId7"/>
    <p:sldMasterId id="2147483960" r:id="rId8"/>
    <p:sldMasterId id="2147484026" r:id="rId9"/>
    <p:sldMasterId id="2147484039" r:id="rId10"/>
    <p:sldMasterId id="2147484050" r:id="rId11"/>
    <p:sldMasterId id="2147484122" r:id="rId12"/>
    <p:sldMasterId id="2147484181" r:id="rId13"/>
    <p:sldMasterId id="2147484210" r:id="rId14"/>
    <p:sldMasterId id="2147484238" r:id="rId15"/>
    <p:sldMasterId id="2147484460" r:id="rId16"/>
    <p:sldMasterId id="2147484472" r:id="rId17"/>
    <p:sldMasterId id="2147484535" r:id="rId18"/>
  </p:sldMasterIdLst>
  <p:notesMasterIdLst>
    <p:notesMasterId r:id="rId72"/>
  </p:notesMasterIdLst>
  <p:sldIdLst>
    <p:sldId id="2147480874" r:id="rId19"/>
    <p:sldId id="2147483110" r:id="rId20"/>
    <p:sldId id="2147483220" r:id="rId21"/>
    <p:sldId id="261" r:id="rId22"/>
    <p:sldId id="2147483083" r:id="rId23"/>
    <p:sldId id="2147483645" r:id="rId24"/>
    <p:sldId id="288" r:id="rId25"/>
    <p:sldId id="349" r:id="rId26"/>
    <p:sldId id="264" r:id="rId27"/>
    <p:sldId id="268" r:id="rId28"/>
    <p:sldId id="277" r:id="rId29"/>
    <p:sldId id="2147483647" r:id="rId30"/>
    <p:sldId id="2147483084" r:id="rId31"/>
    <p:sldId id="345" r:id="rId32"/>
    <p:sldId id="2147482924" r:id="rId33"/>
    <p:sldId id="2147483640" r:id="rId34"/>
    <p:sldId id="269" r:id="rId35"/>
    <p:sldId id="282" r:id="rId36"/>
    <p:sldId id="271" r:id="rId37"/>
    <p:sldId id="297" r:id="rId38"/>
    <p:sldId id="272" r:id="rId39"/>
    <p:sldId id="273" r:id="rId40"/>
    <p:sldId id="2147483085" r:id="rId41"/>
    <p:sldId id="2147483434" r:id="rId42"/>
    <p:sldId id="2147481360" r:id="rId43"/>
    <p:sldId id="2147479597" r:id="rId44"/>
    <p:sldId id="2147483631" r:id="rId45"/>
    <p:sldId id="259" r:id="rId46"/>
    <p:sldId id="2147471122" r:id="rId47"/>
    <p:sldId id="257" r:id="rId48"/>
    <p:sldId id="267" r:id="rId49"/>
    <p:sldId id="2147483627" r:id="rId50"/>
    <p:sldId id="2147479672" r:id="rId51"/>
    <p:sldId id="2147378428" r:id="rId52"/>
    <p:sldId id="2147479800" r:id="rId53"/>
    <p:sldId id="258" r:id="rId54"/>
    <p:sldId id="274" r:id="rId55"/>
    <p:sldId id="278" r:id="rId56"/>
    <p:sldId id="260" r:id="rId57"/>
    <p:sldId id="2147483534" r:id="rId58"/>
    <p:sldId id="2147483643" r:id="rId59"/>
    <p:sldId id="262" r:id="rId60"/>
    <p:sldId id="276" r:id="rId61"/>
    <p:sldId id="2147483644" r:id="rId62"/>
    <p:sldId id="266" r:id="rId63"/>
    <p:sldId id="270" r:id="rId64"/>
    <p:sldId id="2147483641" r:id="rId65"/>
    <p:sldId id="2147483273" r:id="rId66"/>
    <p:sldId id="263" r:id="rId67"/>
    <p:sldId id="2147483583" r:id="rId68"/>
    <p:sldId id="265" r:id="rId69"/>
    <p:sldId id="2147483642" r:id="rId70"/>
    <p:sldId id="2147483105"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FB5CED-A992-F652-BEB5-B90BB3D0B4B1}" name="HASSO-AGOPSOWICZ, Mateusz" initials="MH" userId="S::hassoagopsowiczm@who.int::072679ea-b912-422e-a83a-f65c77bf980b"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5F7B6D-749F-4783-AE69-935D0B2462CA}" v="3" dt="2025-10-02T11:28:48.5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06" d="100"/>
          <a:sy n="106" d="100"/>
        </p:scale>
        <p:origin x="792"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slide" Target="slides/slide45.xml"/><Relationship Id="rId68" Type="http://schemas.openxmlformats.org/officeDocument/2006/relationships/slide" Target="slides/slide50.xml"/><Relationship Id="rId76"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53.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1.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openxmlformats.org/officeDocument/2006/relationships/viewProps" Target="viewProps.xml"/><Relationship Id="rId79" Type="http://schemas.microsoft.com/office/2018/10/relationships/authors" Target="authors.xml"/><Relationship Id="rId5" Type="http://schemas.openxmlformats.org/officeDocument/2006/relationships/slideMaster" Target="slideMasters/slideMaster5.xml"/><Relationship Id="rId61" Type="http://schemas.openxmlformats.org/officeDocument/2006/relationships/slide" Target="slides/slide43.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presProps" Target="presProps.xml"/><Relationship Id="rId78"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microsoft.com/office/2016/11/relationships/changesInfo" Target="changesInfos/changesInfo1.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NAFF, Louise" userId="1fce807b-cec0-448f-8696-ba70cb03b3e1" providerId="ADAL" clId="{6F5F7B6D-749F-4783-AE69-935D0B2462CA}"/>
    <pc:docChg chg="undo custSel addSld delSld modSld sldOrd">
      <pc:chgData name="HENAFF, Louise" userId="1fce807b-cec0-448f-8696-ba70cb03b3e1" providerId="ADAL" clId="{6F5F7B6D-749F-4783-AE69-935D0B2462CA}" dt="2025-10-02T12:01:41.570" v="12" actId="1076"/>
      <pc:docMkLst>
        <pc:docMk/>
      </pc:docMkLst>
      <pc:sldChg chg="ord">
        <pc:chgData name="HENAFF, Louise" userId="1fce807b-cec0-448f-8696-ba70cb03b3e1" providerId="ADAL" clId="{6F5F7B6D-749F-4783-AE69-935D0B2462CA}" dt="2025-10-02T11:28:03.288" v="3"/>
        <pc:sldMkLst>
          <pc:docMk/>
          <pc:sldMk cId="3321456127" sldId="2147479597"/>
        </pc:sldMkLst>
      </pc:sldChg>
      <pc:sldChg chg="addSp delSp modSp mod">
        <pc:chgData name="HENAFF, Louise" userId="1fce807b-cec0-448f-8696-ba70cb03b3e1" providerId="ADAL" clId="{6F5F7B6D-749F-4783-AE69-935D0B2462CA}" dt="2025-10-02T11:47:55.182" v="8" actId="478"/>
        <pc:sldMkLst>
          <pc:docMk/>
          <pc:sldMk cId="2565853142" sldId="2147480874"/>
        </pc:sldMkLst>
        <pc:spChg chg="del">
          <ac:chgData name="HENAFF, Louise" userId="1fce807b-cec0-448f-8696-ba70cb03b3e1" providerId="ADAL" clId="{6F5F7B6D-749F-4783-AE69-935D0B2462CA}" dt="2025-10-02T11:47:55.182" v="8" actId="478"/>
          <ac:spMkLst>
            <pc:docMk/>
            <pc:sldMk cId="2565853142" sldId="2147480874"/>
            <ac:spMk id="3" creationId="{6487A2A0-99D3-40B7-BDFE-EF6CA30AB335}"/>
          </ac:spMkLst>
        </pc:spChg>
        <pc:spChg chg="add mod">
          <ac:chgData name="HENAFF, Louise" userId="1fce807b-cec0-448f-8696-ba70cb03b3e1" providerId="ADAL" clId="{6F5F7B6D-749F-4783-AE69-935D0B2462CA}" dt="2025-10-02T11:47:55.182" v="8" actId="478"/>
          <ac:spMkLst>
            <pc:docMk/>
            <pc:sldMk cId="2565853142" sldId="2147480874"/>
            <ac:spMk id="7" creationId="{D46BFBC6-D41A-7C02-A418-FA021F5E9CD4}"/>
          </ac:spMkLst>
        </pc:spChg>
      </pc:sldChg>
      <pc:sldChg chg="ord">
        <pc:chgData name="HENAFF, Louise" userId="1fce807b-cec0-448f-8696-ba70cb03b3e1" providerId="ADAL" clId="{6F5F7B6D-749F-4783-AE69-935D0B2462CA}" dt="2025-10-02T11:28:03.288" v="3"/>
        <pc:sldMkLst>
          <pc:docMk/>
          <pc:sldMk cId="4189639994" sldId="2147481360"/>
        </pc:sldMkLst>
      </pc:sldChg>
      <pc:sldChg chg="mod modShow">
        <pc:chgData name="HENAFF, Louise" userId="1fce807b-cec0-448f-8696-ba70cb03b3e1" providerId="ADAL" clId="{6F5F7B6D-749F-4783-AE69-935D0B2462CA}" dt="2025-10-02T11:27:43.010" v="1" actId="729"/>
        <pc:sldMkLst>
          <pc:docMk/>
          <pc:sldMk cId="3371615713" sldId="2147482924"/>
        </pc:sldMkLst>
      </pc:sldChg>
      <pc:sldChg chg="ord">
        <pc:chgData name="HENAFF, Louise" userId="1fce807b-cec0-448f-8696-ba70cb03b3e1" providerId="ADAL" clId="{6F5F7B6D-749F-4783-AE69-935D0B2462CA}" dt="2025-10-02T11:28:03.288" v="3"/>
        <pc:sldMkLst>
          <pc:docMk/>
          <pc:sldMk cId="1636138976" sldId="2147483085"/>
        </pc:sldMkLst>
      </pc:sldChg>
      <pc:sldChg chg="modSp mod ord">
        <pc:chgData name="HENAFF, Louise" userId="1fce807b-cec0-448f-8696-ba70cb03b3e1" providerId="ADAL" clId="{6F5F7B6D-749F-4783-AE69-935D0B2462CA}" dt="2025-10-02T12:01:41.570" v="12" actId="1076"/>
        <pc:sldMkLst>
          <pc:docMk/>
          <pc:sldMk cId="3806834707" sldId="2147483110"/>
        </pc:sldMkLst>
        <pc:graphicFrameChg chg="mod">
          <ac:chgData name="HENAFF, Louise" userId="1fce807b-cec0-448f-8696-ba70cb03b3e1" providerId="ADAL" clId="{6F5F7B6D-749F-4783-AE69-935D0B2462CA}" dt="2025-10-02T12:01:41.570" v="12" actId="1076"/>
          <ac:graphicFrameMkLst>
            <pc:docMk/>
            <pc:sldMk cId="3806834707" sldId="2147483110"/>
            <ac:graphicFrameMk id="4" creationId="{0CA6D06B-34C6-805A-5A11-6063FCA05232}"/>
          </ac:graphicFrameMkLst>
        </pc:graphicFrameChg>
      </pc:sldChg>
      <pc:sldChg chg="ord">
        <pc:chgData name="HENAFF, Louise" userId="1fce807b-cec0-448f-8696-ba70cb03b3e1" providerId="ADAL" clId="{6F5F7B6D-749F-4783-AE69-935D0B2462CA}" dt="2025-10-02T11:28:03.288" v="3"/>
        <pc:sldMkLst>
          <pc:docMk/>
          <pc:sldMk cId="3598364041" sldId="2147483434"/>
        </pc:sldMkLst>
      </pc:sldChg>
      <pc:sldChg chg="ord">
        <pc:chgData name="HENAFF, Louise" userId="1fce807b-cec0-448f-8696-ba70cb03b3e1" providerId="ADAL" clId="{6F5F7B6D-749F-4783-AE69-935D0B2462CA}" dt="2025-10-02T11:28:03.288" v="3"/>
        <pc:sldMkLst>
          <pc:docMk/>
          <pc:sldMk cId="2990296811" sldId="2147483631"/>
        </pc:sldMkLst>
      </pc:sldChg>
      <pc:sldChg chg="add del">
        <pc:chgData name="HENAFF, Louise" userId="1fce807b-cec0-448f-8696-ba70cb03b3e1" providerId="ADAL" clId="{6F5F7B6D-749F-4783-AE69-935D0B2462CA}" dt="2025-10-02T11:28:48.593" v="7"/>
        <pc:sldMkLst>
          <pc:docMk/>
          <pc:sldMk cId="1914211869" sldId="2147483642"/>
        </pc:sldMkLst>
      </pc:sldChg>
      <pc:sldChg chg="del">
        <pc:chgData name="HENAFF, Louise" userId="1fce807b-cec0-448f-8696-ba70cb03b3e1" providerId="ADAL" clId="{6F5F7B6D-749F-4783-AE69-935D0B2462CA}" dt="2025-10-02T11:27:30.099" v="0" actId="47"/>
        <pc:sldMkLst>
          <pc:docMk/>
          <pc:sldMk cId="301701700" sldId="2147483646"/>
        </pc:sldMkLst>
      </pc:sld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https://worldhealthorg-my.sharepoint.com/personal/grevendonkj_who_int/Documents/DTP%20and%20MCV%20coverage%20and%20unvx.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https://worldhealthorg-my.sharepoint.com/personal/grevendonkj_who_int/Documents/DTP%20and%20MCV%20coverage%20and%20unvx.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90158152932873"/>
          <c:y val="0.17171296296296296"/>
          <c:w val="0.86808228135922927"/>
          <c:h val="0.61498432487605714"/>
        </c:manualLayout>
      </c:layout>
      <c:barChart>
        <c:barDir val="bar"/>
        <c:grouping val="stacked"/>
        <c:varyColors val="0"/>
        <c:ser>
          <c:idx val="1"/>
          <c:order val="0"/>
          <c:tx>
            <c:strRef>
              <c:f>'dtp 2000-2024 (2)'!$M$5</c:f>
              <c:strCache>
                <c:ptCount val="1"/>
                <c:pt idx="0">
                  <c:v>Zero dose</c:v>
                </c:pt>
              </c:strCache>
            </c:strRef>
          </c:tx>
          <c:spPr>
            <a:solidFill>
              <a:srgbClr val="134A8A"/>
            </a:solidFill>
          </c:spPr>
          <c:invertIfNegative val="0"/>
          <c:dLbls>
            <c:numFmt formatCode="#,##0.0_ ;\-#,##0.0\ " sourceLinked="0"/>
            <c:spPr>
              <a:noFill/>
              <a:ln>
                <a:noFill/>
              </a:ln>
              <a:effectLst/>
            </c:spPr>
            <c:txPr>
              <a:bodyPr rot="0" spcFirstLastPara="1" vertOverflow="ellipsis" vert="horz" wrap="square" lIns="38100" tIns="19050" rIns="38100" bIns="19050" anchor="ctr" anchorCtr="0">
                <a:spAutoFit/>
              </a:bodyPr>
              <a:lstStyle/>
              <a:p>
                <a:pPr algn="ctr">
                  <a:defRPr lang="en-GB"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numRef>
              <c:f>'dtp 2000-2024 (2)'!$J$33:$J$35</c:f>
              <c:numCache>
                <c:formatCode>General</c:formatCode>
                <c:ptCount val="3"/>
                <c:pt idx="0">
                  <c:v>2019</c:v>
                </c:pt>
                <c:pt idx="1">
                  <c:v>2023</c:v>
                </c:pt>
                <c:pt idx="2">
                  <c:v>2023</c:v>
                </c:pt>
              </c:numCache>
            </c:numRef>
          </c:cat>
          <c:val>
            <c:numRef>
              <c:f>'dtp 2000-2024 (2)'!$M$33:$M$35</c:f>
              <c:numCache>
                <c:formatCode>#,##0_ ;\-#,##0\ </c:formatCode>
                <c:ptCount val="3"/>
                <c:pt idx="0">
                  <c:v>12.857920999999999</c:v>
                </c:pt>
                <c:pt idx="1">
                  <c:v>14.442897</c:v>
                </c:pt>
                <c:pt idx="2">
                  <c:v>14.271425000000001</c:v>
                </c:pt>
              </c:numCache>
            </c:numRef>
          </c:val>
          <c:extLst>
            <c:ext xmlns:c16="http://schemas.microsoft.com/office/drawing/2014/chart" uri="{C3380CC4-5D6E-409C-BE32-E72D297353CC}">
              <c16:uniqueId val="{00000000-B432-4541-9448-37ABF42FC317}"/>
            </c:ext>
          </c:extLst>
        </c:ser>
        <c:ser>
          <c:idx val="4"/>
          <c:order val="1"/>
          <c:tx>
            <c:strRef>
              <c:f>'dtp 2000-2024 (2)'!$O$5</c:f>
              <c:strCache>
                <c:ptCount val="1"/>
                <c:pt idx="0">
                  <c:v>Drop-Out</c:v>
                </c:pt>
              </c:strCache>
            </c:strRef>
          </c:tx>
          <c:spPr>
            <a:solidFill>
              <a:schemeClr val="bg1">
                <a:lumMod val="65000"/>
              </a:schemeClr>
            </a:solidFill>
          </c:spPr>
          <c:invertIfNegative val="0"/>
          <c:dLbls>
            <c:numFmt formatCode="#,##0.0_ ;\-#,##0.0\ " sourceLinked="0"/>
            <c:spPr>
              <a:noFill/>
              <a:ln>
                <a:noFill/>
              </a:ln>
              <a:effectLst/>
            </c:spPr>
            <c:txPr>
              <a:bodyPr rot="0" spcFirstLastPara="1" vertOverflow="ellipsis" vert="horz" wrap="square" lIns="38100" tIns="19050" rIns="38100" bIns="19050" anchor="ctr" anchorCtr="0">
                <a:spAutoFit/>
              </a:bodyPr>
              <a:lstStyle/>
              <a:p>
                <a:pPr algn="ctr">
                  <a:defRPr lang="en-GB"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numRef>
              <c:f>'dtp 2000-2024 (2)'!$J$33:$J$35</c:f>
              <c:numCache>
                <c:formatCode>General</c:formatCode>
                <c:ptCount val="3"/>
                <c:pt idx="0">
                  <c:v>2019</c:v>
                </c:pt>
                <c:pt idx="1">
                  <c:v>2023</c:v>
                </c:pt>
                <c:pt idx="2">
                  <c:v>2023</c:v>
                </c:pt>
              </c:numCache>
            </c:numRef>
          </c:cat>
          <c:val>
            <c:numRef>
              <c:f>'dtp 2000-2024 (2)'!$O$33:$O$35</c:f>
              <c:numCache>
                <c:formatCode>#,##0_ ;\-#,##0\ </c:formatCode>
                <c:ptCount val="3"/>
                <c:pt idx="0">
                  <c:v>5.5605000000000002</c:v>
                </c:pt>
                <c:pt idx="1">
                  <c:v>5.9153409999999997</c:v>
                </c:pt>
                <c:pt idx="2">
                  <c:v>5.6604660000000004</c:v>
                </c:pt>
              </c:numCache>
            </c:numRef>
          </c:val>
          <c:extLst>
            <c:ext xmlns:c16="http://schemas.microsoft.com/office/drawing/2014/chart" uri="{C3380CC4-5D6E-409C-BE32-E72D297353CC}">
              <c16:uniqueId val="{00000001-B432-4541-9448-37ABF42FC317}"/>
            </c:ext>
          </c:extLst>
        </c:ser>
        <c:dLbls>
          <c:showLegendKey val="0"/>
          <c:showVal val="1"/>
          <c:showCatName val="0"/>
          <c:showSerName val="0"/>
          <c:showPercent val="0"/>
          <c:showBubbleSize val="0"/>
        </c:dLbls>
        <c:gapWidth val="27"/>
        <c:overlap val="100"/>
        <c:axId val="422752664"/>
        <c:axId val="422758896"/>
      </c:barChart>
      <c:catAx>
        <c:axId val="422752664"/>
        <c:scaling>
          <c:orientation val="minMax"/>
        </c:scaling>
        <c:delete val="0"/>
        <c:axPos val="l"/>
        <c:numFmt formatCode="General" sourceLinked="1"/>
        <c:majorTickMark val="out"/>
        <c:minorTickMark val="none"/>
        <c:tickLblPos val="nextTo"/>
        <c:txPr>
          <a:bodyPr/>
          <a:lstStyle/>
          <a:p>
            <a:pPr>
              <a:defRPr sz="1200"/>
            </a:pPr>
            <a:endParaRPr lang="en-US"/>
          </a:p>
        </c:txPr>
        <c:crossAx val="422758896"/>
        <c:crosses val="autoZero"/>
        <c:auto val="1"/>
        <c:lblAlgn val="ctr"/>
        <c:lblOffset val="100"/>
        <c:noMultiLvlLbl val="0"/>
      </c:catAx>
      <c:valAx>
        <c:axId val="422758896"/>
        <c:scaling>
          <c:orientation val="minMax"/>
          <c:max val="20"/>
          <c:min val="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 ;\-#,##0\ "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422752664"/>
        <c:crosses val="autoZero"/>
        <c:crossBetween val="between"/>
        <c:majorUnit val="5"/>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stacked"/>
        <c:varyColors val="0"/>
        <c:ser>
          <c:idx val="1"/>
          <c:order val="2"/>
          <c:tx>
            <c:strRef>
              <c:f>'dtp 2000-2024 (2)'!$H$5</c:f>
              <c:strCache>
                <c:ptCount val="1"/>
                <c:pt idx="0">
                  <c:v>Zero dose</c:v>
                </c:pt>
              </c:strCache>
            </c:strRef>
          </c:tx>
          <c:spPr>
            <a:solidFill>
              <a:srgbClr val="134A8A"/>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4B5A-483A-83E5-66173A40A2A5}"/>
                </c:ext>
              </c:extLst>
            </c:dLbl>
            <c:dLbl>
              <c:idx val="2"/>
              <c:delete val="1"/>
              <c:extLst>
                <c:ext xmlns:c15="http://schemas.microsoft.com/office/drawing/2012/chart" uri="{CE6537A1-D6FC-4f65-9D91-7224C49458BB}"/>
                <c:ext xmlns:c16="http://schemas.microsoft.com/office/drawing/2014/chart" uri="{C3380CC4-5D6E-409C-BE32-E72D297353CC}">
                  <c16:uniqueId val="{00000001-4B5A-483A-83E5-66173A40A2A5}"/>
                </c:ext>
              </c:extLst>
            </c:dLbl>
            <c:dLbl>
              <c:idx val="3"/>
              <c:delete val="1"/>
              <c:extLst>
                <c:ext xmlns:c15="http://schemas.microsoft.com/office/drawing/2012/chart" uri="{CE6537A1-D6FC-4f65-9D91-7224C49458BB}"/>
                <c:ext xmlns:c16="http://schemas.microsoft.com/office/drawing/2014/chart" uri="{C3380CC4-5D6E-409C-BE32-E72D297353CC}">
                  <c16:uniqueId val="{00000002-4B5A-483A-83E5-66173A40A2A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tp 2000-2024 (2)'!$A$6:$A$30</c:f>
              <c:numCache>
                <c:formatCode>General</c:formatCode>
                <c:ptCount val="25"/>
                <c:pt idx="0">
                  <c:v>2000</c:v>
                </c:pt>
                <c:pt idx="5">
                  <c:v>2005</c:v>
                </c:pt>
                <c:pt idx="10">
                  <c:v>2010</c:v>
                </c:pt>
                <c:pt idx="15">
                  <c:v>2015</c:v>
                </c:pt>
                <c:pt idx="16">
                  <c:v>2016</c:v>
                </c:pt>
                <c:pt idx="17">
                  <c:v>2017</c:v>
                </c:pt>
                <c:pt idx="18">
                  <c:v>2018</c:v>
                </c:pt>
                <c:pt idx="19">
                  <c:v>2019</c:v>
                </c:pt>
                <c:pt idx="20">
                  <c:v>2020</c:v>
                </c:pt>
                <c:pt idx="21">
                  <c:v>2021</c:v>
                </c:pt>
                <c:pt idx="22">
                  <c:v>2022</c:v>
                </c:pt>
                <c:pt idx="23">
                  <c:v>2023</c:v>
                </c:pt>
                <c:pt idx="24">
                  <c:v>2024</c:v>
                </c:pt>
              </c:numCache>
            </c:numRef>
          </c:cat>
          <c:val>
            <c:numRef>
              <c:f>'dtp 2000-2024 (2)'!$M$21:$M$30</c:f>
              <c:numCache>
                <c:formatCode>#,##0.0_ ;\-#,##0.0\ </c:formatCode>
                <c:ptCount val="10"/>
                <c:pt idx="0">
                  <c:v>15.065336</c:v>
                </c:pt>
                <c:pt idx="1">
                  <c:v>14.30017</c:v>
                </c:pt>
                <c:pt idx="2">
                  <c:v>13.833259</c:v>
                </c:pt>
                <c:pt idx="3">
                  <c:v>13.393770999999999</c:v>
                </c:pt>
                <c:pt idx="4">
                  <c:v>12.857920999999999</c:v>
                </c:pt>
                <c:pt idx="5">
                  <c:v>16.110569999999999</c:v>
                </c:pt>
                <c:pt idx="6">
                  <c:v>17.430854</c:v>
                </c:pt>
                <c:pt idx="7">
                  <c:v>13.597657999999999</c:v>
                </c:pt>
                <c:pt idx="8">
                  <c:v>14.442897</c:v>
                </c:pt>
                <c:pt idx="9">
                  <c:v>14.271425000000001</c:v>
                </c:pt>
              </c:numCache>
            </c:numRef>
          </c:val>
          <c:extLst>
            <c:ext xmlns:c16="http://schemas.microsoft.com/office/drawing/2014/chart" uri="{C3380CC4-5D6E-409C-BE32-E72D297353CC}">
              <c16:uniqueId val="{00000003-4B5A-483A-83E5-66173A40A2A5}"/>
            </c:ext>
          </c:extLst>
        </c:ser>
        <c:ser>
          <c:idx val="3"/>
          <c:order val="3"/>
          <c:tx>
            <c:strRef>
              <c:f>'dtp 2000-2024 (2)'!$O$5</c:f>
              <c:strCache>
                <c:ptCount val="1"/>
                <c:pt idx="0">
                  <c:v>Drop-Out</c:v>
                </c:pt>
              </c:strCache>
            </c:strRef>
          </c:tx>
          <c:spPr>
            <a:solidFill>
              <a:schemeClr val="bg1">
                <a:lumMod val="65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4-4B5A-483A-83E5-66173A40A2A5}"/>
                </c:ext>
              </c:extLst>
            </c:dLbl>
            <c:dLbl>
              <c:idx val="2"/>
              <c:delete val="1"/>
              <c:extLst>
                <c:ext xmlns:c15="http://schemas.microsoft.com/office/drawing/2012/chart" uri="{CE6537A1-D6FC-4f65-9D91-7224C49458BB}"/>
                <c:ext xmlns:c16="http://schemas.microsoft.com/office/drawing/2014/chart" uri="{C3380CC4-5D6E-409C-BE32-E72D297353CC}">
                  <c16:uniqueId val="{00000005-4B5A-483A-83E5-66173A40A2A5}"/>
                </c:ext>
              </c:extLst>
            </c:dLbl>
            <c:dLbl>
              <c:idx val="3"/>
              <c:delete val="1"/>
              <c:extLst>
                <c:ext xmlns:c15="http://schemas.microsoft.com/office/drawing/2012/chart" uri="{CE6537A1-D6FC-4f65-9D91-7224C49458BB}"/>
                <c:ext xmlns:c16="http://schemas.microsoft.com/office/drawing/2014/chart" uri="{C3380CC4-5D6E-409C-BE32-E72D297353CC}">
                  <c16:uniqueId val="{00000006-4B5A-483A-83E5-66173A40A2A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tp 2000-2024 (2)'!$A$6:$A$30</c:f>
              <c:numCache>
                <c:formatCode>General</c:formatCode>
                <c:ptCount val="25"/>
                <c:pt idx="0">
                  <c:v>2000</c:v>
                </c:pt>
                <c:pt idx="5">
                  <c:v>2005</c:v>
                </c:pt>
                <c:pt idx="10">
                  <c:v>2010</c:v>
                </c:pt>
                <c:pt idx="15">
                  <c:v>2015</c:v>
                </c:pt>
                <c:pt idx="16">
                  <c:v>2016</c:v>
                </c:pt>
                <c:pt idx="17">
                  <c:v>2017</c:v>
                </c:pt>
                <c:pt idx="18">
                  <c:v>2018</c:v>
                </c:pt>
                <c:pt idx="19">
                  <c:v>2019</c:v>
                </c:pt>
                <c:pt idx="20">
                  <c:v>2020</c:v>
                </c:pt>
                <c:pt idx="21">
                  <c:v>2021</c:v>
                </c:pt>
                <c:pt idx="22">
                  <c:v>2022</c:v>
                </c:pt>
                <c:pt idx="23">
                  <c:v>2023</c:v>
                </c:pt>
                <c:pt idx="24">
                  <c:v>2024</c:v>
                </c:pt>
              </c:numCache>
            </c:numRef>
          </c:cat>
          <c:val>
            <c:numRef>
              <c:f>'dtp 2000-2024 (2)'!$O$21:$O$30</c:f>
              <c:numCache>
                <c:formatCode>#,##0.0_ ;\-#,##0.0\ </c:formatCode>
                <c:ptCount val="10"/>
                <c:pt idx="0">
                  <c:v>6.531377</c:v>
                </c:pt>
                <c:pt idx="1">
                  <c:v>5.723312</c:v>
                </c:pt>
                <c:pt idx="2">
                  <c:v>6.0913930000000001</c:v>
                </c:pt>
                <c:pt idx="3">
                  <c:v>5.599399</c:v>
                </c:pt>
                <c:pt idx="4">
                  <c:v>5.5605000000000002</c:v>
                </c:pt>
                <c:pt idx="5">
                  <c:v>6.2307940000000004</c:v>
                </c:pt>
                <c:pt idx="6">
                  <c:v>6.5382499999999997</c:v>
                </c:pt>
                <c:pt idx="7">
                  <c:v>6.1620889999999999</c:v>
                </c:pt>
                <c:pt idx="8">
                  <c:v>5.9153409999999997</c:v>
                </c:pt>
                <c:pt idx="9">
                  <c:v>5.6604660000000004</c:v>
                </c:pt>
              </c:numCache>
            </c:numRef>
          </c:val>
          <c:extLst>
            <c:ext xmlns:c16="http://schemas.microsoft.com/office/drawing/2014/chart" uri="{C3380CC4-5D6E-409C-BE32-E72D297353CC}">
              <c16:uniqueId val="{00000007-4B5A-483A-83E5-66173A40A2A5}"/>
            </c:ext>
          </c:extLst>
        </c:ser>
        <c:dLbls>
          <c:showLegendKey val="0"/>
          <c:showVal val="0"/>
          <c:showCatName val="0"/>
          <c:showSerName val="0"/>
          <c:showPercent val="0"/>
          <c:showBubbleSize val="0"/>
        </c:dLbls>
        <c:gapWidth val="39"/>
        <c:overlap val="100"/>
        <c:axId val="1092906479"/>
        <c:axId val="1092874863"/>
      </c:barChart>
      <c:lineChart>
        <c:grouping val="standard"/>
        <c:varyColors val="0"/>
        <c:ser>
          <c:idx val="0"/>
          <c:order val="0"/>
          <c:tx>
            <c:strRef>
              <c:f>'dtp 2000-2024 (2)'!$B$5</c:f>
              <c:strCache>
                <c:ptCount val="1"/>
                <c:pt idx="0">
                  <c:v>DTP3 coverage</c:v>
                </c:pt>
              </c:strCache>
            </c:strRef>
          </c:tx>
          <c:spPr>
            <a:ln w="28575" cap="rnd">
              <a:solidFill>
                <a:schemeClr val="bg1">
                  <a:lumMod val="65000"/>
                </a:schemeClr>
              </a:solidFill>
              <a:round/>
            </a:ln>
            <a:effectLst/>
          </c:spPr>
          <c:marker>
            <c:symbol val="none"/>
          </c:marker>
          <c:dPt>
            <c:idx val="4"/>
            <c:marker>
              <c:symbol val="none"/>
            </c:marker>
            <c:bubble3D val="0"/>
            <c:spPr>
              <a:ln w="28575" cap="rnd">
                <a:solidFill>
                  <a:schemeClr val="bg1">
                    <a:lumMod val="65000"/>
                  </a:schemeClr>
                </a:solidFill>
                <a:round/>
              </a:ln>
              <a:effectLst/>
            </c:spPr>
            <c:extLst>
              <c:ext xmlns:c16="http://schemas.microsoft.com/office/drawing/2014/chart" uri="{C3380CC4-5D6E-409C-BE32-E72D297353CC}">
                <c16:uniqueId val="{00000009-4B5A-483A-83E5-66173A40A2A5}"/>
              </c:ext>
            </c:extLst>
          </c:dPt>
          <c:dPt>
            <c:idx val="5"/>
            <c:marker>
              <c:symbol val="none"/>
            </c:marker>
            <c:bubble3D val="0"/>
            <c:extLst>
              <c:ext xmlns:c16="http://schemas.microsoft.com/office/drawing/2014/chart" uri="{C3380CC4-5D6E-409C-BE32-E72D297353CC}">
                <c16:uniqueId val="{0000000A-4B5A-483A-83E5-66173A40A2A5}"/>
              </c:ext>
            </c:extLst>
          </c:dPt>
          <c:dPt>
            <c:idx val="6"/>
            <c:marker>
              <c:symbol val="none"/>
            </c:marker>
            <c:bubble3D val="0"/>
            <c:spPr>
              <a:ln w="28575" cap="rnd">
                <a:solidFill>
                  <a:schemeClr val="bg1">
                    <a:lumMod val="65000"/>
                  </a:schemeClr>
                </a:solidFill>
                <a:round/>
              </a:ln>
              <a:effectLst/>
            </c:spPr>
            <c:extLst>
              <c:ext xmlns:c16="http://schemas.microsoft.com/office/drawing/2014/chart" uri="{C3380CC4-5D6E-409C-BE32-E72D297353CC}">
                <c16:uniqueId val="{0000000C-4B5A-483A-83E5-66173A40A2A5}"/>
              </c:ext>
            </c:extLst>
          </c:dPt>
          <c:dLbls>
            <c:dLbl>
              <c:idx val="4"/>
              <c:tx>
                <c:rich>
                  <a:bodyPr/>
                  <a:lstStyle/>
                  <a:p>
                    <a:fld id="{742318FA-7A4F-438F-A28B-C9747CAF63C7}"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4B5A-483A-83E5-66173A40A2A5}"/>
                </c:ext>
              </c:extLst>
            </c:dLbl>
            <c:dLbl>
              <c:idx val="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B5A-483A-83E5-66173A40A2A5}"/>
                </c:ext>
              </c:extLst>
            </c:dLbl>
            <c:dLbl>
              <c:idx val="6"/>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B5A-483A-83E5-66173A40A2A5}"/>
                </c:ext>
              </c:extLst>
            </c:dLbl>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B5A-483A-83E5-66173A40A2A5}"/>
                </c:ext>
              </c:extLst>
            </c:dLbl>
            <c:dLbl>
              <c:idx val="8"/>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B5A-483A-83E5-66173A40A2A5}"/>
                </c:ext>
              </c:extLst>
            </c:dLbl>
            <c:dLbl>
              <c:idx val="9"/>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B5A-483A-83E5-66173A40A2A5}"/>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noFill/>
                      <a:round/>
                    </a:ln>
                    <a:effectLst/>
                  </c:spPr>
                </c15:leaderLines>
              </c:ext>
            </c:extLst>
          </c:dLbls>
          <c:cat>
            <c:numRef>
              <c:f>'dtp 2000-2024 (2)'!$A$21:$A$30</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dtp 2000-2024 (2)'!$B$21:$B$30</c:f>
              <c:numCache>
                <c:formatCode>0</c:formatCode>
                <c:ptCount val="10"/>
                <c:pt idx="0">
                  <c:v>84.59</c:v>
                </c:pt>
                <c:pt idx="1">
                  <c:v>85.78</c:v>
                </c:pt>
                <c:pt idx="2">
                  <c:v>85.73</c:v>
                </c:pt>
                <c:pt idx="3">
                  <c:v>86.09</c:v>
                </c:pt>
                <c:pt idx="4">
                  <c:v>86.35</c:v>
                </c:pt>
                <c:pt idx="5">
                  <c:v>82.97</c:v>
                </c:pt>
                <c:pt idx="6">
                  <c:v>81.56</c:v>
                </c:pt>
                <c:pt idx="7">
                  <c:v>84.69</c:v>
                </c:pt>
                <c:pt idx="8">
                  <c:v>84.2</c:v>
                </c:pt>
                <c:pt idx="9">
                  <c:v>84.57</c:v>
                </c:pt>
              </c:numCache>
            </c:numRef>
          </c:val>
          <c:smooth val="0"/>
          <c:extLst>
            <c:ext xmlns:c16="http://schemas.microsoft.com/office/drawing/2014/chart" uri="{C3380CC4-5D6E-409C-BE32-E72D297353CC}">
              <c16:uniqueId val="{00000010-4B5A-483A-83E5-66173A40A2A5}"/>
            </c:ext>
          </c:extLst>
        </c:ser>
        <c:ser>
          <c:idx val="2"/>
          <c:order val="1"/>
          <c:tx>
            <c:strRef>
              <c:f>'dtp 2000-2024 (2)'!$F$5</c:f>
              <c:strCache>
                <c:ptCount val="1"/>
                <c:pt idx="0">
                  <c:v>DTP1 coverage</c:v>
                </c:pt>
              </c:strCache>
            </c:strRef>
          </c:tx>
          <c:spPr>
            <a:ln w="28575" cap="rnd">
              <a:solidFill>
                <a:srgbClr val="2C3691"/>
              </a:solidFill>
              <a:round/>
            </a:ln>
            <a:effectLst/>
          </c:spPr>
          <c:marker>
            <c:symbol val="none"/>
          </c:marker>
          <c:dLbls>
            <c:dLbl>
              <c:idx val="4"/>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B5A-483A-83E5-66173A40A2A5}"/>
                </c:ext>
              </c:extLst>
            </c:dLbl>
            <c:dLbl>
              <c:idx val="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B5A-483A-83E5-66173A40A2A5}"/>
                </c:ext>
              </c:extLst>
            </c:dLbl>
            <c:dLbl>
              <c:idx val="6"/>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B5A-483A-83E5-66173A40A2A5}"/>
                </c:ext>
              </c:extLst>
            </c:dLbl>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B5A-483A-83E5-66173A40A2A5}"/>
                </c:ext>
              </c:extLst>
            </c:dLbl>
            <c:dLbl>
              <c:idx val="8"/>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B5A-483A-83E5-66173A40A2A5}"/>
                </c:ext>
              </c:extLst>
            </c:dLbl>
            <c:dLbl>
              <c:idx val="9"/>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B5A-483A-83E5-66173A40A2A5}"/>
                </c:ext>
              </c:extLst>
            </c:dLbl>
            <c:spPr>
              <a:solidFill>
                <a:schemeClr val="bg1"/>
              </a:solid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ln>
                      <a:solidFill>
                        <a:schemeClr val="tx1">
                          <a:lumMod val="65000"/>
                          <a:lumOff val="35000"/>
                        </a:schemeClr>
                      </a:solidFill>
                    </a:ln>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tp 2000-2024 (2)'!$A$21:$A$30</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dtp 2000-2024 (2)'!$K$21:$K$30</c:f>
              <c:numCache>
                <c:formatCode>_-* #,##0_-;\-* #,##0_-;_-* "-"??_-;_-@_-</c:formatCode>
                <c:ptCount val="10"/>
                <c:pt idx="0">
                  <c:v>89.25</c:v>
                </c:pt>
                <c:pt idx="1">
                  <c:v>89.84</c:v>
                </c:pt>
                <c:pt idx="2">
                  <c:v>90.09</c:v>
                </c:pt>
                <c:pt idx="3">
                  <c:v>90.19</c:v>
                </c:pt>
                <c:pt idx="4">
                  <c:v>90.47</c:v>
                </c:pt>
                <c:pt idx="5">
                  <c:v>87.72</c:v>
                </c:pt>
                <c:pt idx="6">
                  <c:v>86.59</c:v>
                </c:pt>
                <c:pt idx="7">
                  <c:v>89.47</c:v>
                </c:pt>
                <c:pt idx="8">
                  <c:v>88.79</c:v>
                </c:pt>
                <c:pt idx="9">
                  <c:v>88.95</c:v>
                </c:pt>
              </c:numCache>
            </c:numRef>
          </c:val>
          <c:smooth val="0"/>
          <c:extLst>
            <c:ext xmlns:c16="http://schemas.microsoft.com/office/drawing/2014/chart" uri="{C3380CC4-5D6E-409C-BE32-E72D297353CC}">
              <c16:uniqueId val="{00000017-4B5A-483A-83E5-66173A40A2A5}"/>
            </c:ext>
          </c:extLst>
        </c:ser>
        <c:dLbls>
          <c:showLegendKey val="0"/>
          <c:showVal val="0"/>
          <c:showCatName val="0"/>
          <c:showSerName val="0"/>
          <c:showPercent val="0"/>
          <c:showBubbleSize val="0"/>
        </c:dLbls>
        <c:marker val="1"/>
        <c:smooth val="0"/>
        <c:axId val="649617512"/>
        <c:axId val="649620792"/>
      </c:lineChart>
      <c:catAx>
        <c:axId val="649617512"/>
        <c:scaling>
          <c:orientation val="minMax"/>
        </c:scaling>
        <c:delete val="0"/>
        <c:axPos val="b"/>
        <c:numFmt formatCode="General" sourceLinked="1"/>
        <c:majorTickMark val="out"/>
        <c:minorTickMark val="none"/>
        <c:tickLblPos val="nextTo"/>
        <c:spPr>
          <a:noFill/>
          <a:ln w="9525" cap="flat" cmpd="sng" algn="ctr">
            <a:solidFill>
              <a:schemeClr val="tx1">
                <a:lumMod val="65000"/>
                <a:lumOff val="35000"/>
              </a:schemeClr>
            </a:solidFill>
            <a:round/>
          </a:ln>
          <a:effectLst/>
        </c:spPr>
        <c:txPr>
          <a:bodyPr rot="0" spcFirstLastPara="1" vertOverflow="ellipsis"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49620792"/>
        <c:crosses val="autoZero"/>
        <c:auto val="1"/>
        <c:lblAlgn val="ctr"/>
        <c:lblOffset val="100"/>
        <c:tickLblSkip val="1"/>
        <c:noMultiLvlLbl val="0"/>
      </c:catAx>
      <c:valAx>
        <c:axId val="649620792"/>
        <c:scaling>
          <c:orientation val="minMax"/>
          <c:min val="0"/>
        </c:scaling>
        <c:delete val="0"/>
        <c:axPos val="l"/>
        <c:majorGridlines>
          <c:spPr>
            <a:ln w="9525" cap="flat" cmpd="sng" algn="ctr">
              <a:solidFill>
                <a:schemeClr val="bg2">
                  <a:lumMod val="7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GB" sz="1400"/>
                  <a:t>Coverage %</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49617512"/>
        <c:crosses val="autoZero"/>
        <c:crossBetween val="between"/>
        <c:majorUnit val="10"/>
      </c:valAx>
      <c:valAx>
        <c:axId val="1092874863"/>
        <c:scaling>
          <c:orientation val="minMax"/>
          <c:max val="35"/>
        </c:scaling>
        <c:delete val="0"/>
        <c:axPos val="r"/>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GB" sz="1400" b="0" i="0" baseline="0">
                    <a:effectLst/>
                  </a:rPr>
                  <a:t>Un-and under vaccinated (millions) </a:t>
                </a:r>
                <a:endParaRPr lang="en-CH" sz="1400" b="0">
                  <a:effectLst/>
                </a:endParaRP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0.0_ ;\-#,##0.0\ "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92906479"/>
        <c:crosses val="max"/>
        <c:crossBetween val="between"/>
      </c:valAx>
      <c:catAx>
        <c:axId val="1092906479"/>
        <c:scaling>
          <c:orientation val="minMax"/>
        </c:scaling>
        <c:delete val="1"/>
        <c:axPos val="b"/>
        <c:numFmt formatCode="General" sourceLinked="1"/>
        <c:majorTickMark val="out"/>
        <c:minorTickMark val="none"/>
        <c:tickLblPos val="nextTo"/>
        <c:crossAx val="109287486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3708609271523E-2"/>
          <c:y val="0.17105263157894737"/>
          <c:w val="0.93112582781456954"/>
          <c:h val="0.65789473684210531"/>
        </c:manualLayout>
      </c:layout>
      <c:barChart>
        <c:barDir val="bar"/>
        <c:grouping val="stacked"/>
        <c:varyColors val="0"/>
        <c:ser>
          <c:idx val="0"/>
          <c:order val="0"/>
          <c:spPr>
            <a:solidFill>
              <a:srgbClr val="206356"/>
            </a:solidFill>
            <a:ln>
              <a:noFill/>
            </a:ln>
          </c:spPr>
          <c:invertIfNegative val="0"/>
          <c:dLbls>
            <c:dLbl>
              <c:idx val="0"/>
              <c:layout>
                <c:manualLayout>
                  <c:x val="0"/>
                  <c:y val="-1.461988304093567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275-431E-A699-8C838466DB43}"/>
                </c:ext>
              </c:extLst>
            </c:dLbl>
            <c:dLbl>
              <c:idx val="1"/>
              <c:layout>
                <c:manualLayout>
                  <c:x val="0"/>
                  <c:y val="-1.461988304093567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275-431E-A699-8C838466DB43}"/>
                </c:ext>
              </c:extLst>
            </c:dLbl>
            <c:dLbl>
              <c:idx val="2"/>
              <c:layout>
                <c:manualLayout>
                  <c:x val="0"/>
                  <c:y val="-1.461988304093567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275-431E-A699-8C838466DB43}"/>
                </c:ext>
              </c:extLst>
            </c:dLbl>
            <c:dLbl>
              <c:idx val="3"/>
              <c:layout>
                <c:manualLayout>
                  <c:x val="-6.6225165562913907E-4"/>
                  <c:y val="-1.461988304093567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275-431E-A699-8C838466DB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3</c:v>
                </c:pt>
                <c:pt idx="1">
                  <c:v>192</c:v>
                </c:pt>
                <c:pt idx="2">
                  <c:v>184</c:v>
                </c:pt>
                <c:pt idx="3">
                  <c:v>99</c:v>
                </c:pt>
              </c:numCache>
            </c:numRef>
          </c:val>
          <c:extLst>
            <c:ext xmlns:c16="http://schemas.microsoft.com/office/drawing/2014/chart" uri="{C3380CC4-5D6E-409C-BE32-E72D297353CC}">
              <c16:uniqueId val="{00000004-3275-431E-A699-8C838466DB43}"/>
            </c:ext>
          </c:extLst>
        </c:ser>
        <c:ser>
          <c:idx val="1"/>
          <c:order val="1"/>
          <c:spPr>
            <a:solidFill>
              <a:srgbClr val="C6C6C6"/>
            </a:solidFill>
            <a:ln>
              <a:noFill/>
            </a:ln>
          </c:spPr>
          <c:invertIfNegative val="0"/>
          <c:val>
            <c:numRef>
              <c:f>Sheet1!$A$2:$D$2</c:f>
              <c:numCache>
                <c:formatCode>General</c:formatCode>
                <c:ptCount val="4"/>
                <c:pt idx="0">
                  <c:v>111</c:v>
                </c:pt>
                <c:pt idx="1">
                  <c:v>2</c:v>
                </c:pt>
                <c:pt idx="2">
                  <c:v>10</c:v>
                </c:pt>
                <c:pt idx="3">
                  <c:v>95</c:v>
                </c:pt>
              </c:numCache>
            </c:numRef>
          </c:val>
          <c:extLst>
            <c:ext xmlns:c16="http://schemas.microsoft.com/office/drawing/2014/chart" uri="{C3380CC4-5D6E-409C-BE32-E72D297353CC}">
              <c16:uniqueId val="{00000005-3275-431E-A699-8C838466DB43}"/>
            </c:ext>
          </c:extLst>
        </c:ser>
        <c:dLbls>
          <c:showLegendKey val="0"/>
          <c:showVal val="0"/>
          <c:showCatName val="0"/>
          <c:showSerName val="0"/>
          <c:showPercent val="0"/>
          <c:showBubbleSize val="0"/>
        </c:dLbls>
        <c:gapWidth val="50"/>
        <c:overlap val="100"/>
        <c:axId val="1116723791"/>
        <c:axId val="1"/>
      </c:barChart>
      <c:catAx>
        <c:axId val="1116723791"/>
        <c:scaling>
          <c:orientation val="maxMin"/>
        </c:scaling>
        <c:delete val="1"/>
        <c:axPos val="l"/>
        <c:majorTickMark val="out"/>
        <c:minorTickMark val="none"/>
        <c:tickLblPos val="nextTo"/>
        <c:crossAx val="1"/>
        <c:crosses val="min"/>
        <c:auto val="0"/>
        <c:lblAlgn val="ctr"/>
        <c:lblOffset val="100"/>
        <c:noMultiLvlLbl val="0"/>
      </c:catAx>
      <c:valAx>
        <c:axId val="1"/>
        <c:scaling>
          <c:orientation val="minMax"/>
          <c:max val="194"/>
          <c:min val="0"/>
        </c:scaling>
        <c:delete val="1"/>
        <c:axPos val="t"/>
        <c:numFmt formatCode="General" sourceLinked="1"/>
        <c:majorTickMark val="out"/>
        <c:minorTickMark val="none"/>
        <c:tickLblPos val="nextTo"/>
        <c:crossAx val="111672379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462800234329231E-2"/>
          <c:y val="0.21099554234769688"/>
          <c:w val="0.93907439953134153"/>
          <c:h val="0.57800891530460619"/>
        </c:manualLayout>
      </c:layout>
      <c:barChart>
        <c:barDir val="bar"/>
        <c:grouping val="stacked"/>
        <c:varyColors val="0"/>
        <c:ser>
          <c:idx val="0"/>
          <c:order val="0"/>
          <c:spPr>
            <a:solidFill>
              <a:srgbClr val="5F0509"/>
            </a:solidFill>
            <a:ln>
              <a:noFill/>
            </a:ln>
          </c:spPr>
          <c:invertIfNegative val="0"/>
          <c:dLbls>
            <c:dLbl>
              <c:idx val="0"/>
              <c:layout>
                <c:manualLayout>
                  <c:x val="-5.8582308142940832E-4"/>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0DF-45A6-9AF5-00F7B7B7E9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7</c:v>
                </c:pt>
              </c:numCache>
            </c:numRef>
          </c:val>
          <c:extLst>
            <c:ext xmlns:c16="http://schemas.microsoft.com/office/drawing/2014/chart" uri="{C3380CC4-5D6E-409C-BE32-E72D297353CC}">
              <c16:uniqueId val="{00000001-D0DF-45A6-9AF5-00F7B7B7E95D}"/>
            </c:ext>
          </c:extLst>
        </c:ser>
        <c:ser>
          <c:idx val="1"/>
          <c:order val="1"/>
          <c:spPr>
            <a:solidFill>
              <a:srgbClr val="C6C6C6"/>
            </a:solidFill>
            <a:ln>
              <a:noFill/>
            </a:ln>
          </c:spPr>
          <c:invertIfNegative val="0"/>
          <c:val>
            <c:numRef>
              <c:f>Sheet1!$A$2</c:f>
              <c:numCache>
                <c:formatCode>General</c:formatCode>
                <c:ptCount val="1"/>
                <c:pt idx="0">
                  <c:v>33</c:v>
                </c:pt>
              </c:numCache>
            </c:numRef>
          </c:val>
          <c:extLst>
            <c:ext xmlns:c16="http://schemas.microsoft.com/office/drawing/2014/chart" uri="{C3380CC4-5D6E-409C-BE32-E72D297353CC}">
              <c16:uniqueId val="{00000002-D0DF-45A6-9AF5-00F7B7B7E95D}"/>
            </c:ext>
          </c:extLst>
        </c:ser>
        <c:dLbls>
          <c:showLegendKey val="0"/>
          <c:showVal val="0"/>
          <c:showCatName val="0"/>
          <c:showSerName val="0"/>
          <c:showPercent val="0"/>
          <c:showBubbleSize val="0"/>
        </c:dLbls>
        <c:gapWidth val="80"/>
        <c:overlap val="100"/>
        <c:axId val="1719261712"/>
        <c:axId val="1"/>
      </c:barChart>
      <c:catAx>
        <c:axId val="1719261712"/>
        <c:scaling>
          <c:orientation val="maxMin"/>
        </c:scaling>
        <c:delete val="1"/>
        <c:axPos val="l"/>
        <c:majorTickMark val="out"/>
        <c:minorTickMark val="none"/>
        <c:tickLblPos val="nextTo"/>
        <c:crossAx val="1"/>
        <c:crosses val="min"/>
        <c:auto val="0"/>
        <c:lblAlgn val="ctr"/>
        <c:lblOffset val="100"/>
        <c:noMultiLvlLbl val="0"/>
      </c:catAx>
      <c:valAx>
        <c:axId val="1"/>
        <c:scaling>
          <c:orientation val="minMax"/>
          <c:max val="50"/>
          <c:min val="0"/>
        </c:scaling>
        <c:delete val="1"/>
        <c:axPos val="t"/>
        <c:numFmt formatCode="General" sourceLinked="1"/>
        <c:majorTickMark val="out"/>
        <c:minorTickMark val="none"/>
        <c:tickLblPos val="nextTo"/>
        <c:crossAx val="171926171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115341545352745E-2"/>
          <c:y val="0.10526315789473684"/>
          <c:w val="0.94176931690929455"/>
          <c:h val="0.78947368421052633"/>
        </c:manualLayout>
      </c:layout>
      <c:barChart>
        <c:barDir val="bar"/>
        <c:grouping val="stacked"/>
        <c:varyColors val="0"/>
        <c:ser>
          <c:idx val="0"/>
          <c:order val="0"/>
          <c:spPr>
            <a:solidFill>
              <a:srgbClr val="C6C6C6"/>
            </a:solidFill>
            <a:ln>
              <a:noFill/>
            </a:ln>
          </c:spPr>
          <c:invertIfNegative val="0"/>
          <c:val>
            <c:numRef>
              <c:f>Sheet1!$A$1</c:f>
              <c:numCache>
                <c:formatCode>General</c:formatCode>
                <c:ptCount val="1"/>
                <c:pt idx="0">
                  <c:v>6.5</c:v>
                </c:pt>
              </c:numCache>
            </c:numRef>
          </c:val>
          <c:extLst>
            <c:ext xmlns:c16="http://schemas.microsoft.com/office/drawing/2014/chart" uri="{C3380CC4-5D6E-409C-BE32-E72D297353CC}">
              <c16:uniqueId val="{00000000-FEB4-48BE-B234-EBA6919491E0}"/>
            </c:ext>
          </c:extLst>
        </c:ser>
        <c:ser>
          <c:idx val="1"/>
          <c:order val="1"/>
          <c:spPr>
            <a:solidFill>
              <a:srgbClr val="C6C6C6"/>
            </a:solidFill>
            <a:ln>
              <a:noFill/>
            </a:ln>
          </c:spPr>
          <c:invertIfNegative val="0"/>
          <c:val>
            <c:numRef>
              <c:f>Sheet1!$A$2</c:f>
              <c:numCache>
                <c:formatCode>General</c:formatCode>
                <c:ptCount val="1"/>
                <c:pt idx="0">
                  <c:v>6.4</c:v>
                </c:pt>
              </c:numCache>
            </c:numRef>
          </c:val>
          <c:extLst>
            <c:ext xmlns:c16="http://schemas.microsoft.com/office/drawing/2014/chart" uri="{C3380CC4-5D6E-409C-BE32-E72D297353CC}">
              <c16:uniqueId val="{00000001-FEB4-48BE-B234-EBA6919491E0}"/>
            </c:ext>
          </c:extLst>
        </c:ser>
        <c:ser>
          <c:idx val="2"/>
          <c:order val="2"/>
          <c:spPr>
            <a:solidFill>
              <a:srgbClr val="5F0509"/>
            </a:solidFill>
            <a:ln>
              <a:noFill/>
            </a:ln>
          </c:spPr>
          <c:invertIfNegative val="0"/>
          <c:val>
            <c:numRef>
              <c:f>Sheet1!$A$3</c:f>
              <c:numCache>
                <c:formatCode>General</c:formatCode>
                <c:ptCount val="1"/>
                <c:pt idx="0">
                  <c:v>1.2999999999999989</c:v>
                </c:pt>
              </c:numCache>
            </c:numRef>
          </c:val>
          <c:extLst>
            <c:ext xmlns:c16="http://schemas.microsoft.com/office/drawing/2014/chart" uri="{C3380CC4-5D6E-409C-BE32-E72D297353CC}">
              <c16:uniqueId val="{00000002-FEB4-48BE-B234-EBA6919491E0}"/>
            </c:ext>
          </c:extLst>
        </c:ser>
        <c:dLbls>
          <c:showLegendKey val="0"/>
          <c:showVal val="0"/>
          <c:showCatName val="0"/>
          <c:showSerName val="0"/>
          <c:showPercent val="0"/>
          <c:showBubbleSize val="0"/>
        </c:dLbls>
        <c:gapWidth val="80"/>
        <c:overlap val="100"/>
        <c:axId val="1102572575"/>
        <c:axId val="1"/>
      </c:barChart>
      <c:catAx>
        <c:axId val="1102572575"/>
        <c:scaling>
          <c:orientation val="maxMin"/>
        </c:scaling>
        <c:delete val="1"/>
        <c:axPos val="l"/>
        <c:majorTickMark val="out"/>
        <c:minorTickMark val="none"/>
        <c:tickLblPos val="nextTo"/>
        <c:crossAx val="1"/>
        <c:crosses val="min"/>
        <c:auto val="0"/>
        <c:lblAlgn val="ctr"/>
        <c:lblOffset val="100"/>
        <c:noMultiLvlLbl val="0"/>
      </c:catAx>
      <c:valAx>
        <c:axId val="1"/>
        <c:scaling>
          <c:orientation val="minMax"/>
          <c:max val="14.2"/>
          <c:min val="0"/>
        </c:scaling>
        <c:delete val="1"/>
        <c:axPos val="t"/>
        <c:numFmt formatCode="General" sourceLinked="1"/>
        <c:majorTickMark val="out"/>
        <c:minorTickMark val="none"/>
        <c:tickLblPos val="nextTo"/>
        <c:crossAx val="1102572575"/>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356100408639813E-2"/>
          <c:y val="0.20256776034236804"/>
          <c:w val="0.93928779918272043"/>
          <c:h val="0.59486447931526387"/>
        </c:manualLayout>
      </c:layout>
      <c:barChart>
        <c:barDir val="bar"/>
        <c:grouping val="stacked"/>
        <c:varyColors val="0"/>
        <c:ser>
          <c:idx val="0"/>
          <c:order val="0"/>
          <c:spPr>
            <a:solidFill>
              <a:srgbClr val="002817"/>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39-4BD8-ADE1-68F706E6AF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0;"-"#,##0</c:formatCode>
                <c:ptCount val="1"/>
                <c:pt idx="0">
                  <c:v>166</c:v>
                </c:pt>
              </c:numCache>
            </c:numRef>
          </c:val>
          <c:extLst>
            <c:ext xmlns:c16="http://schemas.microsoft.com/office/drawing/2014/chart" uri="{C3380CC4-5D6E-409C-BE32-E72D297353CC}">
              <c16:uniqueId val="{00000001-C539-4BD8-ADE1-68F706E6AF9C}"/>
            </c:ext>
          </c:extLst>
        </c:ser>
        <c:ser>
          <c:idx val="1"/>
          <c:order val="1"/>
          <c:spPr>
            <a:solidFill>
              <a:srgbClr val="206356"/>
            </a:solidFill>
            <a:ln>
              <a:noFill/>
            </a:ln>
          </c:spPr>
          <c:invertIfNegative val="0"/>
          <c:dLbls>
            <c:dLbl>
              <c:idx val="0"/>
              <c:layout>
                <c:manualLayout>
                  <c:x val="-5.837711617046118E-4"/>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539-4BD8-ADE1-68F706E6AF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0;"-"#,##0</c:formatCode>
                <c:ptCount val="1"/>
                <c:pt idx="0">
                  <c:v>59</c:v>
                </c:pt>
              </c:numCache>
            </c:numRef>
          </c:val>
          <c:extLst>
            <c:ext xmlns:c16="http://schemas.microsoft.com/office/drawing/2014/chart" uri="{C3380CC4-5D6E-409C-BE32-E72D297353CC}">
              <c16:uniqueId val="{00000003-C539-4BD8-ADE1-68F706E6AF9C}"/>
            </c:ext>
          </c:extLst>
        </c:ser>
        <c:ser>
          <c:idx val="2"/>
          <c:order val="2"/>
          <c:spPr>
            <a:solidFill>
              <a:schemeClr val="hlink"/>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539-4BD8-ADE1-68F706E6AF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0;"-"#,##0</c:formatCode>
                <c:ptCount val="1"/>
                <c:pt idx="0">
                  <c:v>36</c:v>
                </c:pt>
              </c:numCache>
            </c:numRef>
          </c:val>
          <c:extLst>
            <c:ext xmlns:c16="http://schemas.microsoft.com/office/drawing/2014/chart" uri="{C3380CC4-5D6E-409C-BE32-E72D297353CC}">
              <c16:uniqueId val="{00000005-C539-4BD8-ADE1-68F706E6AF9C}"/>
            </c:ext>
          </c:extLst>
        </c:ser>
        <c:ser>
          <c:idx val="3"/>
          <c:order val="3"/>
          <c:spPr>
            <a:solidFill>
              <a:srgbClr val="A2FFC8"/>
            </a:solidFill>
            <a:ln>
              <a:noFill/>
            </a:ln>
          </c:spPr>
          <c:invertIfNegative val="0"/>
          <c:dLbls>
            <c:dLbl>
              <c:idx val="0"/>
              <c:layout>
                <c:manualLayout>
                  <c:x val="-5.837711617046118E-4"/>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539-4BD8-ADE1-68F706E6AF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0;"-"#,##0</c:formatCode>
                <c:ptCount val="1"/>
                <c:pt idx="0">
                  <c:v>47</c:v>
                </c:pt>
              </c:numCache>
            </c:numRef>
          </c:val>
          <c:extLst>
            <c:ext xmlns:c16="http://schemas.microsoft.com/office/drawing/2014/chart" uri="{C3380CC4-5D6E-409C-BE32-E72D297353CC}">
              <c16:uniqueId val="{00000007-C539-4BD8-ADE1-68F706E6AF9C}"/>
            </c:ext>
          </c:extLst>
        </c:ser>
        <c:ser>
          <c:idx val="4"/>
          <c:order val="4"/>
          <c:spPr>
            <a:solidFill>
              <a:srgbClr val="C6C6C6"/>
            </a:solidFill>
            <a:ln>
              <a:noFill/>
            </a:ln>
          </c:spPr>
          <c:invertIfNegative val="0"/>
          <c:val>
            <c:numRef>
              <c:f>Sheet1!$A$5</c:f>
              <c:numCache>
                <c:formatCode>General</c:formatCode>
                <c:ptCount val="1"/>
                <c:pt idx="0">
                  <c:v>195</c:v>
                </c:pt>
              </c:numCache>
            </c:numRef>
          </c:val>
          <c:extLst>
            <c:ext xmlns:c16="http://schemas.microsoft.com/office/drawing/2014/chart" uri="{C3380CC4-5D6E-409C-BE32-E72D297353CC}">
              <c16:uniqueId val="{00000008-C539-4BD8-ADE1-68F706E6AF9C}"/>
            </c:ext>
          </c:extLst>
        </c:ser>
        <c:dLbls>
          <c:showLegendKey val="0"/>
          <c:showVal val="0"/>
          <c:showCatName val="0"/>
          <c:showSerName val="0"/>
          <c:showPercent val="0"/>
          <c:showBubbleSize val="0"/>
        </c:dLbls>
        <c:gapWidth val="60"/>
        <c:overlap val="100"/>
        <c:axId val="164355744"/>
        <c:axId val="1"/>
      </c:barChart>
      <c:catAx>
        <c:axId val="164355744"/>
        <c:scaling>
          <c:orientation val="maxMin"/>
        </c:scaling>
        <c:delete val="0"/>
        <c:axPos val="l"/>
        <c:majorGridlines>
          <c:spPr>
            <a:ln>
              <a:noFill/>
            </a:ln>
          </c:spPr>
        </c:majorGridlines>
        <c:majorTickMark val="out"/>
        <c:minorTickMark val="none"/>
        <c:tickLblPos val="none"/>
        <c:spPr>
          <a:ln w="9525" cmpd="sng" algn="ctr">
            <a:solidFill>
              <a:srgbClr val="808080"/>
            </a:solidFill>
            <a:prstDash val="solid"/>
          </a:ln>
        </c:spPr>
        <c:txPr>
          <a:bodyPr wrap="none"/>
          <a:lstStyle/>
          <a:p>
            <a:pPr>
              <a:defRPr sz="1000" kern="1200">
                <a:latin typeface="+mn-lt"/>
                <a:ea typeface="+mn-ea"/>
                <a:cs typeface="+mn-cs"/>
              </a:defRPr>
            </a:pPr>
            <a:endParaRPr lang="en-US"/>
          </a:p>
        </c:txPr>
        <c:crossAx val="1"/>
        <c:crosses val="min"/>
        <c:auto val="0"/>
        <c:lblAlgn val="ctr"/>
        <c:lblOffset val="100"/>
        <c:noMultiLvlLbl val="0"/>
      </c:catAx>
      <c:valAx>
        <c:axId val="1"/>
        <c:scaling>
          <c:orientation val="minMax"/>
          <c:max val="500"/>
          <c:min val="0"/>
        </c:scaling>
        <c:delete val="0"/>
        <c:axPos val="b"/>
        <c:majorGridlines>
          <c:spPr>
            <a:ln>
              <a:noFill/>
            </a:ln>
          </c:spPr>
        </c:majorGridlines>
        <c:numFmt formatCode="#,##0;&quot;-&quot;#,##0" sourceLinked="1"/>
        <c:majorTickMark val="none"/>
        <c:minorTickMark val="none"/>
        <c:tickLblPos val="none"/>
        <c:spPr>
          <a:ln w="9525" cmpd="sng" algn="ctr">
            <a:solidFill>
              <a:srgbClr val="808080"/>
            </a:solidFill>
            <a:prstDash val="solid"/>
          </a:ln>
        </c:spPr>
        <c:crossAx val="164355744"/>
        <c:crosses val="max"/>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86928104575161E-2"/>
          <c:y val="9.9808061420345484E-2"/>
          <c:w val="0.93202614379084969"/>
          <c:h val="0.80038387715930903"/>
        </c:manualLayout>
      </c:layout>
      <c:barChart>
        <c:barDir val="bar"/>
        <c:grouping val="stacked"/>
        <c:varyColors val="0"/>
        <c:ser>
          <c:idx val="0"/>
          <c:order val="0"/>
          <c:spPr>
            <a:solidFill>
              <a:srgbClr val="C6C6C6"/>
            </a:solidFill>
            <a:ln>
              <a:noFill/>
            </a:ln>
          </c:spPr>
          <c:invertIfNegative val="0"/>
          <c:val>
            <c:numRef>
              <c:f>Sheet1!$A$1</c:f>
              <c:numCache>
                <c:formatCode>General</c:formatCode>
                <c:ptCount val="1"/>
                <c:pt idx="0">
                  <c:v>100</c:v>
                </c:pt>
              </c:numCache>
            </c:numRef>
          </c:val>
          <c:extLst>
            <c:ext xmlns:c16="http://schemas.microsoft.com/office/drawing/2014/chart" uri="{C3380CC4-5D6E-409C-BE32-E72D297353CC}">
              <c16:uniqueId val="{00000000-5F05-4EE2-A42A-5DB57C91196C}"/>
            </c:ext>
          </c:extLst>
        </c:ser>
        <c:dLbls>
          <c:showLegendKey val="0"/>
          <c:showVal val="0"/>
          <c:showCatName val="0"/>
          <c:showSerName val="0"/>
          <c:showPercent val="0"/>
          <c:showBubbleSize val="0"/>
        </c:dLbls>
        <c:gapWidth val="80"/>
        <c:overlap val="100"/>
        <c:axId val="60861823"/>
        <c:axId val="1"/>
      </c:barChart>
      <c:catAx>
        <c:axId val="60861823"/>
        <c:scaling>
          <c:orientation val="maxMin"/>
        </c:scaling>
        <c:delete val="1"/>
        <c:axPos val="l"/>
        <c:majorTickMark val="out"/>
        <c:minorTickMark val="none"/>
        <c:tickLblPos val="nextTo"/>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60861823"/>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287605294825514E-2"/>
          <c:y val="7.0652173913043473E-2"/>
          <c:w val="0.93742478941034901"/>
          <c:h val="0.85869565217391308"/>
        </c:manualLayout>
      </c:layout>
      <c:barChart>
        <c:barDir val="bar"/>
        <c:grouping val="stacked"/>
        <c:varyColors val="0"/>
        <c:ser>
          <c:idx val="0"/>
          <c:order val="0"/>
          <c:spPr>
            <a:solidFill>
              <a:srgbClr val="5F0509"/>
            </a:solidFill>
            <a:ln>
              <a:noFill/>
            </a:ln>
          </c:spPr>
          <c:invertIfNegative val="0"/>
          <c:dPt>
            <c:idx val="1"/>
            <c:invertIfNegative val="0"/>
            <c:bubble3D val="0"/>
            <c:spPr>
              <a:solidFill>
                <a:srgbClr val="206356"/>
              </a:solidFill>
              <a:ln>
                <a:noFill/>
              </a:ln>
            </c:spPr>
            <c:extLst>
              <c:ext xmlns:c16="http://schemas.microsoft.com/office/drawing/2014/chart" uri="{C3380CC4-5D6E-409C-BE32-E72D297353CC}">
                <c16:uniqueId val="{00000000-AD2A-4E6D-A3D8-49332F6CA6B9}"/>
              </c:ext>
            </c:extLst>
          </c:dPt>
          <c:val>
            <c:numRef>
              <c:f>Sheet1!$A$1:$D$1</c:f>
              <c:numCache>
                <c:formatCode>General</c:formatCode>
                <c:ptCount val="4"/>
                <c:pt idx="0">
                  <c:v>85</c:v>
                </c:pt>
                <c:pt idx="1">
                  <c:v>67</c:v>
                </c:pt>
                <c:pt idx="2">
                  <c:v>76</c:v>
                </c:pt>
                <c:pt idx="3">
                  <c:v>28</c:v>
                </c:pt>
              </c:numCache>
            </c:numRef>
          </c:val>
          <c:extLst>
            <c:ext xmlns:c16="http://schemas.microsoft.com/office/drawing/2014/chart" uri="{C3380CC4-5D6E-409C-BE32-E72D297353CC}">
              <c16:uniqueId val="{00000001-AD2A-4E6D-A3D8-49332F6CA6B9}"/>
            </c:ext>
          </c:extLst>
        </c:ser>
        <c:ser>
          <c:idx val="1"/>
          <c:order val="1"/>
          <c:spPr>
            <a:solidFill>
              <a:srgbClr val="C6C6C6"/>
            </a:solidFill>
            <a:ln>
              <a:noFill/>
            </a:ln>
          </c:spPr>
          <c:invertIfNegative val="0"/>
          <c:val>
            <c:numRef>
              <c:f>Sheet1!$A$2:$D$2</c:f>
              <c:numCache>
                <c:formatCode>General</c:formatCode>
                <c:ptCount val="4"/>
                <c:pt idx="0">
                  <c:v>15</c:v>
                </c:pt>
                <c:pt idx="1">
                  <c:v>33</c:v>
                </c:pt>
                <c:pt idx="2">
                  <c:v>24</c:v>
                </c:pt>
                <c:pt idx="3">
                  <c:v>72</c:v>
                </c:pt>
              </c:numCache>
            </c:numRef>
          </c:val>
          <c:extLst>
            <c:ext xmlns:c16="http://schemas.microsoft.com/office/drawing/2014/chart" uri="{C3380CC4-5D6E-409C-BE32-E72D297353CC}">
              <c16:uniqueId val="{00000002-AD2A-4E6D-A3D8-49332F6CA6B9}"/>
            </c:ext>
          </c:extLst>
        </c:ser>
        <c:dLbls>
          <c:showLegendKey val="0"/>
          <c:showVal val="0"/>
          <c:showCatName val="0"/>
          <c:showSerName val="0"/>
          <c:showPercent val="0"/>
          <c:showBubbleSize val="0"/>
        </c:dLbls>
        <c:gapWidth val="60"/>
        <c:overlap val="100"/>
        <c:axId val="151573855"/>
        <c:axId val="1"/>
      </c:barChart>
      <c:catAx>
        <c:axId val="151573855"/>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100"/>
          <c:min val="0"/>
        </c:scaling>
        <c:delete val="1"/>
        <c:axPos val="b"/>
        <c:numFmt formatCode="General" sourceLinked="1"/>
        <c:majorTickMark val="out"/>
        <c:minorTickMark val="none"/>
        <c:tickLblPos val="nextTo"/>
        <c:crossAx val="151573855"/>
        <c:crosses val="max"/>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FE64FC_E2C6D4CC.xml><?xml version="1.0" encoding="utf-8"?>
<p188:cmLst xmlns:a="http://schemas.openxmlformats.org/drawingml/2006/main" xmlns:r="http://schemas.openxmlformats.org/officeDocument/2006/relationships" xmlns:p188="http://schemas.microsoft.com/office/powerpoint/2018/8/main">
  <p188:cm id="{31F0764D-E6C6-5E4E-B12B-2371C4BD97D1}" authorId="{F2FB5CED-A992-F652-BEB5-B90BB3D0B4B1}" status="resolved" created="2025-09-30T05:39:06.798">
    <pc:sldMkLst xmlns:pc="http://schemas.microsoft.com/office/powerpoint/2013/main/command">
      <pc:docMk/>
      <pc:sldMk cId="3804681420" sldId="2147378428"/>
    </pc:sldMkLst>
    <p188:txBody>
      <a:bodyPr/>
      <a:lstStyle/>
      <a:p>
        <a:r>
          <a:rPr lang="en-CH"/>
          <a:t>you can remove the box with the question to sage here and in the next slide.</a:t>
        </a:r>
      </a:p>
    </p188:txBody>
  </p188:cm>
</p188:cmLst>
</file>

<file path=ppt/comments/modernComment_7FFFF078_5A764120.xml><?xml version="1.0" encoding="utf-8"?>
<p188:cmLst xmlns:a="http://schemas.openxmlformats.org/drawingml/2006/main" xmlns:r="http://schemas.openxmlformats.org/officeDocument/2006/relationships" xmlns:p188="http://schemas.microsoft.com/office/powerpoint/2018/8/main">
  <p188:cm id="{77999475-E8A8-2B43-B6E2-A1B70BC4B16F}" authorId="{F2FB5CED-A992-F652-BEB5-B90BB3D0B4B1}" status="resolved" created="2025-09-30T05:40:07.699">
    <ac:deMkLst xmlns:ac="http://schemas.microsoft.com/office/drawing/2013/main/command">
      <pc:docMk xmlns:pc="http://schemas.microsoft.com/office/powerpoint/2013/main/command"/>
      <pc:sldMk xmlns:pc="http://schemas.microsoft.com/office/powerpoint/2013/main/command" cId="1517699360" sldId="2147479672"/>
      <ac:spMk id="6" creationId="{E97FB4A9-BB67-A220-5D8F-7A341690CBD8}"/>
    </ac:deMkLst>
    <p188:txBody>
      <a:bodyPr/>
      <a:lstStyle/>
      <a:p>
        <a:r>
          <a:rPr lang="en-CH"/>
          <a:t>this font is v small-- suggest making it bigger</a:t>
        </a:r>
      </a:p>
    </p188:txBody>
  </p188:cm>
</p188:cmLst>
</file>

<file path=ppt/drawings/drawing1.xml><?xml version="1.0" encoding="utf-8"?>
<c:userShapes xmlns:c="http://schemas.openxmlformats.org/drawingml/2006/chart">
  <cdr:relSizeAnchor xmlns:cdr="http://schemas.openxmlformats.org/drawingml/2006/chartDrawing">
    <cdr:from>
      <cdr:x>0.05399</cdr:x>
      <cdr:y>0.12389</cdr:y>
    </cdr:from>
    <cdr:to>
      <cdr:x>0.10116</cdr:x>
      <cdr:y>0.34932</cdr:y>
    </cdr:to>
    <cdr:sp macro="" textlink="">
      <cdr:nvSpPr>
        <cdr:cNvPr id="2" name="Rectangle 1">
          <a:extLst xmlns:a="http://schemas.openxmlformats.org/drawingml/2006/main">
            <a:ext uri="{FF2B5EF4-FFF2-40B4-BE49-F238E27FC236}">
              <a16:creationId xmlns:a16="http://schemas.microsoft.com/office/drawing/2014/main" id="{46DACDAA-7F63-3DD8-35C2-F25C9D0E46EF}"/>
            </a:ext>
          </a:extLst>
        </cdr:cNvPr>
        <cdr:cNvSpPr/>
      </cdr:nvSpPr>
      <cdr:spPr>
        <a:xfrm xmlns:a="http://schemas.openxmlformats.org/drawingml/2006/main">
          <a:off x="663758" y="170122"/>
          <a:ext cx="579918" cy="309562"/>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r>
            <a:rPr lang="en-US" sz="1200" dirty="0">
              <a:solidFill>
                <a:schemeClr val="tx1"/>
              </a:solidFill>
            </a:rPr>
            <a:t>2024</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2DDD58-0292-436F-AA08-FE401584C563}" type="datetimeFigureOut">
              <a:rPr lang="en-US" smtClean="0"/>
              <a:t>10/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549860-A3F7-4B30-8233-2AD239E5B4D7}" type="slidenum">
              <a:rPr lang="en-US" smtClean="0"/>
              <a:t>‹#›</a:t>
            </a:fld>
            <a:endParaRPr lang="en-US"/>
          </a:p>
        </p:txBody>
      </p:sp>
    </p:spTree>
    <p:extLst>
      <p:ext uri="{BB962C8B-B14F-4D97-AF65-F5344CB8AC3E}">
        <p14:creationId xmlns:p14="http://schemas.microsoft.com/office/powerpoint/2010/main" val="1049442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72049B-4675-8041-A8E4-6E463EE4EE2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7333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17BF6-3AAA-0D3F-BC90-7003583F4A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9E4EA6-69BA-432E-F8EB-A2C77C97EE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6C4C7D-F4F9-6DFA-8157-CB9FB7A112D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D73E7E6-4D5F-AEBC-39A6-106A33D8E7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0167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4593848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I outbreaks in animals from Oct 2024. WOAH map shows type of animal, FAO map show by subtyp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9A7402-4957-4F5C-AD54-AE223EC629E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074512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US"/>
              <a:t>For human cases of H5, here is the epi curve for cases since 2003, specifically of H5 </a:t>
            </a:r>
            <a:r>
              <a:rPr lang="en-US" err="1"/>
              <a:t>Gs</a:t>
            </a:r>
            <a:r>
              <a:rPr lang="en-US"/>
              <a:t>/Gd lineage viruses. This includes cases of H5N1, H5N6, H5N8 as well as H5 where the N-type is not known.</a:t>
            </a:r>
          </a:p>
          <a:p>
            <a:pPr defTabSz="933237">
              <a:defRPr/>
            </a:pPr>
            <a:r>
              <a:rPr lang="en-US"/>
              <a:t>Peak in 2015 indicates cases from Egypt. And another increase end 2024 with cases from US.</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9A7402-4957-4F5C-AD54-AE223EC629E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60047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BA74C0-84ED-CA70-F51D-02414C90CF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39DDCD-E105-D019-EC7F-5E27BD2FD7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4C2710-2938-1858-88C6-EC34C72A0F6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1DA9C59-BC9D-FF05-AA24-350760F40A9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169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sz="1200" kern="1200">
                <a:solidFill>
                  <a:schemeClr val="tx1"/>
                </a:solidFill>
                <a:effectLst/>
                <a:latin typeface="Century Gothic" panose="020B0502020202020204" pitchFamily="34" charset="0"/>
                <a:ea typeface="+mn-ea"/>
                <a:cs typeface="+mn-cs"/>
              </a:rPr>
              <a:t>I’ll be giving a brief recap of the RSV immunization products to protect infants and the recent SAGE policy recommendations.</a:t>
            </a:r>
            <a:endParaRPr lang="en-US" sz="1200" kern="1200">
              <a:solidFill>
                <a:schemeClr val="tx1"/>
              </a:solidFill>
              <a:effectLst/>
              <a:latin typeface="Century Gothic" panose="020B0502020202020204" pitchFamily="34" charset="0"/>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2349374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85B747-18E9-E746-A276-B387773C2A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6437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6ED5A2-4DE4-875C-5DE7-E804662778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7637A6-0746-58B9-6896-9EAAD7CDFB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BF95DB-3AB8-9FE0-DA46-6CA2828DCCC4}"/>
              </a:ext>
            </a:extLst>
          </p:cNvPr>
          <p:cNvSpPr>
            <a:spLocks noGrp="1"/>
          </p:cNvSpPr>
          <p:nvPr>
            <p:ph type="body" idx="1"/>
          </p:nvPr>
        </p:nvSpPr>
        <p:spPr/>
        <p:txBody>
          <a:bodyPr/>
          <a:lstStyle/>
          <a:p>
            <a:r>
              <a:rPr lang="en-US" sz="1100" b="0"/>
              <a:t>JN.1 predominance &gt;50% (based on paper if available, or Our World in Data)</a:t>
            </a:r>
          </a:p>
          <a:p>
            <a:r>
              <a:rPr lang="en-US" sz="1100" b="0"/>
              <a:t>Note overall VE (many waned estimates)</a:t>
            </a:r>
          </a:p>
          <a:p>
            <a:r>
              <a:rPr lang="en-US" sz="1100" b="0"/>
              <a:t>*If study does not have overall VE estimate but rather only estimates by time interval, the early or peak estimate is plotted </a:t>
            </a:r>
            <a:r>
              <a:rPr lang="en-US" sz="1100" b="1"/>
              <a:t>(n=6 estimates)</a:t>
            </a:r>
          </a:p>
          <a:p>
            <a:r>
              <a:rPr lang="en-US" sz="1100" b="1"/>
              <a:t>SAGE – </a:t>
            </a:r>
          </a:p>
          <a:p>
            <a:pPr marL="228600" indent="-228600">
              <a:buAutoNum type="arabicParenR"/>
            </a:pPr>
            <a:r>
              <a:rPr lang="en-US" sz="1100" b="1"/>
              <a:t>Show this slide with all pops</a:t>
            </a:r>
          </a:p>
          <a:p>
            <a:pPr marL="228600" indent="-228600">
              <a:buAutoNum type="arabicParenR"/>
            </a:pPr>
            <a:r>
              <a:rPr lang="en-US" sz="1100" b="1"/>
              <a:t>Same slide with early estimates</a:t>
            </a:r>
          </a:p>
          <a:p>
            <a:pPr marL="228600" indent="-228600">
              <a:buAutoNum type="arabicParenR"/>
            </a:pPr>
            <a:r>
              <a:rPr lang="en-US" sz="1100" b="1"/>
              <a:t>Then elderly</a:t>
            </a:r>
          </a:p>
          <a:p>
            <a:pPr marL="228600" indent="-228600">
              <a:buAutoNum type="arabicParenR"/>
            </a:pPr>
            <a:r>
              <a:rPr lang="en-US" sz="1100" b="1"/>
              <a:t>Immunocompromised, comorbidities (including comparable immunocompetent group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100" b="1"/>
              <a:t>‘Waning’</a:t>
            </a:r>
          </a:p>
          <a:p>
            <a:pPr marL="228600" indent="-228600">
              <a:buAutoNum type="arabicParenR"/>
            </a:pPr>
            <a:r>
              <a:rPr lang="en-US" sz="1100" b="1"/>
              <a:t>Pregnancy</a:t>
            </a:r>
          </a:p>
          <a:p>
            <a:endParaRPr lang="en-US" sz="1100" b="1"/>
          </a:p>
          <a:p>
            <a:r>
              <a:rPr lang="en-US" sz="1100"/>
              <a:t>ADD JN.1 period to all titles where relevant</a:t>
            </a:r>
          </a:p>
          <a:p>
            <a:endParaRPr lang="en-US" sz="1100"/>
          </a:p>
          <a:p>
            <a:r>
              <a:rPr lang="en-US" sz="1100"/>
              <a:t>TAG-CO-VAC:</a:t>
            </a:r>
          </a:p>
          <a:p>
            <a:endParaRPr lang="en-US" sz="1100"/>
          </a:p>
          <a:p>
            <a:r>
              <a:rPr lang="en-US" sz="1100"/>
              <a:t>TAG-CO-VAC </a:t>
            </a:r>
            <a:r>
              <a:rPr lang="en-US" sz="1100">
                <a:sym typeface="Wingdings" panose="05000000000000000000" pitchFamily="2" charset="2"/>
              </a:rPr>
              <a:t> include ranges by vaccine</a:t>
            </a:r>
            <a:endParaRPr lang="en-US" sz="1100"/>
          </a:p>
          <a:p>
            <a:endParaRPr lang="en-US" sz="1100"/>
          </a:p>
          <a:p>
            <a:endParaRPr lang="en-US" sz="1100"/>
          </a:p>
          <a:p>
            <a:r>
              <a:rPr lang="en-US" sz="1100"/>
              <a:t>374=Link-Gelles (up-to-date VE); note </a:t>
            </a:r>
            <a:r>
              <a:rPr lang="en-US" sz="1100" b="1"/>
              <a:t>reference group received last dose 2+ years ago on average </a:t>
            </a:r>
            <a:r>
              <a:rPr lang="en-US" sz="1100"/>
              <a:t>(median 720-775 days prior for 65+ years and median of 998 days for 18+ years)</a:t>
            </a:r>
          </a:p>
          <a:p>
            <a:r>
              <a:rPr lang="en-US" sz="1100"/>
              <a:t>382=Wilson (up-to-date VE)</a:t>
            </a:r>
          </a:p>
          <a:p>
            <a:r>
              <a:rPr lang="en-US" sz="1100"/>
              <a:t>386=Hansen et al (relative VE, no unvaccinated in reference group)</a:t>
            </a:r>
          </a:p>
          <a:p>
            <a:r>
              <a:rPr lang="en-US" sz="1100"/>
              <a:t>387=UKHSA data (up-to-date VE); note ref group is ‘unvaccinated or received last dose </a:t>
            </a:r>
            <a:r>
              <a:rPr lang="en-US" sz="1100" b="1"/>
              <a:t>at least 3 months prior’</a:t>
            </a:r>
          </a:p>
          <a:p>
            <a:endParaRPr lang="en-US" sz="1100" b="1"/>
          </a:p>
          <a:p>
            <a:r>
              <a:rPr lang="en-US" sz="1100" b="0"/>
              <a:t>Outcome icons.  Tombstone = death; building = severe disease/</a:t>
            </a:r>
            <a:r>
              <a:rPr lang="en-US" sz="1100" b="0" err="1"/>
              <a:t>hosptitalization</a:t>
            </a:r>
            <a:r>
              <a:rPr lang="en-US" sz="1100" b="0"/>
              <a:t>;  head with thermometer=symptomatic disease; hands with germs=infection.</a:t>
            </a:r>
          </a:p>
          <a:p>
            <a:r>
              <a:rPr lang="en-US" sz="1100" b="0"/>
              <a:t>All studies numbered according to table for booster studies as part of living systematic review on ViewHub.org.   </a:t>
            </a:r>
          </a:p>
        </p:txBody>
      </p:sp>
      <p:sp>
        <p:nvSpPr>
          <p:cNvPr id="4" name="Slide Number Placeholder 3">
            <a:extLst>
              <a:ext uri="{FF2B5EF4-FFF2-40B4-BE49-F238E27FC236}">
                <a16:creationId xmlns:a16="http://schemas.microsoft.com/office/drawing/2014/main" id="{C5F310EF-40D0-8CBC-C8C7-94DED1F7CB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D3B363-88B4-4241-AE25-3345DAD7977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615138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AEE62-D2AA-4D4E-08AC-4DA1BB8A40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33341E-C2D8-E437-13B2-C3DD7F9E71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ABC8F1-12B0-D0A9-7483-4BF82E1588E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A95709A-6BCF-DED6-51CA-96C40F5BEC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7489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2A00AB-CD15-433A-A355-4988AFD51729}" type="slidenum">
              <a:rPr kumimoji="0" lang="en-GB"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495132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onstrained global funding landscape</a:t>
            </a:r>
          </a:p>
          <a:p>
            <a:pPr marL="342900" indent="-342900">
              <a:buClr>
                <a:srgbClr val="E87A48"/>
              </a:buClr>
              <a:buFont typeface="Arial" panose="020B0604020202020204" pitchFamily="34" charset="0"/>
              <a:buChar char="•"/>
            </a:pPr>
            <a:r>
              <a:rPr lang="en-ZA" sz="1200">
                <a:solidFill>
                  <a:sysClr val="windowText" lastClr="000000"/>
                </a:solidFill>
              </a:rPr>
              <a:t>The share of </a:t>
            </a:r>
            <a:r>
              <a:rPr lang="en-ZA" sz="1200" b="1">
                <a:solidFill>
                  <a:sysClr val="windowText" lastClr="000000"/>
                </a:solidFill>
              </a:rPr>
              <a:t>ODA allocated to the health sector declined </a:t>
            </a:r>
            <a:r>
              <a:rPr lang="en-ZA" sz="1200">
                <a:solidFill>
                  <a:sysClr val="windowText" lastClr="000000"/>
                </a:solidFill>
              </a:rPr>
              <a:t>by </a:t>
            </a:r>
            <a:r>
              <a:rPr lang="en-ZA" sz="1200" b="1">
                <a:solidFill>
                  <a:sysClr val="windowText" lastClr="000000"/>
                </a:solidFill>
              </a:rPr>
              <a:t>~8 pp </a:t>
            </a:r>
            <a:r>
              <a:rPr lang="en-ZA" sz="1200">
                <a:solidFill>
                  <a:sysClr val="windowText" lastClr="000000"/>
                </a:solidFill>
              </a:rPr>
              <a:t>between 2021 and 2023</a:t>
            </a:r>
          </a:p>
          <a:p>
            <a:pPr marL="342900" indent="-342900">
              <a:buClr>
                <a:srgbClr val="E87A48"/>
              </a:buClr>
              <a:buFont typeface="Arial" panose="020B0604020202020204" pitchFamily="34" charset="0"/>
              <a:buChar char="•"/>
            </a:pPr>
            <a:r>
              <a:rPr lang="en-ZA" sz="1200">
                <a:solidFill>
                  <a:sysClr val="windowText" lastClr="000000"/>
                </a:solidFill>
              </a:rPr>
              <a:t>Global Health (e.g., WHO, Gavi and UNICEF) is navigating </a:t>
            </a:r>
            <a:r>
              <a:rPr lang="en-ZA" sz="1200" b="1">
                <a:solidFill>
                  <a:sysClr val="windowText" lastClr="000000"/>
                </a:solidFill>
              </a:rPr>
              <a:t>significant downsizing as a result of reduced funding</a:t>
            </a:r>
            <a:endParaRPr lang="en-GB" sz="1200" b="1">
              <a:solidFill>
                <a:sysClr val="windowText" lastClr="000000"/>
              </a:solidFill>
            </a:endParaRPr>
          </a:p>
          <a:p>
            <a:pPr marL="0" indent="0">
              <a:buClr>
                <a:srgbClr val="E87A48"/>
              </a:buClr>
              <a:buFont typeface="Arial" panose="020B0604020202020204" pitchFamily="34" charset="0"/>
              <a:buNone/>
            </a:pPr>
            <a:endParaRPr lang="en-US"/>
          </a:p>
          <a:p>
            <a:pPr marL="0" indent="0">
              <a:buClr>
                <a:srgbClr val="E87A48"/>
              </a:buClr>
              <a:buFont typeface="Arial" panose="020B0604020202020204" pitchFamily="34" charset="0"/>
              <a:buNone/>
            </a:pPr>
            <a:r>
              <a:rPr lang="en-US" b="1"/>
              <a:t>Reduced domestic budget allocation for health</a:t>
            </a:r>
          </a:p>
          <a:p>
            <a:pPr marL="342900" indent="-342900">
              <a:buClr>
                <a:srgbClr val="E87A48"/>
              </a:buClr>
              <a:buFont typeface="Arial" panose="020B0604020202020204" pitchFamily="34" charset="0"/>
              <a:buChar char="•"/>
            </a:pPr>
            <a:r>
              <a:rPr lang="en-US">
                <a:highlight>
                  <a:srgbClr val="FFFF00"/>
                </a:highlight>
              </a:rPr>
              <a:t>Slow growth &amp; stagnating increase in expenditure on vaccines in UMICs </a:t>
            </a:r>
          </a:p>
          <a:p>
            <a:pPr marL="342900" indent="-342900">
              <a:buClr>
                <a:srgbClr val="E87A48"/>
              </a:buClr>
              <a:buFont typeface="Arial" panose="020B0604020202020204" pitchFamily="34" charset="0"/>
              <a:buChar char="•"/>
            </a:pPr>
            <a:endParaRPr lang="en-US" b="1"/>
          </a:p>
          <a:p>
            <a:pPr marL="0" marR="0" lvl="0" indent="0" algn="l" defTabSz="914400" rtl="0" eaLnBrk="1" fontAlgn="auto" latinLnBrk="0" hangingPunct="1">
              <a:lnSpc>
                <a:spcPct val="100000"/>
              </a:lnSpc>
              <a:spcBef>
                <a:spcPts val="0"/>
              </a:spcBef>
              <a:spcAft>
                <a:spcPts val="0"/>
              </a:spcAft>
              <a:buClr>
                <a:srgbClr val="E87A48"/>
              </a:buClr>
              <a:buSzTx/>
              <a:buFont typeface="Arial" panose="020B0604020202020204" pitchFamily="34" charset="0"/>
              <a:buNone/>
              <a:tabLst/>
              <a:defRPr/>
            </a:pPr>
            <a:r>
              <a:rPr lang="en-US" sz="1200" b="1">
                <a:solidFill>
                  <a:srgbClr val="EB5953"/>
                </a:solidFill>
              </a:rPr>
              <a:t>Persistent geopolitical instability</a:t>
            </a:r>
            <a:endParaRPr lang="en-US" sz="1200">
              <a:solidFill>
                <a:srgbClr val="000000"/>
              </a:solidFill>
            </a:endParaRPr>
          </a:p>
          <a:p>
            <a:pPr marL="342900" indent="-342900">
              <a:buClr>
                <a:srgbClr val="E87A48"/>
              </a:buClr>
              <a:buFont typeface="Arial" panose="020B0604020202020204" pitchFamily="34" charset="0"/>
              <a:buChar char="•"/>
            </a:pPr>
            <a:r>
              <a:rPr lang="en-ZA" sz="1200">
                <a:solidFill>
                  <a:sysClr val="windowText" lastClr="000000"/>
                </a:solidFill>
              </a:rPr>
              <a:t>Post-2020 conflicts have left </a:t>
            </a:r>
            <a:r>
              <a:rPr lang="en-ZA" sz="1200" b="1">
                <a:solidFill>
                  <a:sysClr val="windowText" lastClr="000000"/>
                </a:solidFill>
              </a:rPr>
              <a:t>&gt;120 million people </a:t>
            </a:r>
            <a:r>
              <a:rPr lang="en-ZA" sz="1200">
                <a:solidFill>
                  <a:sysClr val="windowText" lastClr="000000"/>
                </a:solidFill>
              </a:rPr>
              <a:t>worldwide displaced</a:t>
            </a:r>
          </a:p>
          <a:p>
            <a:pPr marL="342900" indent="-342900">
              <a:buClr>
                <a:srgbClr val="E87A48"/>
              </a:buClr>
              <a:buFont typeface="Arial" panose="020B0604020202020204" pitchFamily="34" charset="0"/>
              <a:buChar char="•"/>
            </a:pPr>
            <a:r>
              <a:rPr lang="en-ZA" sz="1200">
                <a:solidFill>
                  <a:sysClr val="windowText" lastClr="000000"/>
                </a:solidFill>
              </a:rPr>
              <a:t>Governments are choosing to shift </a:t>
            </a:r>
            <a:r>
              <a:rPr lang="en-ZA" sz="1200" b="1">
                <a:solidFill>
                  <a:sysClr val="windowText" lastClr="000000"/>
                </a:solidFill>
              </a:rPr>
              <a:t>health and development funds</a:t>
            </a:r>
            <a:r>
              <a:rPr lang="en-ZA" sz="1200">
                <a:solidFill>
                  <a:sysClr val="windowText" lastClr="000000"/>
                </a:solidFill>
              </a:rPr>
              <a:t> towards defence</a:t>
            </a:r>
          </a:p>
          <a:p>
            <a:pPr marL="342900" indent="-342900">
              <a:buClr>
                <a:srgbClr val="E87A48"/>
              </a:buClr>
              <a:buFont typeface="Arial" panose="020B0604020202020204" pitchFamily="34" charset="0"/>
              <a:buChar char="•"/>
            </a:pPr>
            <a:r>
              <a:rPr lang="en-ZA" sz="1200">
                <a:solidFill>
                  <a:sysClr val="windowText" lastClr="000000"/>
                </a:solidFill>
              </a:rPr>
              <a:t>Increased nationalism is </a:t>
            </a:r>
            <a:r>
              <a:rPr lang="en-ZA" sz="1200" b="1">
                <a:solidFill>
                  <a:sysClr val="windowText" lastClr="000000"/>
                </a:solidFill>
              </a:rPr>
              <a:t>reducing engagement in multinational collaborations</a:t>
            </a:r>
            <a:r>
              <a:rPr lang="en-ZA" sz="1200">
                <a:solidFill>
                  <a:sysClr val="windowText" lastClr="000000"/>
                </a:solidFill>
              </a:rPr>
              <a:t>, including on vaccines</a:t>
            </a:r>
            <a:endParaRPr lang="en-GB" sz="1200">
              <a:solidFill>
                <a:sysClr val="windowText" lastClr="000000"/>
              </a:solidFill>
            </a:endParaRPr>
          </a:p>
          <a:p>
            <a:pPr marL="0" indent="0">
              <a:buClr>
                <a:srgbClr val="E87A48"/>
              </a:buClr>
              <a:buFont typeface="Arial" panose="020B0604020202020204" pitchFamily="34" charset="0"/>
              <a:buNone/>
            </a:pPr>
            <a:endParaRPr lang="en-US" b="1"/>
          </a:p>
          <a:p>
            <a:pPr marL="0" marR="0" lvl="0" indent="0" algn="l" defTabSz="914400" rtl="0" eaLnBrk="1" fontAlgn="auto" latinLnBrk="0" hangingPunct="1">
              <a:lnSpc>
                <a:spcPct val="100000"/>
              </a:lnSpc>
              <a:spcBef>
                <a:spcPts val="0"/>
              </a:spcBef>
              <a:spcAft>
                <a:spcPts val="0"/>
              </a:spcAft>
              <a:buClr>
                <a:srgbClr val="E87A48"/>
              </a:buClr>
              <a:buSzTx/>
              <a:buFont typeface="Arial" panose="020B0604020202020204" pitchFamily="34" charset="0"/>
              <a:buNone/>
              <a:tabLst/>
              <a:defRPr/>
            </a:pPr>
            <a:r>
              <a:rPr lang="en-US" sz="1200" b="1">
                <a:solidFill>
                  <a:srgbClr val="EB5953"/>
                </a:solidFill>
              </a:rPr>
              <a:t>Shifts in global health architecture</a:t>
            </a:r>
            <a:endParaRPr lang="en-US" sz="1200">
              <a:solidFill>
                <a:srgbClr val="000000"/>
              </a:solidFill>
            </a:endParaRPr>
          </a:p>
          <a:p>
            <a:pPr marL="342900" indent="-342900">
              <a:buClr>
                <a:srgbClr val="E87A48"/>
              </a:buClr>
              <a:buFont typeface="Arial" panose="020B0604020202020204" pitchFamily="34" charset="0"/>
              <a:buChar char="•"/>
            </a:pPr>
            <a:r>
              <a:rPr lang="en-ZA" sz="1200">
                <a:solidFill>
                  <a:sysClr val="windowText" lastClr="000000"/>
                </a:solidFill>
              </a:rPr>
              <a:t>Major funders and agencies are defining </a:t>
            </a:r>
            <a:r>
              <a:rPr lang="en-ZA" sz="1200" b="1">
                <a:solidFill>
                  <a:sysClr val="windowText" lastClr="000000"/>
                </a:solidFill>
              </a:rPr>
              <a:t>finite lifespans </a:t>
            </a:r>
            <a:r>
              <a:rPr lang="en-ZA" sz="1200">
                <a:solidFill>
                  <a:sysClr val="windowText" lastClr="000000"/>
                </a:solidFill>
              </a:rPr>
              <a:t>for significant areas of immunization work</a:t>
            </a:r>
          </a:p>
          <a:p>
            <a:pPr marL="342900" indent="-342900">
              <a:buClr>
                <a:srgbClr val="E87A48"/>
              </a:buClr>
              <a:buFont typeface="Arial" panose="020B0604020202020204" pitchFamily="34" charset="0"/>
              <a:buChar char="•"/>
            </a:pPr>
            <a:r>
              <a:rPr lang="en-ZA" sz="1200">
                <a:solidFill>
                  <a:sysClr val="windowText" lastClr="000000"/>
                </a:solidFill>
              </a:rPr>
              <a:t>Large, </a:t>
            </a:r>
            <a:r>
              <a:rPr lang="en-ZA" sz="1200" b="1">
                <a:solidFill>
                  <a:sysClr val="windowText" lastClr="000000"/>
                </a:solidFill>
              </a:rPr>
              <a:t>vertical programs are coming to an end </a:t>
            </a:r>
            <a:r>
              <a:rPr lang="en-ZA" sz="1200">
                <a:solidFill>
                  <a:sysClr val="windowText" lastClr="000000"/>
                </a:solidFill>
              </a:rPr>
              <a:t>in their current form</a:t>
            </a:r>
          </a:p>
          <a:p>
            <a:pPr marL="342900" indent="-342900">
              <a:buClr>
                <a:srgbClr val="E87A48"/>
              </a:buClr>
              <a:buFont typeface="Arial" panose="020B0604020202020204" pitchFamily="34" charset="0"/>
              <a:buChar char="•"/>
            </a:pPr>
            <a:r>
              <a:rPr lang="en-ZA" sz="1200" b="1">
                <a:solidFill>
                  <a:sysClr val="windowText" lastClr="000000"/>
                </a:solidFill>
              </a:rPr>
              <a:t>Country-led approaches </a:t>
            </a:r>
            <a:r>
              <a:rPr lang="en-ZA" sz="1200">
                <a:solidFill>
                  <a:sysClr val="windowText" lastClr="000000"/>
                </a:solidFill>
              </a:rPr>
              <a:t>will see more shifts of activity to the national or regional level</a:t>
            </a:r>
            <a:endParaRPr lang="en-GB" sz="1200">
              <a:solidFill>
                <a:sysClr val="windowText" lastClr="000000"/>
              </a:solidFill>
            </a:endParaRPr>
          </a:p>
          <a:p>
            <a:pPr marL="0" indent="0">
              <a:buClr>
                <a:srgbClr val="E87A48"/>
              </a:buClr>
              <a:buFont typeface="Arial" panose="020B0604020202020204" pitchFamily="34" charset="0"/>
              <a:buNone/>
            </a:pPr>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6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6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6866216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F83A93-987A-A3A9-21D9-5CE1968DAD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8954D4-1168-B3D2-E76A-0B67754C4A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D00267-6012-474F-0550-B72CEABBF3F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3F42EF0-D259-94F5-8634-D7957A7021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05151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C9FD2B-63BE-CF4A-B138-2C9460B3FC2E}" type="slidenum">
              <a:rPr kumimoji="0" lang="en-US" sz="1200" b="0" i="0" u="none" strike="noStrike" kern="0" cap="none" spc="0" normalizeH="0" baseline="0" noProof="0" smtClean="0">
                <a:ln>
                  <a:noFill/>
                </a:ln>
                <a:solidFill>
                  <a:sysClr val="windowText" lastClr="000000"/>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0" cap="none" spc="0" normalizeH="0" baseline="0" noProof="0">
              <a:ln>
                <a:noFill/>
              </a:ln>
              <a:solidFill>
                <a:sysClr val="windowText" lastClr="000000"/>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6075398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051F2-1D0D-968E-C66B-73E7FE8B2C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7108FC-9461-736D-FFB7-AE4A746589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8DE401-4466-D270-1446-CCE45ACF2F5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B5504E1-34E2-E7FD-5308-02130A20FC1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C9FD2B-63BE-CF4A-B138-2C9460B3FC2E}" type="slidenum">
              <a:rPr kumimoji="0" lang="en-US" sz="1200" b="0" i="0" u="none" strike="noStrike" kern="0" cap="none" spc="0" normalizeH="0" baseline="0" noProof="0" smtClean="0">
                <a:ln>
                  <a:noFill/>
                </a:ln>
                <a:solidFill>
                  <a:sysClr val="windowText" lastClr="000000"/>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0" cap="none" spc="0" normalizeH="0" baseline="0" noProof="0">
              <a:ln>
                <a:noFill/>
              </a:ln>
              <a:solidFill>
                <a:sysClr val="windowText" lastClr="000000"/>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7969259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C9FD2B-63BE-CF4A-B138-2C9460B3FC2E}" type="slidenum">
              <a:rPr kumimoji="0" lang="en-US" sz="1200" b="0" i="0" u="none" strike="noStrike" kern="0" cap="none" spc="0" normalizeH="0" baseline="0" noProof="0" smtClean="0">
                <a:ln>
                  <a:noFill/>
                </a:ln>
                <a:solidFill>
                  <a:sysClr val="windowText" lastClr="000000"/>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0" cap="none" spc="0" normalizeH="0" baseline="0" noProof="0">
              <a:ln>
                <a:noFill/>
              </a:ln>
              <a:solidFill>
                <a:sysClr val="windowText" lastClr="000000"/>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7530621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F8D64A-742F-0AC4-F14E-CDE3ABA8AD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DDEBC8-4927-056A-B354-5599229569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9AE72D-8ADE-B0E5-7C3A-AF29450B554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63FD069-16FD-796B-43BC-683F5169EBA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95363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085FB-FEC2-280B-C18E-6EE5AD3F4D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B28578-9829-FAA3-CD96-791E218B16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4C4426-59AC-767A-00EF-A2C7C003203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8DAF80F-85B2-402C-C7C1-EF488AAD50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30219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A2AEB-2E50-CE0D-698B-C0A5204409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E346BC-2ACD-738F-6732-3DCB5CA26C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E3A498-7CB7-F811-70C2-6F3026D8AA0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66456D-63B5-84DF-4A37-52E52EB5EB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06629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FDFC57-5359-58EE-13C6-218B647DAF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5EAB8F-6ECA-DDF8-3C6D-725EBD0E2B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7383B8-F19D-B29E-D47F-69972FB724AF}"/>
              </a:ext>
            </a:extLst>
          </p:cNvPr>
          <p:cNvSpPr>
            <a:spLocks noGrp="1"/>
          </p:cNvSpPr>
          <p:nvPr>
            <p:ph type="body" idx="1"/>
          </p:nvPr>
        </p:nvSpPr>
        <p:spPr/>
        <p:txBody>
          <a:bodyPr/>
          <a:lstStyle/>
          <a:p>
            <a:pPr marL="565442" lvl="2" indent="-272250" defTabSz="2010411">
              <a:buClr>
                <a:srgbClr val="000000"/>
              </a:buClr>
              <a:buSzPts val="1500"/>
              <a:buFont typeface="Arial"/>
              <a:buChar char="•"/>
              <a:defRPr/>
            </a:pPr>
            <a:r>
              <a:rPr lang="en-US" sz="2803" kern="0">
                <a:solidFill>
                  <a:srgbClr val="000000"/>
                </a:solidFill>
                <a:latin typeface="Calibri" panose="020F0502020204030204"/>
                <a:ea typeface="Calibri"/>
                <a:cs typeface="Poppins"/>
                <a:sym typeface="Calibri"/>
              </a:rPr>
              <a:t>Malawi, Ghana, Kenya, Cameroon, Burkina Faso, Liberia, Benin, Sierra Leone, Côte d'Ivoire, South Sudan, Mozambique, Central African Republic, Niger, Chad, Democratic Republic of the Congo, Sudan, Nigeria, Burundi, Uganda, Mali, Guinea, Togo, Ethiopia</a:t>
            </a:r>
            <a:endParaRPr lang="en" sz="2803" kern="0">
              <a:solidFill>
                <a:srgbClr val="000000"/>
              </a:solidFill>
              <a:latin typeface="Calibri" panose="020F0502020204030204"/>
              <a:cs typeface="Poppins"/>
              <a:sym typeface="Calibri"/>
            </a:endParaRPr>
          </a:p>
          <a:p>
            <a:pPr marL="565442" lvl="2" indent="-272250" defTabSz="2010411">
              <a:spcBef>
                <a:spcPts val="989"/>
              </a:spcBef>
              <a:buClr>
                <a:srgbClr val="000000"/>
              </a:buClr>
              <a:buSzPts val="1500"/>
              <a:buFont typeface="Arial"/>
              <a:buChar char="•"/>
              <a:defRPr/>
            </a:pPr>
            <a:r>
              <a:rPr lang="en-US" sz="2803" kern="0">
                <a:solidFill>
                  <a:srgbClr val="000000"/>
                </a:solidFill>
                <a:latin typeface="Calibri" panose="020F0502020204030204"/>
                <a:ea typeface="Calibri"/>
                <a:cs typeface="Poppins"/>
                <a:sym typeface="Calibri"/>
              </a:rPr>
              <a:t>Additional introductions and scale up in 2025 and 2026 </a:t>
            </a:r>
            <a:endParaRPr lang="en-US" sz="2803" kern="0">
              <a:solidFill>
                <a:srgbClr val="000000"/>
              </a:solidFill>
              <a:latin typeface="Calibri" panose="020F0502020204030204"/>
              <a:ea typeface="Calibri"/>
              <a:cs typeface="Poppins"/>
            </a:endParaRPr>
          </a:p>
          <a:p>
            <a:endParaRPr lang="en-US"/>
          </a:p>
        </p:txBody>
      </p:sp>
      <p:sp>
        <p:nvSpPr>
          <p:cNvPr id="4" name="Slide Number Placeholder 3">
            <a:extLst>
              <a:ext uri="{FF2B5EF4-FFF2-40B4-BE49-F238E27FC236}">
                <a16:creationId xmlns:a16="http://schemas.microsoft.com/office/drawing/2014/main" id="{39C55715-3F01-E9C6-6462-74BF7132A709}"/>
              </a:ext>
            </a:extLst>
          </p:cNvPr>
          <p:cNvSpPr>
            <a:spLocks noGrp="1"/>
          </p:cNvSpPr>
          <p:nvPr>
            <p:ph type="sldNum" sz="quarter" idx="5"/>
          </p:nvPr>
        </p:nvSpPr>
        <p:spPr/>
        <p:txBody>
          <a:bodyPr/>
          <a:lstStyle/>
          <a:p>
            <a:pPr marL="0" marR="0" lvl="0" indent="0" algn="r" defTabSz="946221" rtl="0" eaLnBrk="1" fontAlgn="auto" latinLnBrk="0" hangingPunct="1">
              <a:lnSpc>
                <a:spcPct val="100000"/>
              </a:lnSpc>
              <a:spcBef>
                <a:spcPts val="0"/>
              </a:spcBef>
              <a:spcAft>
                <a:spcPts val="0"/>
              </a:spcAft>
              <a:buClrTx/>
              <a:buSzTx/>
              <a:buFontTx/>
              <a:buNone/>
              <a:tabLst/>
              <a:defRPr/>
            </a:pPr>
            <a:fld id="{2385B747-18E9-E746-A276-B387773C2A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rPr>
              <a:pPr marL="0" marR="0" lvl="0" indent="0" algn="r" defTabSz="946221"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403973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B50503-4960-A247-6915-7D20534F1B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C658A7-6147-4D63-2C46-CA7E65791A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27C536-57C6-C8FD-5EE3-10C0BB18B7F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33D04B9-2775-3591-35A5-5DE5ED5D868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4843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6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6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025879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t>31m surviving infants live in countries with FCV settings (24% of all infants), yet they are disproportionally at risk of being completely unvaccinated, with 7.3m of them completely unvaccinated (51% of all zero dose children). </a:t>
            </a:r>
          </a:p>
          <a:p>
            <a:r>
              <a:rPr lang="en-GB" sz="1200"/>
              <a:t>“Zero-dose prevalence” is 24% in countries with FCV settings, only 7% in other countries. </a:t>
            </a:r>
          </a:p>
          <a:p>
            <a:endParaRPr lang="en-GB" sz="1200"/>
          </a:p>
          <a:p>
            <a:r>
              <a:rPr lang="en-GB" sz="1200"/>
              <a:t>FCV settings= 26, it includes Palestine (mostly AFRO and EMRO, also PAHO). Without FCV settings (195-26= 169).</a:t>
            </a:r>
          </a:p>
          <a:p>
            <a:endParaRPr lang="en-GB" sz="1200"/>
          </a:p>
          <a:p>
            <a:r>
              <a:rPr lang="en-US">
                <a:effectLst/>
              </a:rPr>
              <a:t>Asia and the Pacific</a:t>
            </a:r>
            <a:endParaRPr lang="en-US"/>
          </a:p>
          <a:p>
            <a:pPr>
              <a:buFont typeface="Arial" panose="020B0604020202020204" pitchFamily="34" charset="0"/>
              <a:buChar char="•"/>
            </a:pPr>
            <a:r>
              <a:rPr lang="en-US">
                <a:effectLst/>
              </a:rPr>
              <a:t>Afghanistan</a:t>
            </a:r>
            <a:endParaRPr lang="en-US"/>
          </a:p>
          <a:p>
            <a:pPr>
              <a:buFont typeface="Arial" panose="020B0604020202020204" pitchFamily="34" charset="0"/>
              <a:buChar char="•"/>
            </a:pPr>
            <a:r>
              <a:rPr lang="en-US">
                <a:effectLst/>
              </a:rPr>
              <a:t>Myanmar</a:t>
            </a:r>
            <a:endParaRPr lang="en-US"/>
          </a:p>
          <a:p>
            <a:r>
              <a:rPr lang="en-US"/>
              <a:t> </a:t>
            </a:r>
          </a:p>
          <a:p>
            <a:r>
              <a:rPr lang="en-US">
                <a:effectLst/>
              </a:rPr>
              <a:t>Europe</a:t>
            </a:r>
            <a:endParaRPr lang="en-US"/>
          </a:p>
          <a:p>
            <a:pPr>
              <a:buFont typeface="Arial" panose="020B0604020202020204" pitchFamily="34" charset="0"/>
              <a:buChar char="•"/>
            </a:pPr>
            <a:r>
              <a:rPr lang="en-US">
                <a:effectLst/>
              </a:rPr>
              <a:t>Ukraine</a:t>
            </a:r>
            <a:endParaRPr lang="en-US"/>
          </a:p>
          <a:p>
            <a:r>
              <a:rPr lang="en-US"/>
              <a:t> </a:t>
            </a:r>
          </a:p>
          <a:p>
            <a:r>
              <a:rPr lang="en-US">
                <a:effectLst/>
              </a:rPr>
              <a:t>Latin America and the Caribbean</a:t>
            </a:r>
            <a:endParaRPr lang="en-US"/>
          </a:p>
          <a:p>
            <a:pPr>
              <a:buFont typeface="Arial" panose="020B0604020202020204" pitchFamily="34" charset="0"/>
              <a:buChar char="•"/>
            </a:pPr>
            <a:r>
              <a:rPr lang="en-US">
                <a:effectLst/>
              </a:rPr>
              <a:t>Colombia</a:t>
            </a:r>
            <a:endParaRPr lang="en-US"/>
          </a:p>
          <a:p>
            <a:pPr>
              <a:buFont typeface="Arial" panose="020B0604020202020204" pitchFamily="34" charset="0"/>
              <a:buChar char="•"/>
            </a:pPr>
            <a:r>
              <a:rPr lang="en-US">
                <a:solidFill>
                  <a:srgbClr val="CD5937"/>
                </a:solidFill>
                <a:effectLst/>
              </a:rPr>
              <a:t>El Salvador</a:t>
            </a:r>
            <a:endParaRPr lang="en-US"/>
          </a:p>
          <a:p>
            <a:pPr>
              <a:buFont typeface="Arial" panose="020B0604020202020204" pitchFamily="34" charset="0"/>
              <a:buChar char="•"/>
            </a:pPr>
            <a:r>
              <a:rPr lang="en-US">
                <a:solidFill>
                  <a:srgbClr val="CD5937"/>
                </a:solidFill>
                <a:effectLst/>
              </a:rPr>
              <a:t>Guatemala</a:t>
            </a:r>
            <a:endParaRPr lang="en-US"/>
          </a:p>
          <a:p>
            <a:pPr>
              <a:buFont typeface="Arial" panose="020B0604020202020204" pitchFamily="34" charset="0"/>
              <a:buChar char="•"/>
            </a:pPr>
            <a:r>
              <a:rPr lang="en-US">
                <a:effectLst/>
              </a:rPr>
              <a:t>Haiti</a:t>
            </a:r>
            <a:endParaRPr lang="en-US"/>
          </a:p>
          <a:p>
            <a:pPr>
              <a:buFont typeface="Arial" panose="020B0604020202020204" pitchFamily="34" charset="0"/>
              <a:buChar char="•"/>
            </a:pPr>
            <a:r>
              <a:rPr lang="en-US">
                <a:solidFill>
                  <a:srgbClr val="CD5937"/>
                </a:solidFill>
                <a:effectLst/>
              </a:rPr>
              <a:t>Honduras</a:t>
            </a:r>
            <a:endParaRPr lang="en-US"/>
          </a:p>
          <a:p>
            <a:pPr>
              <a:buFont typeface="Arial" panose="020B0604020202020204" pitchFamily="34" charset="0"/>
              <a:buChar char="•"/>
            </a:pPr>
            <a:r>
              <a:rPr lang="en-US">
                <a:effectLst/>
              </a:rPr>
              <a:t>Venezuela</a:t>
            </a:r>
            <a:endParaRPr lang="en-US"/>
          </a:p>
          <a:p>
            <a:r>
              <a:rPr lang="en-US"/>
              <a:t> </a:t>
            </a:r>
          </a:p>
          <a:p>
            <a:r>
              <a:rPr lang="en-US">
                <a:effectLst/>
              </a:rPr>
              <a:t>Middle East and North Africa</a:t>
            </a:r>
            <a:endParaRPr lang="en-US"/>
          </a:p>
          <a:p>
            <a:pPr>
              <a:buFont typeface="Arial" panose="020B0604020202020204" pitchFamily="34" charset="0"/>
              <a:buChar char="•"/>
            </a:pPr>
            <a:r>
              <a:rPr lang="en-US">
                <a:effectLst/>
              </a:rPr>
              <a:t>Occupied Palestinian Territory </a:t>
            </a:r>
            <a:r>
              <a:rPr lang="en-US">
                <a:solidFill>
                  <a:srgbClr val="CD5937"/>
                </a:solidFill>
                <a:effectLst/>
              </a:rPr>
              <a:t>listed with FA </a:t>
            </a:r>
            <a:endParaRPr lang="en-US"/>
          </a:p>
          <a:p>
            <a:pPr>
              <a:buFont typeface="Arial" panose="020B0604020202020204" pitchFamily="34" charset="0"/>
              <a:buChar char="•"/>
            </a:pPr>
            <a:r>
              <a:rPr lang="en-US">
                <a:solidFill>
                  <a:srgbClr val="CD5937"/>
                </a:solidFill>
                <a:effectLst/>
              </a:rPr>
              <a:t>Lebanon  listed with FA</a:t>
            </a:r>
            <a:endParaRPr lang="en-US"/>
          </a:p>
          <a:p>
            <a:pPr>
              <a:buFont typeface="Arial" panose="020B0604020202020204" pitchFamily="34" charset="0"/>
              <a:buChar char="•"/>
            </a:pPr>
            <a:r>
              <a:rPr lang="en-US">
                <a:effectLst/>
              </a:rPr>
              <a:t>Syria</a:t>
            </a:r>
            <a:endParaRPr lang="en-US"/>
          </a:p>
          <a:p>
            <a:pPr>
              <a:buFont typeface="Arial" panose="020B0604020202020204" pitchFamily="34" charset="0"/>
              <a:buChar char="•"/>
            </a:pPr>
            <a:r>
              <a:rPr lang="en-US">
                <a:effectLst/>
              </a:rPr>
              <a:t>Yemen</a:t>
            </a:r>
            <a:endParaRPr lang="en-US"/>
          </a:p>
          <a:p>
            <a:r>
              <a:rPr lang="en-US"/>
              <a:t> </a:t>
            </a:r>
          </a:p>
          <a:p>
            <a:r>
              <a:rPr lang="en-US">
                <a:effectLst/>
              </a:rPr>
              <a:t>Southern and Eastern Africa</a:t>
            </a:r>
            <a:endParaRPr lang="en-US"/>
          </a:p>
          <a:p>
            <a:pPr>
              <a:buFont typeface="Arial" panose="020B0604020202020204" pitchFamily="34" charset="0"/>
              <a:buChar char="•"/>
            </a:pPr>
            <a:r>
              <a:rPr lang="en-US">
                <a:effectLst/>
              </a:rPr>
              <a:t>Ethiopia</a:t>
            </a:r>
            <a:endParaRPr lang="en-US"/>
          </a:p>
          <a:p>
            <a:pPr>
              <a:buFont typeface="Arial" panose="020B0604020202020204" pitchFamily="34" charset="0"/>
              <a:buChar char="•"/>
            </a:pPr>
            <a:r>
              <a:rPr lang="en-US">
                <a:solidFill>
                  <a:srgbClr val="CD5937"/>
                </a:solidFill>
                <a:effectLst/>
              </a:rPr>
              <a:t>Mozambique</a:t>
            </a:r>
            <a:endParaRPr lang="en-US"/>
          </a:p>
          <a:p>
            <a:pPr>
              <a:buFont typeface="Arial" panose="020B0604020202020204" pitchFamily="34" charset="0"/>
              <a:buChar char="•"/>
            </a:pPr>
            <a:r>
              <a:rPr lang="en-US">
                <a:solidFill>
                  <a:srgbClr val="CD5937"/>
                </a:solidFill>
                <a:effectLst/>
              </a:rPr>
              <a:t>Somalia</a:t>
            </a:r>
            <a:endParaRPr lang="en-US"/>
          </a:p>
          <a:p>
            <a:pPr>
              <a:buFont typeface="Arial" panose="020B0604020202020204" pitchFamily="34" charset="0"/>
              <a:buChar char="•"/>
            </a:pPr>
            <a:r>
              <a:rPr lang="en-US">
                <a:effectLst/>
              </a:rPr>
              <a:t>South Sudan</a:t>
            </a:r>
            <a:endParaRPr lang="en-US"/>
          </a:p>
          <a:p>
            <a:pPr>
              <a:buFont typeface="Arial" panose="020B0604020202020204" pitchFamily="34" charset="0"/>
              <a:buChar char="•"/>
            </a:pPr>
            <a:r>
              <a:rPr lang="en-US">
                <a:effectLst/>
              </a:rPr>
              <a:t>Sudan</a:t>
            </a:r>
            <a:endParaRPr lang="en-US"/>
          </a:p>
          <a:p>
            <a:r>
              <a:rPr lang="en-US"/>
              <a:t> </a:t>
            </a:r>
          </a:p>
          <a:p>
            <a:r>
              <a:rPr lang="en-US">
                <a:effectLst/>
              </a:rPr>
              <a:t>West and Central Africa</a:t>
            </a:r>
            <a:endParaRPr lang="en-US"/>
          </a:p>
          <a:p>
            <a:pPr>
              <a:buFont typeface="Arial" panose="020B0604020202020204" pitchFamily="34" charset="0"/>
              <a:buChar char="•"/>
            </a:pPr>
            <a:r>
              <a:rPr lang="en-US">
                <a:effectLst/>
              </a:rPr>
              <a:t>Burkina Faso</a:t>
            </a:r>
            <a:endParaRPr lang="en-US"/>
          </a:p>
          <a:p>
            <a:pPr>
              <a:buFont typeface="Arial" panose="020B0604020202020204" pitchFamily="34" charset="0"/>
              <a:buChar char="•"/>
            </a:pPr>
            <a:r>
              <a:rPr lang="en-US">
                <a:effectLst/>
              </a:rPr>
              <a:t>Cameroon</a:t>
            </a:r>
            <a:endParaRPr lang="en-US"/>
          </a:p>
          <a:p>
            <a:pPr>
              <a:buFont typeface="Arial" panose="020B0604020202020204" pitchFamily="34" charset="0"/>
              <a:buChar char="•"/>
            </a:pPr>
            <a:r>
              <a:rPr lang="en-US">
                <a:effectLst/>
              </a:rPr>
              <a:t>Central African Republic</a:t>
            </a:r>
            <a:endParaRPr lang="en-US"/>
          </a:p>
          <a:p>
            <a:pPr>
              <a:buFont typeface="Arial" panose="020B0604020202020204" pitchFamily="34" charset="0"/>
              <a:buChar char="•"/>
            </a:pPr>
            <a:r>
              <a:rPr lang="en-US">
                <a:effectLst/>
              </a:rPr>
              <a:t>Chad</a:t>
            </a:r>
            <a:endParaRPr lang="en-US"/>
          </a:p>
          <a:p>
            <a:pPr>
              <a:buFont typeface="Arial" panose="020B0604020202020204" pitchFamily="34" charset="0"/>
              <a:buChar char="•"/>
            </a:pPr>
            <a:r>
              <a:rPr lang="en-US">
                <a:effectLst/>
              </a:rPr>
              <a:t>Democratic Republic of the Congo</a:t>
            </a:r>
            <a:endParaRPr lang="en-US"/>
          </a:p>
          <a:p>
            <a:pPr>
              <a:buFont typeface="Arial" panose="020B0604020202020204" pitchFamily="34" charset="0"/>
              <a:buChar char="•"/>
            </a:pPr>
            <a:r>
              <a:rPr lang="en-US">
                <a:effectLst/>
              </a:rPr>
              <a:t>Mali</a:t>
            </a:r>
            <a:endParaRPr lang="en-US"/>
          </a:p>
          <a:p>
            <a:pPr>
              <a:buFont typeface="Arial" panose="020B0604020202020204" pitchFamily="34" charset="0"/>
              <a:buChar char="•"/>
            </a:pPr>
            <a:r>
              <a:rPr lang="en-US">
                <a:effectLst/>
              </a:rPr>
              <a:t>Niger</a:t>
            </a:r>
            <a:endParaRPr lang="en-US"/>
          </a:p>
          <a:p>
            <a:pPr>
              <a:buFont typeface="Arial" panose="020B0604020202020204" pitchFamily="34" charset="0"/>
              <a:buChar char="•"/>
            </a:pPr>
            <a:r>
              <a:rPr lang="en-US">
                <a:effectLst/>
              </a:rPr>
              <a:t>Nigeria</a:t>
            </a:r>
            <a:endParaRPr lang="en-US"/>
          </a:p>
          <a:p>
            <a:pPr>
              <a:buFont typeface="Arial" panose="020B0604020202020204" pitchFamily="34" charset="0"/>
              <a:buChar char="•"/>
            </a:pPr>
            <a:r>
              <a:rPr lang="en-US"/>
              <a:t> </a:t>
            </a:r>
          </a:p>
          <a:p>
            <a:endParaRPr lang="en-GB" sz="12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6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6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412686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6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6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326842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6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6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095023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DBD1D3-78F6-5024-3F39-F50C4A0E3E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73AE9E-4C23-23EF-5B33-6085FA31B2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2FF998-1819-A768-BCF6-46EE6467536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B50383A-2CCF-46AC-12DF-93B75683BE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985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A5EF7-F85D-43B1-1B8C-B0FA567101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F5274D-EF02-BCBF-B694-62E0D5D316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20765A-68DD-A228-1844-C8404DFBB26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CC0C1F4-D47E-051F-2164-90FE23BEF9F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71676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579438"/>
            <a:ext cx="6672262" cy="37528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077711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1.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1.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1.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bin"/></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1.xml"/><Relationship Id="rId5" Type="http://schemas.openxmlformats.org/officeDocument/2006/relationships/image" Target="../media/image33.png"/><Relationship Id="rId4" Type="http://schemas.openxmlformats.org/officeDocument/2006/relationships/image" Target="../media/image32.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4.xml"/><Relationship Id="rId6" Type="http://schemas.openxmlformats.org/officeDocument/2006/relationships/image" Target="../media/image35.png"/><Relationship Id="rId5" Type="http://schemas.openxmlformats.org/officeDocument/2006/relationships/image" Target="../media/image33.png"/><Relationship Id="rId4" Type="http://schemas.openxmlformats.org/officeDocument/2006/relationships/image" Target="../media/image32.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5.xml"/><Relationship Id="rId6" Type="http://schemas.openxmlformats.org/officeDocument/2006/relationships/image" Target="../media/image33.png"/><Relationship Id="rId5" Type="http://schemas.openxmlformats.org/officeDocument/2006/relationships/image" Target="../media/image35.png"/><Relationship Id="rId4" Type="http://schemas.openxmlformats.org/officeDocument/2006/relationships/image" Target="../media/image32.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6.xml"/><Relationship Id="rId6" Type="http://schemas.openxmlformats.org/officeDocument/2006/relationships/image" Target="../media/image33.png"/><Relationship Id="rId5" Type="http://schemas.openxmlformats.org/officeDocument/2006/relationships/image" Target="../media/image35.png"/><Relationship Id="rId4" Type="http://schemas.openxmlformats.org/officeDocument/2006/relationships/image" Target="../media/image32.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32.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32.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32.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0.xml"/><Relationship Id="rId5" Type="http://schemas.openxmlformats.org/officeDocument/2006/relationships/image" Target="../media/image36.png"/><Relationship Id="rId4" Type="http://schemas.openxmlformats.org/officeDocument/2006/relationships/image" Target="../media/image32.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1.xml"/><Relationship Id="rId5" Type="http://schemas.openxmlformats.org/officeDocument/2006/relationships/image" Target="../media/image36.png"/><Relationship Id="rId4" Type="http://schemas.openxmlformats.org/officeDocument/2006/relationships/image" Target="../media/image32.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2.xml"/><Relationship Id="rId5" Type="http://schemas.openxmlformats.org/officeDocument/2006/relationships/image" Target="../media/image36.png"/><Relationship Id="rId4" Type="http://schemas.openxmlformats.org/officeDocument/2006/relationships/image" Target="../media/image32.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36.png"/><Relationship Id="rId4" Type="http://schemas.openxmlformats.org/officeDocument/2006/relationships/image" Target="../media/image32.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24.xml"/><Relationship Id="rId5" Type="http://schemas.openxmlformats.org/officeDocument/2006/relationships/image" Target="../media/image36.png"/><Relationship Id="rId4" Type="http://schemas.openxmlformats.org/officeDocument/2006/relationships/image" Target="../media/image32.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37.png"/><Relationship Id="rId4" Type="http://schemas.openxmlformats.org/officeDocument/2006/relationships/image" Target="../media/image32.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6.xml"/><Relationship Id="rId5" Type="http://schemas.openxmlformats.org/officeDocument/2006/relationships/image" Target="../media/image38.png"/><Relationship Id="rId4" Type="http://schemas.openxmlformats.org/officeDocument/2006/relationships/image" Target="../media/image32.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27.xml"/><Relationship Id="rId5" Type="http://schemas.openxmlformats.org/officeDocument/2006/relationships/image" Target="../media/image40.png"/><Relationship Id="rId4" Type="http://schemas.openxmlformats.org/officeDocument/2006/relationships/image" Target="../media/image39.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28.xml"/><Relationship Id="rId5" Type="http://schemas.openxmlformats.org/officeDocument/2006/relationships/image" Target="../media/image38.png"/><Relationship Id="rId4" Type="http://schemas.openxmlformats.org/officeDocument/2006/relationships/image" Target="../media/image32.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9.xml"/><Relationship Id="rId5" Type="http://schemas.openxmlformats.org/officeDocument/2006/relationships/image" Target="../media/image37.png"/><Relationship Id="rId4" Type="http://schemas.openxmlformats.org/officeDocument/2006/relationships/image" Target="../media/image32.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30.xml"/><Relationship Id="rId5" Type="http://schemas.openxmlformats.org/officeDocument/2006/relationships/image" Target="../media/image38.png"/><Relationship Id="rId4" Type="http://schemas.openxmlformats.org/officeDocument/2006/relationships/image" Target="../media/image32.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31.xml"/><Relationship Id="rId5" Type="http://schemas.openxmlformats.org/officeDocument/2006/relationships/image" Target="../media/image37.png"/><Relationship Id="rId4" Type="http://schemas.openxmlformats.org/officeDocument/2006/relationships/image" Target="../media/image32.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38.png"/><Relationship Id="rId4" Type="http://schemas.openxmlformats.org/officeDocument/2006/relationships/image" Target="../media/image32.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32.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32.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35.xml"/><Relationship Id="rId5" Type="http://schemas.openxmlformats.org/officeDocument/2006/relationships/image" Target="../media/image41.png"/><Relationship Id="rId4" Type="http://schemas.openxmlformats.org/officeDocument/2006/relationships/image" Target="../media/image39.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3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32.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32.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32.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40.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4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4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4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32.emf"/></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1.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1.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1.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1.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bin"/></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5.png"/><Relationship Id="rId4" Type="http://schemas.openxmlformats.org/officeDocument/2006/relationships/image" Target="../media/image32.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54.xml"/><Relationship Id="rId6" Type="http://schemas.openxmlformats.org/officeDocument/2006/relationships/image" Target="../media/image33.png"/><Relationship Id="rId5" Type="http://schemas.openxmlformats.org/officeDocument/2006/relationships/image" Target="../media/image35.png"/><Relationship Id="rId4" Type="http://schemas.openxmlformats.org/officeDocument/2006/relationships/image" Target="../media/image32.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32.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56.xml"/><Relationship Id="rId4" Type="http://schemas.openxmlformats.org/officeDocument/2006/relationships/image" Target="../media/image32.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32.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36.png"/><Relationship Id="rId4" Type="http://schemas.openxmlformats.org/officeDocument/2006/relationships/image" Target="../media/image32.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36.png"/><Relationship Id="rId4" Type="http://schemas.openxmlformats.org/officeDocument/2006/relationships/image" Target="../media/image32.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0.xml"/><Relationship Id="rId5" Type="http://schemas.openxmlformats.org/officeDocument/2006/relationships/image" Target="../media/image36.png"/><Relationship Id="rId4" Type="http://schemas.openxmlformats.org/officeDocument/2006/relationships/image" Target="../media/image3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1.xml"/><Relationship Id="rId5" Type="http://schemas.openxmlformats.org/officeDocument/2006/relationships/image" Target="../media/image36.png"/><Relationship Id="rId4" Type="http://schemas.openxmlformats.org/officeDocument/2006/relationships/image" Target="../media/image32.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62.xml"/><Relationship Id="rId5" Type="http://schemas.openxmlformats.org/officeDocument/2006/relationships/image" Target="../media/image36.png"/><Relationship Id="rId4" Type="http://schemas.openxmlformats.org/officeDocument/2006/relationships/image" Target="../media/image32.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63.xml"/><Relationship Id="rId5" Type="http://schemas.openxmlformats.org/officeDocument/2006/relationships/image" Target="../media/image36.png"/><Relationship Id="rId4" Type="http://schemas.openxmlformats.org/officeDocument/2006/relationships/image" Target="../media/image32.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4.xml"/><Relationship Id="rId5" Type="http://schemas.openxmlformats.org/officeDocument/2006/relationships/image" Target="../media/image37.png"/><Relationship Id="rId4" Type="http://schemas.openxmlformats.org/officeDocument/2006/relationships/image" Target="../media/image39.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5.xml"/><Relationship Id="rId5" Type="http://schemas.openxmlformats.org/officeDocument/2006/relationships/image" Target="../media/image38.png"/><Relationship Id="rId4" Type="http://schemas.openxmlformats.org/officeDocument/2006/relationships/image" Target="../media/image32.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66.xml"/><Relationship Id="rId5" Type="http://schemas.openxmlformats.org/officeDocument/2006/relationships/image" Target="../media/image40.png"/><Relationship Id="rId4" Type="http://schemas.openxmlformats.org/officeDocument/2006/relationships/image" Target="../media/image32.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67.xml"/><Relationship Id="rId5" Type="http://schemas.openxmlformats.org/officeDocument/2006/relationships/image" Target="../media/image38.png"/><Relationship Id="rId4" Type="http://schemas.openxmlformats.org/officeDocument/2006/relationships/image" Target="../media/image32.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8.xml"/><Relationship Id="rId5" Type="http://schemas.openxmlformats.org/officeDocument/2006/relationships/image" Target="../media/image37.png"/><Relationship Id="rId4" Type="http://schemas.openxmlformats.org/officeDocument/2006/relationships/image" Target="../media/image32.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9.xml"/><Relationship Id="rId5" Type="http://schemas.openxmlformats.org/officeDocument/2006/relationships/image" Target="../media/image38.png"/><Relationship Id="rId4" Type="http://schemas.openxmlformats.org/officeDocument/2006/relationships/image" Target="../media/image32.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70.xml"/><Relationship Id="rId5" Type="http://schemas.openxmlformats.org/officeDocument/2006/relationships/image" Target="../media/image37.png"/><Relationship Id="rId4" Type="http://schemas.openxmlformats.org/officeDocument/2006/relationships/image" Target="../media/image32.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71.xml"/><Relationship Id="rId5" Type="http://schemas.openxmlformats.org/officeDocument/2006/relationships/image" Target="../media/image38.png"/><Relationship Id="rId4" Type="http://schemas.openxmlformats.org/officeDocument/2006/relationships/image" Target="../media/image32.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72.xml"/><Relationship Id="rId4" Type="http://schemas.openxmlformats.org/officeDocument/2006/relationships/image" Target="../media/image32.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73.xml"/><Relationship Id="rId4" Type="http://schemas.openxmlformats.org/officeDocument/2006/relationships/image" Target="../media/image32.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41.png"/><Relationship Id="rId4" Type="http://schemas.openxmlformats.org/officeDocument/2006/relationships/image" Target="../media/image29.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75.xml"/><Relationship Id="rId4" Type="http://schemas.openxmlformats.org/officeDocument/2006/relationships/image" Target="../media/image32.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76.xml"/><Relationship Id="rId5" Type="http://schemas.openxmlformats.org/officeDocument/2006/relationships/image" Target="../media/image37.png"/><Relationship Id="rId4" Type="http://schemas.openxmlformats.org/officeDocument/2006/relationships/image" Target="../media/image32.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7.xml"/><Relationship Id="rId4" Type="http://schemas.openxmlformats.org/officeDocument/2006/relationships/image" Target="../media/image32.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78.xml"/><Relationship Id="rId4" Type="http://schemas.openxmlformats.org/officeDocument/2006/relationships/image" Target="../media/image32.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79.xml"/><Relationship Id="rId4" Type="http://schemas.openxmlformats.org/officeDocument/2006/relationships/image" Target="../media/image32.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80.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81.xml"/><Relationship Id="rId4" Type="http://schemas.openxmlformats.org/officeDocument/2006/relationships/image" Target="../media/image32.emf"/></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28.emf"/><Relationship Id="rId4" Type="http://schemas.openxmlformats.org/officeDocument/2006/relationships/oleObject" Target="../embeddings/oleObject14.bin"/></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84.xml"/><Relationship Id="rId4" Type="http://schemas.openxmlformats.org/officeDocument/2006/relationships/image" Target="../media/image28.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85.xml"/><Relationship Id="rId4" Type="http://schemas.openxmlformats.org/officeDocument/2006/relationships/image" Target="../media/image28.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86.xml"/><Relationship Id="rId5" Type="http://schemas.openxmlformats.org/officeDocument/2006/relationships/image" Target="../media/image36.png"/><Relationship Id="rId4" Type="http://schemas.openxmlformats.org/officeDocument/2006/relationships/image" Target="../media/image28.emf"/></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28.emf"/><Relationship Id="rId4" Type="http://schemas.openxmlformats.org/officeDocument/2006/relationships/oleObject" Target="../embeddings/oleObject18.bin"/></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89.xml"/><Relationship Id="rId4" Type="http://schemas.openxmlformats.org/officeDocument/2006/relationships/image" Target="../media/image28.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90.xml"/><Relationship Id="rId4" Type="http://schemas.openxmlformats.org/officeDocument/2006/relationships/image" Target="../media/image28.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91.xml"/><Relationship Id="rId5" Type="http://schemas.openxmlformats.org/officeDocument/2006/relationships/image" Target="../media/image36.png"/><Relationship Id="rId4" Type="http://schemas.openxmlformats.org/officeDocument/2006/relationships/image" Target="../media/image28.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92.xml"/><Relationship Id="rId5" Type="http://schemas.openxmlformats.org/officeDocument/2006/relationships/image" Target="../media/image37.png"/><Relationship Id="rId4" Type="http://schemas.openxmlformats.org/officeDocument/2006/relationships/image" Target="../media/image28.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93.xml"/><Relationship Id="rId6" Type="http://schemas.openxmlformats.org/officeDocument/2006/relationships/image" Target="../media/image30.png"/><Relationship Id="rId5" Type="http://schemas.openxmlformats.org/officeDocument/2006/relationships/image" Target="../media/image43.png"/><Relationship Id="rId4" Type="http://schemas.openxmlformats.org/officeDocument/2006/relationships/image" Target="../media/image42.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94.xml"/><Relationship Id="rId6" Type="http://schemas.openxmlformats.org/officeDocument/2006/relationships/image" Target="../media/image30.png"/><Relationship Id="rId5" Type="http://schemas.openxmlformats.org/officeDocument/2006/relationships/image" Target="../media/image43.png"/><Relationship Id="rId4" Type="http://schemas.openxmlformats.org/officeDocument/2006/relationships/image" Target="../media/image42.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95.xml"/><Relationship Id="rId6" Type="http://schemas.openxmlformats.org/officeDocument/2006/relationships/image" Target="../media/image30.png"/><Relationship Id="rId5" Type="http://schemas.openxmlformats.org/officeDocument/2006/relationships/image" Target="../media/image43.png"/><Relationship Id="rId4" Type="http://schemas.openxmlformats.org/officeDocument/2006/relationships/image" Target="../media/image42.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96.xml"/><Relationship Id="rId6" Type="http://schemas.openxmlformats.org/officeDocument/2006/relationships/image" Target="../media/image30.png"/><Relationship Id="rId5" Type="http://schemas.openxmlformats.org/officeDocument/2006/relationships/image" Target="../media/image43.png"/><Relationship Id="rId4" Type="http://schemas.openxmlformats.org/officeDocument/2006/relationships/image" Target="../media/image42.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97.xml"/><Relationship Id="rId6" Type="http://schemas.openxmlformats.org/officeDocument/2006/relationships/image" Target="../media/image44.png"/><Relationship Id="rId5" Type="http://schemas.openxmlformats.org/officeDocument/2006/relationships/image" Target="../media/image30.png"/><Relationship Id="rId4" Type="http://schemas.openxmlformats.org/officeDocument/2006/relationships/image" Target="../media/image42.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98.xml"/><Relationship Id="rId6" Type="http://schemas.openxmlformats.org/officeDocument/2006/relationships/image" Target="../media/image44.png"/><Relationship Id="rId5" Type="http://schemas.openxmlformats.org/officeDocument/2006/relationships/image" Target="../media/image30.png"/><Relationship Id="rId4" Type="http://schemas.openxmlformats.org/officeDocument/2006/relationships/image" Target="../media/image42.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99.xml"/><Relationship Id="rId6" Type="http://schemas.openxmlformats.org/officeDocument/2006/relationships/image" Target="../media/image44.png"/><Relationship Id="rId5" Type="http://schemas.openxmlformats.org/officeDocument/2006/relationships/image" Target="../media/image30.png"/><Relationship Id="rId4" Type="http://schemas.openxmlformats.org/officeDocument/2006/relationships/image" Target="../media/image42.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100.xml"/><Relationship Id="rId6" Type="http://schemas.openxmlformats.org/officeDocument/2006/relationships/image" Target="../media/image44.png"/><Relationship Id="rId5" Type="http://schemas.openxmlformats.org/officeDocument/2006/relationships/image" Target="../media/image30.png"/><Relationship Id="rId4" Type="http://schemas.openxmlformats.org/officeDocument/2006/relationships/image" Target="../media/image42.emf"/></Relationships>
</file>

<file path=ppt/slideLayouts/_rels/slideLayout21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oleObject" Target="../embeddings/oleObject4.bin"/><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10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2.emf"/><Relationship Id="rId9" Type="http://schemas.openxmlformats.org/officeDocument/2006/relationships/image" Target="../media/image33.png"/></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oleObject" Target="../embeddings/oleObject24.bin"/><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10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2.emf"/><Relationship Id="rId9" Type="http://schemas.openxmlformats.org/officeDocument/2006/relationships/image" Target="../media/image30.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oleObject" Target="../embeddings/oleObject24.bin"/><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10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2.emf"/><Relationship Id="rId9" Type="http://schemas.openxmlformats.org/officeDocument/2006/relationships/image" Target="../media/image30.png"/></Relationships>
</file>

<file path=ppt/slideLayouts/_rels/slideLayout22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oleObject" Target="../embeddings/oleObject24.bin"/><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10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2.emf"/><Relationship Id="rId9" Type="http://schemas.openxmlformats.org/officeDocument/2006/relationships/image" Target="../media/image30.png"/></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oleObject" Target="../embeddings/oleObject24.bin"/><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105.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2.emf"/><Relationship Id="rId9" Type="http://schemas.openxmlformats.org/officeDocument/2006/relationships/image" Target="../media/image30.pn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0.jpe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5.bin"/></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08.xml"/><Relationship Id="rId5" Type="http://schemas.openxmlformats.org/officeDocument/2006/relationships/image" Target="../media/image38.png"/><Relationship Id="rId4" Type="http://schemas.openxmlformats.org/officeDocument/2006/relationships/image" Target="../media/image32.emf"/></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3.emf"/><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8.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8.xml"/><Relationship Id="rId4" Type="http://schemas.openxmlformats.org/officeDocument/2006/relationships/image" Target="../media/image62.png"/></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9.xml"/><Relationship Id="rId4" Type="http://schemas.openxmlformats.org/officeDocument/2006/relationships/image" Target="../media/image67.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10.xml"/><Relationship Id="rId4" Type="http://schemas.openxmlformats.org/officeDocument/2006/relationships/image" Target="../media/image73.png"/></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15.png"/><Relationship Id="rId1" Type="http://schemas.openxmlformats.org/officeDocument/2006/relationships/slideMaster" Target="../slideMasters/slideMaster1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2.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image" Target="../media/image85.emf"/><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oleObject" Target="../embeddings/oleObject29.bin"/><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slideMaster" Target="../slideMasters/slideMaster13.xml"/><Relationship Id="rId5" Type="http://schemas.openxmlformats.org/officeDocument/2006/relationships/tags" Target="../tags/tag137.xml"/><Relationship Id="rId10" Type="http://schemas.openxmlformats.org/officeDocument/2006/relationships/tags" Target="../tags/tag142.xml"/><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image" Target="../media/image84.png"/></Relationships>
</file>

<file path=ppt/slideLayouts/_rels/slideLayout511.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81.emf"/><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oleObject" Target="../embeddings/oleObject30.bin"/><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slideMaster" Target="../slideMasters/slideMaster13.xml"/><Relationship Id="rId5" Type="http://schemas.openxmlformats.org/officeDocument/2006/relationships/tags" Target="../tags/tag147.xml"/><Relationship Id="rId10" Type="http://schemas.openxmlformats.org/officeDocument/2006/relationships/tags" Target="../tags/tag152.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image" Target="../media/image84.png"/></Relationships>
</file>

<file path=ppt/slideLayouts/_rels/slideLayout512.xml.rels><?xml version="1.0" encoding="UTF-8" standalone="yes"?>
<Relationships xmlns="http://schemas.openxmlformats.org/package/2006/relationships"><Relationship Id="rId8" Type="http://schemas.openxmlformats.org/officeDocument/2006/relationships/tags" Target="../tags/tag160.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84.pn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image" Target="../media/image86.emf"/><Relationship Id="rId5" Type="http://schemas.openxmlformats.org/officeDocument/2006/relationships/tags" Target="../tags/tag157.xml"/><Relationship Id="rId10" Type="http://schemas.openxmlformats.org/officeDocument/2006/relationships/oleObject" Target="../embeddings/oleObject31.bin"/><Relationship Id="rId4" Type="http://schemas.openxmlformats.org/officeDocument/2006/relationships/tags" Target="../tags/tag156.xml"/><Relationship Id="rId9" Type="http://schemas.openxmlformats.org/officeDocument/2006/relationships/slideMaster" Target="../slideMasters/slideMaster13.xml"/></Relationships>
</file>

<file path=ppt/slideLayouts/_rels/slideLayout513.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163.xml"/><Relationship Id="rId7" Type="http://schemas.openxmlformats.org/officeDocument/2006/relationships/slideMaster" Target="../slideMasters/slideMaster13.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5" Type="http://schemas.openxmlformats.org/officeDocument/2006/relationships/tags" Target="../tags/tag165.xml"/><Relationship Id="rId10" Type="http://schemas.openxmlformats.org/officeDocument/2006/relationships/image" Target="../media/image84.png"/><Relationship Id="rId4" Type="http://schemas.openxmlformats.org/officeDocument/2006/relationships/tags" Target="../tags/tag164.xml"/><Relationship Id="rId9" Type="http://schemas.openxmlformats.org/officeDocument/2006/relationships/image" Target="../media/image86.emf"/></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image" Target="../media/image84.png"/><Relationship Id="rId5" Type="http://schemas.openxmlformats.org/officeDocument/2006/relationships/image" Target="../media/image86.emf"/><Relationship Id="rId4" Type="http://schemas.openxmlformats.org/officeDocument/2006/relationships/oleObject" Target="../embeddings/oleObject33.bin"/></Relationships>
</file>

<file path=ppt/slideLayouts/_rels/slideLayout51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171.xml"/><Relationship Id="rId7" Type="http://schemas.openxmlformats.org/officeDocument/2006/relationships/tags" Target="../tags/tag175.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5" Type="http://schemas.openxmlformats.org/officeDocument/2006/relationships/tags" Target="../tags/tag173.xml"/><Relationship Id="rId10" Type="http://schemas.openxmlformats.org/officeDocument/2006/relationships/image" Target="../media/image81.emf"/><Relationship Id="rId4" Type="http://schemas.openxmlformats.org/officeDocument/2006/relationships/tags" Target="../tags/tag172.xml"/><Relationship Id="rId9" Type="http://schemas.openxmlformats.org/officeDocument/2006/relationships/oleObject" Target="../embeddings/oleObject34.bin"/></Relationships>
</file>

<file path=ppt/slideLayouts/_rels/slideLayout516.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image" Target="../media/image81.emf"/><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oleObject" Target="../embeddings/oleObject35.bin"/><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slideMaster" Target="../slideMasters/slideMaster13.xml"/><Relationship Id="rId5" Type="http://schemas.openxmlformats.org/officeDocument/2006/relationships/tags" Target="../tags/tag180.xml"/><Relationship Id="rId10" Type="http://schemas.openxmlformats.org/officeDocument/2006/relationships/tags" Target="../tags/tag185.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image" Target="../media/image84.png"/></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193.xml"/><Relationship Id="rId13" Type="http://schemas.openxmlformats.org/officeDocument/2006/relationships/image" Target="../media/image81.emf"/><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oleObject" Target="../embeddings/oleObject35.bin"/><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slideMaster" Target="../slideMasters/slideMaster13.xml"/><Relationship Id="rId5" Type="http://schemas.openxmlformats.org/officeDocument/2006/relationships/tags" Target="../tags/tag190.xml"/><Relationship Id="rId10" Type="http://schemas.openxmlformats.org/officeDocument/2006/relationships/tags" Target="../tags/tag195.xml"/><Relationship Id="rId4" Type="http://schemas.openxmlformats.org/officeDocument/2006/relationships/tags" Target="../tags/tag189.xml"/><Relationship Id="rId9" Type="http://schemas.openxmlformats.org/officeDocument/2006/relationships/tags" Target="../tags/tag194.xml"/><Relationship Id="rId14" Type="http://schemas.openxmlformats.org/officeDocument/2006/relationships/image" Target="../media/image84.png"/></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203.xml"/><Relationship Id="rId13" Type="http://schemas.openxmlformats.org/officeDocument/2006/relationships/image" Target="../media/image81.emf"/><Relationship Id="rId3" Type="http://schemas.openxmlformats.org/officeDocument/2006/relationships/tags" Target="../tags/tag198.xml"/><Relationship Id="rId7" Type="http://schemas.openxmlformats.org/officeDocument/2006/relationships/tags" Target="../tags/tag202.xml"/><Relationship Id="rId12" Type="http://schemas.openxmlformats.org/officeDocument/2006/relationships/oleObject" Target="../embeddings/oleObject36.bin"/><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slideMaster" Target="../slideMasters/slideMaster13.xml"/><Relationship Id="rId5" Type="http://schemas.openxmlformats.org/officeDocument/2006/relationships/tags" Target="../tags/tag200.xml"/><Relationship Id="rId10" Type="http://schemas.openxmlformats.org/officeDocument/2006/relationships/tags" Target="../tags/tag205.xml"/><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image" Target="../media/image84.png"/></Relationships>
</file>

<file path=ppt/slideLayouts/_rels/slideLayout519.xml.rels><?xml version="1.0" encoding="UTF-8" standalone="yes"?>
<Relationships xmlns="http://schemas.openxmlformats.org/package/2006/relationships"><Relationship Id="rId8" Type="http://schemas.openxmlformats.org/officeDocument/2006/relationships/tags" Target="../tags/tag213.xml"/><Relationship Id="rId13" Type="http://schemas.openxmlformats.org/officeDocument/2006/relationships/image" Target="../media/image81.emf"/><Relationship Id="rId3" Type="http://schemas.openxmlformats.org/officeDocument/2006/relationships/tags" Target="../tags/tag208.xml"/><Relationship Id="rId7" Type="http://schemas.openxmlformats.org/officeDocument/2006/relationships/tags" Target="../tags/tag212.xml"/><Relationship Id="rId12" Type="http://schemas.openxmlformats.org/officeDocument/2006/relationships/oleObject" Target="../embeddings/oleObject37.bin"/><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tags" Target="../tags/tag211.xml"/><Relationship Id="rId11" Type="http://schemas.openxmlformats.org/officeDocument/2006/relationships/slideMaster" Target="../slideMasters/slideMaster13.xml"/><Relationship Id="rId5" Type="http://schemas.openxmlformats.org/officeDocument/2006/relationships/tags" Target="../tags/tag210.xml"/><Relationship Id="rId10" Type="http://schemas.openxmlformats.org/officeDocument/2006/relationships/tags" Target="../tags/tag215.xml"/><Relationship Id="rId4" Type="http://schemas.openxmlformats.org/officeDocument/2006/relationships/tags" Target="../tags/tag209.xml"/><Relationship Id="rId9" Type="http://schemas.openxmlformats.org/officeDocument/2006/relationships/tags" Target="../tags/tag214.xml"/><Relationship Id="rId14" Type="http://schemas.openxmlformats.org/officeDocument/2006/relationships/image" Target="../media/image84.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218.xml"/><Relationship Id="rId7" Type="http://schemas.openxmlformats.org/officeDocument/2006/relationships/slideMaster" Target="../slideMasters/slideMaster13.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5" Type="http://schemas.openxmlformats.org/officeDocument/2006/relationships/tags" Target="../tags/tag220.xml"/><Relationship Id="rId4" Type="http://schemas.openxmlformats.org/officeDocument/2006/relationships/tags" Target="../tags/tag219.xml"/><Relationship Id="rId9" Type="http://schemas.openxmlformats.org/officeDocument/2006/relationships/image" Target="../media/image86.emf"/></Relationships>
</file>

<file path=ppt/slideLayouts/_rels/slideLayout521.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24.xml"/><Relationship Id="rId7" Type="http://schemas.openxmlformats.org/officeDocument/2006/relationships/slideMaster" Target="../slideMasters/slideMaster13.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5" Type="http://schemas.openxmlformats.org/officeDocument/2006/relationships/tags" Target="../tags/tag226.xml"/><Relationship Id="rId4" Type="http://schemas.openxmlformats.org/officeDocument/2006/relationships/tags" Target="../tags/tag225.xml"/><Relationship Id="rId9" Type="http://schemas.openxmlformats.org/officeDocument/2006/relationships/image" Target="../media/image86.emf"/></Relationships>
</file>

<file path=ppt/slideLayouts/_rels/slideLayout522.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30.xml"/><Relationship Id="rId7" Type="http://schemas.openxmlformats.org/officeDocument/2006/relationships/slideMaster" Target="../slideMasters/slideMaster13.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5" Type="http://schemas.openxmlformats.org/officeDocument/2006/relationships/tags" Target="../tags/tag232.xml"/><Relationship Id="rId4" Type="http://schemas.openxmlformats.org/officeDocument/2006/relationships/tags" Target="../tags/tag231.xml"/><Relationship Id="rId9" Type="http://schemas.openxmlformats.org/officeDocument/2006/relationships/image" Target="../media/image86.emf"/></Relationships>
</file>

<file path=ppt/slideLayouts/_rels/slideLayout523.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36.xml"/><Relationship Id="rId7" Type="http://schemas.openxmlformats.org/officeDocument/2006/relationships/slideMaster" Target="../slideMasters/slideMaster13.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5" Type="http://schemas.openxmlformats.org/officeDocument/2006/relationships/tags" Target="../tags/tag238.xml"/><Relationship Id="rId4" Type="http://schemas.openxmlformats.org/officeDocument/2006/relationships/tags" Target="../tags/tag237.xml"/><Relationship Id="rId9" Type="http://schemas.openxmlformats.org/officeDocument/2006/relationships/image" Target="../media/image86.emf"/></Relationships>
</file>

<file path=ppt/slideLayouts/_rels/slideLayout524.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42.xml"/><Relationship Id="rId7" Type="http://schemas.openxmlformats.org/officeDocument/2006/relationships/slideMaster" Target="../slideMasters/slideMaster13.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5" Type="http://schemas.openxmlformats.org/officeDocument/2006/relationships/tags" Target="../tags/tag244.xml"/><Relationship Id="rId4" Type="http://schemas.openxmlformats.org/officeDocument/2006/relationships/tags" Target="../tags/tag243.xml"/><Relationship Id="rId9" Type="http://schemas.openxmlformats.org/officeDocument/2006/relationships/image" Target="../media/image86.emf"/></Relationships>
</file>

<file path=ppt/slideLayouts/_rels/slideLayout525.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image" Target="../media/image84.png"/><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image" Target="../media/image86.emf"/><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11" Type="http://schemas.openxmlformats.org/officeDocument/2006/relationships/oleObject" Target="../embeddings/oleObject40.bin"/><Relationship Id="rId5" Type="http://schemas.openxmlformats.org/officeDocument/2006/relationships/tags" Target="../tags/tag250.xml"/><Relationship Id="rId10" Type="http://schemas.openxmlformats.org/officeDocument/2006/relationships/slideMaster" Target="../slideMasters/slideMaster13.xml"/><Relationship Id="rId4" Type="http://schemas.openxmlformats.org/officeDocument/2006/relationships/tags" Target="../tags/tag249.xml"/><Relationship Id="rId9" Type="http://schemas.openxmlformats.org/officeDocument/2006/relationships/tags" Target="../tags/tag254.xml"/></Relationships>
</file>

<file path=ppt/slideLayouts/_rels/slideLayout52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57.xml"/><Relationship Id="rId7" Type="http://schemas.openxmlformats.org/officeDocument/2006/relationships/tags" Target="../tags/tag261.xml"/><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tags" Target="../tags/tag260.xml"/><Relationship Id="rId5" Type="http://schemas.openxmlformats.org/officeDocument/2006/relationships/tags" Target="../tags/tag259.xml"/><Relationship Id="rId10" Type="http://schemas.openxmlformats.org/officeDocument/2006/relationships/image" Target="../media/image86.emf"/><Relationship Id="rId4" Type="http://schemas.openxmlformats.org/officeDocument/2006/relationships/tags" Target="../tags/tag258.xml"/><Relationship Id="rId9" Type="http://schemas.openxmlformats.org/officeDocument/2006/relationships/oleObject" Target="../embeddings/oleObject41.bin"/></Relationships>
</file>

<file path=ppt/slideLayouts/_rels/slideLayout527.xml.rels><?xml version="1.0" encoding="UTF-8" standalone="yes"?>
<Relationships xmlns="http://schemas.openxmlformats.org/package/2006/relationships"><Relationship Id="rId8" Type="http://schemas.openxmlformats.org/officeDocument/2006/relationships/slideMaster" Target="../slideMasters/slideMaster13.xml"/><Relationship Id="rId13" Type="http://schemas.microsoft.com/office/2007/relationships/hdphoto" Target="../media/hdphoto1.wdp"/><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image" Target="../media/image87.png"/><Relationship Id="rId17" Type="http://schemas.openxmlformats.org/officeDocument/2006/relationships/image" Target="../media/image91.png"/><Relationship Id="rId2" Type="http://schemas.openxmlformats.org/officeDocument/2006/relationships/tags" Target="../tags/tag263.xml"/><Relationship Id="rId16" Type="http://schemas.openxmlformats.org/officeDocument/2006/relationships/image" Target="../media/image90.png"/><Relationship Id="rId1" Type="http://schemas.openxmlformats.org/officeDocument/2006/relationships/tags" Target="../tags/tag262.xml"/><Relationship Id="rId6" Type="http://schemas.openxmlformats.org/officeDocument/2006/relationships/tags" Target="../tags/tag267.xml"/><Relationship Id="rId11" Type="http://schemas.openxmlformats.org/officeDocument/2006/relationships/image" Target="../media/image84.png"/><Relationship Id="rId5" Type="http://schemas.openxmlformats.org/officeDocument/2006/relationships/tags" Target="../tags/tag266.xml"/><Relationship Id="rId15" Type="http://schemas.openxmlformats.org/officeDocument/2006/relationships/image" Target="../media/image89.png"/><Relationship Id="rId10" Type="http://schemas.openxmlformats.org/officeDocument/2006/relationships/image" Target="../media/image86.emf"/><Relationship Id="rId4" Type="http://schemas.openxmlformats.org/officeDocument/2006/relationships/tags" Target="../tags/tag265.xml"/><Relationship Id="rId9" Type="http://schemas.openxmlformats.org/officeDocument/2006/relationships/oleObject" Target="../embeddings/oleObject42.bin"/><Relationship Id="rId14" Type="http://schemas.openxmlformats.org/officeDocument/2006/relationships/image" Target="../media/image88.png"/></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3.xml"/><Relationship Id="rId1" Type="http://schemas.openxmlformats.org/officeDocument/2006/relationships/tags" Target="../tags/tag269.xml"/><Relationship Id="rId5" Type="http://schemas.openxmlformats.org/officeDocument/2006/relationships/image" Target="../media/image93.jpeg"/><Relationship Id="rId4" Type="http://schemas.openxmlformats.org/officeDocument/2006/relationships/image" Target="../media/image92.emf"/></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3.xml"/></Relationships>
</file>

<file path=ppt/slideLayouts/_rels/slideLayout536.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image" Target="../media/image95.png"/><Relationship Id="rId1" Type="http://schemas.openxmlformats.org/officeDocument/2006/relationships/slideMaster" Target="../slideMasters/slideMaster13.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4.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emf"/><Relationship Id="rId1" Type="http://schemas.openxmlformats.org/officeDocument/2006/relationships/slideMaster" Target="../slideMasters/slideMaster1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4.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4.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4.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4.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56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emf"/><Relationship Id="rId1" Type="http://schemas.openxmlformats.org/officeDocument/2006/relationships/slideMaster" Target="../slideMasters/slideMaster15.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5.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emf"/><Relationship Id="rId1" Type="http://schemas.openxmlformats.org/officeDocument/2006/relationships/slideMaster" Target="../slideMasters/slideMaster15.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5.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15.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3.emf"/><Relationship Id="rId1" Type="http://schemas.openxmlformats.org/officeDocument/2006/relationships/slideMaster" Target="../slideMasters/slideMaster15.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15.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emf"/><Relationship Id="rId1" Type="http://schemas.openxmlformats.org/officeDocument/2006/relationships/slideMaster" Target="../slideMasters/slideMaster15.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15.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3.emf"/><Relationship Id="rId1" Type="http://schemas.openxmlformats.org/officeDocument/2006/relationships/slideMaster" Target="../slideMasters/slideMaster15.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5.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66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3.emf"/><Relationship Id="rId1" Type="http://schemas.openxmlformats.org/officeDocument/2006/relationships/slideMaster" Target="../slideMasters/slideMaster15.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1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10.jpeg"/><Relationship Id="rId1" Type="http://schemas.openxmlformats.org/officeDocument/2006/relationships/slideMaster" Target="../slideMasters/slideMaster15.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emf"/><Relationship Id="rId1" Type="http://schemas.openxmlformats.org/officeDocument/2006/relationships/slideMaster" Target="../slideMasters/slideMaster15.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5.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11.jpeg"/><Relationship Id="rId1" Type="http://schemas.openxmlformats.org/officeDocument/2006/relationships/slideMaster" Target="../slideMasters/slideMaster15.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5.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emf"/><Relationship Id="rId1" Type="http://schemas.openxmlformats.org/officeDocument/2006/relationships/slideMaster" Target="../slideMasters/slideMaster15.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15.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15.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5.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12.jpeg"/><Relationship Id="rId1" Type="http://schemas.openxmlformats.org/officeDocument/2006/relationships/slideMaster" Target="../slideMasters/slideMaster15.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7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emf"/><Relationship Id="rId1" Type="http://schemas.openxmlformats.org/officeDocument/2006/relationships/slideMaster" Target="../slideMasters/slideMaster15.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5.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15.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53.emf"/><Relationship Id="rId1" Type="http://schemas.openxmlformats.org/officeDocument/2006/relationships/slideMaster" Target="../slideMasters/slideMaster15.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15.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Master" Target="../slideMasters/slideMaster15.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15.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15.xml"/></Relationships>
</file>

<file path=ppt/slideLayouts/_rels/slideLayout749.xml.rels><?xml version="1.0" encoding="UTF-8" standalone="yes"?>
<Relationships xmlns="http://schemas.openxmlformats.org/package/2006/relationships"><Relationship Id="rId3" Type="http://schemas.openxmlformats.org/officeDocument/2006/relationships/image" Target="../media/image116.svg"/><Relationship Id="rId2" Type="http://schemas.openxmlformats.org/officeDocument/2006/relationships/image" Target="../media/image115.png"/><Relationship Id="rId1" Type="http://schemas.openxmlformats.org/officeDocument/2006/relationships/slideMaster" Target="../slideMasters/slideMaster1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3" Type="http://schemas.openxmlformats.org/officeDocument/2006/relationships/image" Target="../media/image116.svg"/><Relationship Id="rId2" Type="http://schemas.openxmlformats.org/officeDocument/2006/relationships/image" Target="../media/image115.png"/><Relationship Id="rId1" Type="http://schemas.openxmlformats.org/officeDocument/2006/relationships/slideMaster" Target="../slideMasters/slideMaster15.xml"/></Relationships>
</file>

<file path=ppt/slideLayouts/_rels/slideLayout75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17.jpeg"/><Relationship Id="rId1" Type="http://schemas.openxmlformats.org/officeDocument/2006/relationships/slideMaster" Target="../slideMasters/slideMaster15.xml"/></Relationships>
</file>

<file path=ppt/slideLayouts/_rels/slideLayout75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11.jpeg"/><Relationship Id="rId1" Type="http://schemas.openxmlformats.org/officeDocument/2006/relationships/slideMaster" Target="../slideMasters/slideMaster15.xml"/></Relationships>
</file>

<file path=ppt/slideLayouts/_rels/slideLayout75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18.jpeg"/><Relationship Id="rId1" Type="http://schemas.openxmlformats.org/officeDocument/2006/relationships/slideMaster" Target="../slideMasters/slideMaster15.xml"/></Relationships>
</file>

<file path=ppt/slideLayouts/_rels/slideLayout75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19.jpeg"/><Relationship Id="rId1" Type="http://schemas.openxmlformats.org/officeDocument/2006/relationships/slideMaster" Target="../slideMasters/slideMaster15.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5.xml"/></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20.png"/><Relationship Id="rId1" Type="http://schemas.openxmlformats.org/officeDocument/2006/relationships/slideMaster" Target="../slideMasters/slideMaster15.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21.jpeg"/><Relationship Id="rId1" Type="http://schemas.openxmlformats.org/officeDocument/2006/relationships/slideMaster" Target="../slideMasters/slideMaster15.xml"/></Relationships>
</file>

<file path=ppt/slideLayouts/_rels/slideLayout75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22.jpeg"/><Relationship Id="rId1" Type="http://schemas.openxmlformats.org/officeDocument/2006/relationships/slideMaster" Target="../slideMasters/slideMaster15.xml"/></Relationships>
</file>

<file path=ppt/slideLayouts/_rels/slideLayout75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23.jpeg"/><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24.jpeg"/><Relationship Id="rId1" Type="http://schemas.openxmlformats.org/officeDocument/2006/relationships/slideMaster" Target="../slideMasters/slideMaster15.xml"/></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25.jpeg"/><Relationship Id="rId1" Type="http://schemas.openxmlformats.org/officeDocument/2006/relationships/slideMaster" Target="../slideMasters/slideMaster15.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26.jpeg"/><Relationship Id="rId1" Type="http://schemas.openxmlformats.org/officeDocument/2006/relationships/slideMaster" Target="../slideMasters/slideMaster15.xml"/></Relationships>
</file>

<file path=ppt/slideLayouts/_rels/slideLayout76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27.jpeg"/><Relationship Id="rId1" Type="http://schemas.openxmlformats.org/officeDocument/2006/relationships/slideMaster" Target="../slideMasters/slideMaster15.xml"/></Relationships>
</file>

<file path=ppt/slideLayouts/_rels/slideLayout76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28.jpeg"/><Relationship Id="rId1" Type="http://schemas.openxmlformats.org/officeDocument/2006/relationships/slideMaster" Target="../slideMasters/slideMaster15.xml"/></Relationships>
</file>

<file path=ppt/slideLayouts/_rels/slideLayout7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29.jpeg"/><Relationship Id="rId1" Type="http://schemas.openxmlformats.org/officeDocument/2006/relationships/slideMaster" Target="../slideMasters/slideMaster15.xml"/></Relationships>
</file>

<file path=ppt/slideLayouts/_rels/slideLayout7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30.jpeg"/><Relationship Id="rId1" Type="http://schemas.openxmlformats.org/officeDocument/2006/relationships/slideMaster" Target="../slideMasters/slideMaster15.xml"/></Relationships>
</file>

<file path=ppt/slideLayouts/_rels/slideLayout76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19.jpeg"/><Relationship Id="rId1" Type="http://schemas.openxmlformats.org/officeDocument/2006/relationships/slideMaster" Target="../slideMasters/slideMaster15.xml"/></Relationships>
</file>

<file path=ppt/slideLayouts/_rels/slideLayout76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31.jpeg"/><Relationship Id="rId1" Type="http://schemas.openxmlformats.org/officeDocument/2006/relationships/slideMaster" Target="../slideMasters/slideMaster15.xml"/></Relationships>
</file>

<file path=ppt/slideLayouts/_rels/slideLayout76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32.jpeg"/><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33.jpeg"/><Relationship Id="rId1" Type="http://schemas.openxmlformats.org/officeDocument/2006/relationships/slideMaster" Target="../slideMasters/slideMaster15.xml"/></Relationships>
</file>

<file path=ppt/slideLayouts/_rels/slideLayout77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34.jpeg"/><Relationship Id="rId1" Type="http://schemas.openxmlformats.org/officeDocument/2006/relationships/slideMaster" Target="../slideMasters/slideMaster15.xml"/></Relationships>
</file>

<file path=ppt/slideLayouts/_rels/slideLayout77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35.jpeg"/><Relationship Id="rId1" Type="http://schemas.openxmlformats.org/officeDocument/2006/relationships/slideMaster" Target="../slideMasters/slideMaster15.xml"/></Relationships>
</file>

<file path=ppt/slideLayouts/_rels/slideLayout77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emf"/><Relationship Id="rId1" Type="http://schemas.openxmlformats.org/officeDocument/2006/relationships/slideMaster" Target="../slideMasters/slideMaster15.xml"/><Relationship Id="rId4" Type="http://schemas.openxmlformats.org/officeDocument/2006/relationships/image" Target="../media/image136.png"/></Relationships>
</file>

<file path=ppt/slideLayouts/_rels/slideLayout77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38.png"/><Relationship Id="rId1" Type="http://schemas.openxmlformats.org/officeDocument/2006/relationships/slideMaster" Target="../slideMasters/slideMaster15.xml"/></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39.jpeg"/><Relationship Id="rId1" Type="http://schemas.openxmlformats.org/officeDocument/2006/relationships/slideMaster" Target="../slideMasters/slideMaster15.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40.jpeg"/><Relationship Id="rId1" Type="http://schemas.openxmlformats.org/officeDocument/2006/relationships/slideMaster" Target="../slideMasters/slideMaster15.xml"/></Relationships>
</file>

<file path=ppt/slideLayouts/_rels/slideLayout77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41.jpeg"/><Relationship Id="rId1" Type="http://schemas.openxmlformats.org/officeDocument/2006/relationships/slideMaster" Target="../slideMasters/slideMaster15.xml"/></Relationships>
</file>

<file path=ppt/slideLayouts/_rels/slideLayout77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42.jpeg"/><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43.jpeg"/><Relationship Id="rId1" Type="http://schemas.openxmlformats.org/officeDocument/2006/relationships/slideMaster" Target="../slideMasters/slideMaster15.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44.jpeg"/><Relationship Id="rId1" Type="http://schemas.openxmlformats.org/officeDocument/2006/relationships/slideMaster" Target="../slideMasters/slideMaster15.xml"/></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45.jpeg"/><Relationship Id="rId1" Type="http://schemas.openxmlformats.org/officeDocument/2006/relationships/slideMaster" Target="../slideMasters/slideMaster15.xml"/></Relationships>
</file>

<file path=ppt/slideLayouts/_rels/slideLayout78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46.jpeg"/><Relationship Id="rId1" Type="http://schemas.openxmlformats.org/officeDocument/2006/relationships/slideMaster" Target="../slideMasters/slideMaster15.xml"/></Relationships>
</file>

<file path=ppt/slideLayouts/_rels/slideLayout78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43.jpeg"/><Relationship Id="rId1" Type="http://schemas.openxmlformats.org/officeDocument/2006/relationships/slideMaster" Target="../slideMasters/slideMaster15.xml"/></Relationships>
</file>

<file path=ppt/slideLayouts/_rels/slideLayout78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10.jpeg"/><Relationship Id="rId1" Type="http://schemas.openxmlformats.org/officeDocument/2006/relationships/slideMaster" Target="../slideMasters/slideMaster15.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79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79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80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7.xml"/></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2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9.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7.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5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85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7.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7.xml"/></Relationships>
</file>

<file path=ppt/slideLayouts/_rels/slideLayout85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Master" Target="../slideMasters/slideMaster17.xml"/><Relationship Id="rId6" Type="http://schemas.openxmlformats.org/officeDocument/2006/relationships/image" Target="../media/image151.png"/><Relationship Id="rId5" Type="http://schemas.openxmlformats.org/officeDocument/2006/relationships/image" Target="../media/image150.jpeg"/><Relationship Id="rId4" Type="http://schemas.openxmlformats.org/officeDocument/2006/relationships/image" Target="../media/image149.png"/></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152.jpeg"/><Relationship Id="rId1" Type="http://schemas.openxmlformats.org/officeDocument/2006/relationships/slideMaster" Target="../slideMasters/slideMaster17.xml"/></Relationships>
</file>

<file path=ppt/slideLayouts/_rels/slideLayout8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8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8.xml"/></Relationships>
</file>

<file path=ppt/slideLayouts/_rels/slideLayout86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8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8.xml"/></Relationships>
</file>

<file path=ppt/slideLayouts/_rels/slideLayout86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86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86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8.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3.png"/><Relationship Id="rId1" Type="http://schemas.openxmlformats.org/officeDocument/2006/relationships/slideMaster" Target="../slideMasters/slideMaster18.xml"/></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11.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8.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8.xml"/></Relationships>
</file>

<file path=ppt/slideLayouts/_rels/slideLayout9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raphic Righ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506396" y="6482886"/>
            <a:ext cx="2112197" cy="111982"/>
          </a:xfrm>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a:xfrm>
            <a:off x="2854743" y="6482886"/>
            <a:ext cx="897196" cy="111982"/>
          </a:xfrm>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06396" y="459732"/>
            <a:ext cx="7246760" cy="403133"/>
          </a:xfrm>
        </p:spPr>
        <p:txBody>
          <a:bodyPr lIns="0" tIns="0" rIns="0" bIns="0" anchor="t" anchorCtr="0"/>
          <a:lstStyle>
            <a:lvl1pPr>
              <a:defRPr/>
            </a:lvl1pPr>
          </a:lstStyle>
          <a:p>
            <a:r>
              <a:rPr lang="en-GB"/>
              <a:t>Click to edit Master title style</a:t>
            </a: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15061" y="1996560"/>
            <a:ext cx="3165635"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15061" y="1529131"/>
            <a:ext cx="3165635" cy="609719"/>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602695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96733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C2C1DE-611E-3743-0885-D4C3941B0EDC}"/>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https://climate.nasa.gov/</a:t>
            </a:r>
            <a:endParaRPr lang="en-CH" sz="1800"/>
          </a:p>
        </p:txBody>
      </p:sp>
      <p:sp>
        <p:nvSpPr>
          <p:cNvPr id="2" name="Rectangle: Rounded Corners 1">
            <a:extLst>
              <a:ext uri="{FF2B5EF4-FFF2-40B4-BE49-F238E27FC236}">
                <a16:creationId xmlns:a16="http://schemas.microsoft.com/office/drawing/2014/main" id="{BD46D6AD-BF2D-D481-E55F-0F75081B15ED}"/>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8"/>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14281"/>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2"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82"/>
            <a:ext cx="1588608" cy="296129"/>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40"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524736"/>
          </a:xfrm>
          <a:prstGeom prst="rect">
            <a:avLst/>
          </a:prstGeo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524736"/>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524736"/>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524736"/>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524736"/>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9"/>
            <a:ext cx="1588608" cy="524736"/>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2467119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03F150-EB9F-5D47-0E5D-1BBEF4BD960F}"/>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https://climate.nasa.gov/</a:t>
            </a:r>
            <a:endParaRPr lang="en-CH" sz="1800"/>
          </a:p>
        </p:txBody>
      </p:sp>
      <p:sp>
        <p:nvSpPr>
          <p:cNvPr id="2" name="Rectangle: Rounded Corners 1">
            <a:extLst>
              <a:ext uri="{FF2B5EF4-FFF2-40B4-BE49-F238E27FC236}">
                <a16:creationId xmlns:a16="http://schemas.microsoft.com/office/drawing/2014/main" id="{06DC990E-BF96-23BE-F5C5-BEFF390B2A22}"/>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4" y="2730108"/>
          <a:ext cx="11036723"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14281"/>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2"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82"/>
            <a:ext cx="1588608" cy="296129"/>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40"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524736"/>
          </a:xfrm>
          <a:prstGeom prst="rect">
            <a:avLst/>
          </a:prstGeo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524736"/>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524736"/>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524736"/>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524736"/>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524736"/>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524736"/>
          </a:xfrm>
          <a:prstGeom prst="rect">
            <a:avLst/>
          </a:prstGeom>
        </p:spPr>
        <p:txBody>
          <a:bodyPr lIns="288000" rIns="288000" bIns="288000" anchor="t" anchorCtr="0"/>
          <a:lstStyle>
            <a:lvl1pPr>
              <a:defRPr sz="970" b="0">
                <a:latin typeface="Poppins" pitchFamily="2" charset="77"/>
                <a:cs typeface="Poppins" pitchFamily="2" charset="77"/>
              </a:defRPr>
            </a:lvl1pPr>
          </a:lstStyle>
          <a:p>
            <a:pPr marL="0" marR="0" lvl="0" indent="0" algn="l" defTabSz="554440"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1727839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F747F4-4109-65F4-CD92-344B04E22D49}"/>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https://climate.nasa.gov/</a:t>
            </a:r>
            <a:endParaRPr lang="en-CH" sz="1800"/>
          </a:p>
        </p:txBody>
      </p:sp>
      <p:sp>
        <p:nvSpPr>
          <p:cNvPr id="2" name="Rectangle: Rounded Corners 1">
            <a:extLst>
              <a:ext uri="{FF2B5EF4-FFF2-40B4-BE49-F238E27FC236}">
                <a16:creationId xmlns:a16="http://schemas.microsoft.com/office/drawing/2014/main" id="{38FBD840-1B3C-FAD9-C07A-E7BA4130EAC0}"/>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14281"/>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2"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60"/>
            <a:ext cx="8012962" cy="460026"/>
          </a:xfrm>
          <a:prstGeom prst="rect">
            <a:avLst/>
          </a:prstGeo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60"/>
            <a:ext cx="2452086" cy="460026"/>
          </a:xfrm>
          <a:prstGeom prst="rect">
            <a:avLst/>
          </a:prstGeo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prstGeom prst="rect">
            <a:avLst/>
          </a:prstGeo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prstGeom prst="rect">
            <a:avLst/>
          </a:prstGeo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prstGeom prst="rect">
            <a:avLst/>
          </a:prstGeo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prstGeom prst="rect">
            <a:avLst/>
          </a:prstGeo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8" y="5463631"/>
            <a:ext cx="3986725" cy="460026"/>
          </a:xfrm>
          <a:prstGeom prst="rect">
            <a:avLst/>
          </a:prstGeo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958214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435119-6A7F-C7DE-8EE2-14A8BC3A1F15}"/>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196321D8-E653-D3FD-FE04-6D43ACC40DCB}"/>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14281"/>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52180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333F8F-3680-7CCC-590F-C68DF14D5911}"/>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B32D93C2-C524-3797-4312-5316E31AFAC1}"/>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40" y="537198"/>
            <a:ext cx="11013551" cy="414281"/>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19022"/>
            <a:ext cx="2230772" cy="813877"/>
          </a:xfrm>
          <a:prstGeom prst="rect">
            <a:avLst/>
          </a:prstGeo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19022"/>
            <a:ext cx="2230772" cy="813877"/>
          </a:xfrm>
          <a:prstGeom prst="rect">
            <a:avLst/>
          </a:prstGeo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a:prstGeom prst="rect">
            <a:avLst/>
          </a:prstGeo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a:prstGeom prst="rect">
            <a:avLst/>
          </a:prstGeo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4" y="1487597"/>
            <a:ext cx="2759181" cy="522581"/>
          </a:xfrm>
          <a:prstGeom prst="rect">
            <a:avLst/>
          </a:prstGeo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4" y="1904147"/>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a:prstGeom prst="rect">
            <a:avLst/>
          </a:prstGeom>
        </p:spPr>
        <p:txBody>
          <a:bodyPr/>
          <a:lstStyle>
            <a:lvl2pPr marL="216579" indent="-216579">
              <a:defRPr/>
            </a:lvl2pPr>
            <a:lvl3pPr marL="381178" indent="-174226">
              <a:defRPr/>
            </a:lvl3pPr>
            <a:lvl4pPr marL="925993" indent="-18385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9883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5D613E-E03D-3B6F-26FC-28C0A92830DD}"/>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3" name="Rectangle: Rounded Corners 2">
            <a:extLst>
              <a:ext uri="{FF2B5EF4-FFF2-40B4-BE49-F238E27FC236}">
                <a16:creationId xmlns:a16="http://schemas.microsoft.com/office/drawing/2014/main" id="{A0776B62-4C77-53C3-EF3E-A3A65B15A39D}"/>
              </a:ext>
            </a:extLst>
          </p:cNvPr>
          <p:cNvSpPr/>
          <p:nvPr userDrawn="1"/>
        </p:nvSpPr>
        <p:spPr>
          <a:xfrm>
            <a:off x="152400" y="-857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Rounded Corners 1">
            <a:extLst>
              <a:ext uri="{FF2B5EF4-FFF2-40B4-BE49-F238E27FC236}">
                <a16:creationId xmlns:a16="http://schemas.microsoft.com/office/drawing/2014/main" id="{3A15FE8F-EA75-00D0-FB8A-6934D10EF176}"/>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40" y="537198"/>
            <a:ext cx="11013551" cy="414281"/>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a:prstGeom prst="rect">
            <a:avLst/>
          </a:prstGeo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a:prstGeom prst="rect">
            <a:avLst/>
          </a:prstGeo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4" y="1487597"/>
            <a:ext cx="2759181" cy="522581"/>
          </a:xfrm>
          <a:prstGeom prst="rect">
            <a:avLst/>
          </a:prstGeo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4" y="1904147"/>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7506"/>
          </a:xfrm>
          <a:prstGeom prst="rect">
            <a:avLst/>
          </a:prstGeo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7506"/>
          </a:xfrm>
          <a:prstGeom prst="rect">
            <a:avLst/>
          </a:prstGeo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a:prstGeom prst="rect">
            <a:avLst/>
          </a:prstGeom>
        </p:spPr>
        <p:txBody>
          <a:bodyPr/>
          <a:lstStyle>
            <a:lvl2pPr marL="216579" indent="-216579">
              <a:defRPr/>
            </a:lvl2pPr>
            <a:lvl3pPr marL="381178" indent="-174226">
              <a:defRPr/>
            </a:lvl3pPr>
            <a:lvl4pPr marL="925993" indent="-18385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21573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3EB862-FA01-EF0D-81B5-BA962AC01052}"/>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72C68D09-42FD-93A9-3770-72841444741A}"/>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14281"/>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5344"/>
            <a:ext cx="9198321" cy="257506"/>
          </a:xfrm>
          <a:prstGeom prst="rect">
            <a:avLst/>
          </a:prstGeo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50298"/>
          </a:xfrm>
          <a:prstGeom prst="rect">
            <a:avLst/>
          </a:prstGeo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192765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73DF84-6D83-2BFD-4957-CC41D9FB1134}"/>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FB73CDC8-43B7-4F5C-1498-7EE80D1C22AE}"/>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344791"/>
          </a:xfrm>
          <a:prstGeom prst="rect">
            <a:avLst/>
          </a:prstGeo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40" y="537198"/>
            <a:ext cx="11013551" cy="414281"/>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a:prstGeom prst="rect">
            <a:avLst/>
          </a:prstGeo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6"/>
            <a:ext cx="1838812" cy="394735"/>
          </a:xfrm>
          <a:prstGeom prst="rect">
            <a:avLst/>
          </a:prstGeo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a:prstGeom prst="rect">
            <a:avLst/>
          </a:prstGeo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6"/>
            <a:ext cx="1838812" cy="394735"/>
          </a:xfrm>
          <a:prstGeom prst="rect">
            <a:avLst/>
          </a:prstGeo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a:prstGeom prst="rect">
            <a:avLst/>
          </a:prstGeo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6"/>
            <a:ext cx="1838812" cy="394735"/>
          </a:xfrm>
          <a:prstGeom prst="rect">
            <a:avLst/>
          </a:prstGeo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a:prstGeom prst="rect">
            <a:avLst/>
          </a:prstGeo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6"/>
            <a:ext cx="1838812" cy="394735"/>
          </a:xfrm>
          <a:prstGeom prst="rect">
            <a:avLst/>
          </a:prstGeo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a:prstGeom prst="rect">
            <a:avLst/>
          </a:prstGeo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6"/>
            <a:ext cx="1838812" cy="394735"/>
          </a:xfrm>
          <a:prstGeom prst="rect">
            <a:avLst/>
          </a:prstGeo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41945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5E02C2-D236-2492-8C8A-A43F1B67A478}"/>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EC42D9B5-703F-FC46-DE3B-A1936326A4E9}"/>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1"/>
            <a:ext cx="11049048" cy="406867"/>
          </a:xfrm>
          <a:prstGeom prst="rect">
            <a:avLst/>
          </a:prstGeom>
        </p:spPr>
        <p:txBody>
          <a:bodyPr numCol="6" spcCol="360000" anchor="b" anchorCtr="0"/>
          <a:lstStyle>
            <a:lvl1pPr marL="0" indent="21754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9" y="4145142"/>
            <a:ext cx="11036725" cy="294885"/>
          </a:xfrm>
          <a:prstGeom prst="rect">
            <a:avLst/>
          </a:prstGeo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14281"/>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94749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116E913-C443-4D6A-E1D0-11E158BE75ED}"/>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E677FA19-E6B5-CBF8-FDA9-E5701776915B}"/>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14281"/>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3"/>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2"/>
            <a:ext cx="11049048" cy="406867"/>
          </a:xfrm>
          <a:prstGeom prst="rect">
            <a:avLst/>
          </a:prstGeom>
        </p:spPr>
        <p:txBody>
          <a:bodyPr numCol="3" spcCol="720000" anchor="t" anchorCtr="0"/>
          <a:lstStyle>
            <a:lvl1pPr marL="0" indent="21754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3"/>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3"/>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159772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Tree>
    <p:extLst>
      <p:ext uri="{BB962C8B-B14F-4D97-AF65-F5344CB8AC3E}">
        <p14:creationId xmlns:p14="http://schemas.microsoft.com/office/powerpoint/2010/main" val="102866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B30415-E68C-18C8-4C3F-0A3C0E999100}"/>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FB7DC94F-35D3-F475-3748-DB636E8A59C2}"/>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2"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a:prstGeom prst="rect">
            <a:avLst/>
          </a:prstGeom>
        </p:spPr>
        <p:txBody>
          <a:bodyPr numCol="3" spcCol="720000" anchor="t" anchorCtr="0"/>
          <a:lstStyle>
            <a:lvl1pPr marL="0" indent="21754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8"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9"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40" y="2735922"/>
            <a:ext cx="3336819" cy="253747"/>
          </a:xfrm>
          <a:prstGeom prst="rect">
            <a:avLst/>
          </a:prstGeo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41" indent="-217541">
              <a:defRPr lang="en-GB" sz="1092" kern="1200" dirty="0">
                <a:solidFill>
                  <a:schemeClr val="tx1"/>
                </a:solidFill>
                <a:latin typeface="+mn-lt"/>
                <a:ea typeface="+mn-ea"/>
                <a:cs typeface="+mn-cs"/>
              </a:defRPr>
            </a:lvl3pPr>
          </a:lstStyle>
          <a:p>
            <a:pPr marL="0" marR="0" lvl="0" indent="-217541" algn="l" defTabSz="554440"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4" y="2735922"/>
            <a:ext cx="3336819" cy="253747"/>
          </a:xfrm>
          <a:prstGeom prst="rect">
            <a:avLst/>
          </a:prstGeo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41" indent="-217541">
              <a:defRPr lang="en-GB" sz="1092" kern="1200" dirty="0">
                <a:solidFill>
                  <a:schemeClr val="tx1"/>
                </a:solidFill>
                <a:latin typeface="+mn-lt"/>
                <a:ea typeface="+mn-ea"/>
                <a:cs typeface="+mn-cs"/>
              </a:defRPr>
            </a:lvl3pPr>
          </a:lstStyle>
          <a:p>
            <a:pPr marL="0" marR="0" lvl="0" indent="-217541" algn="l" defTabSz="554440"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2" y="2735922"/>
            <a:ext cx="3336819" cy="253747"/>
          </a:xfrm>
          <a:prstGeom prst="rect">
            <a:avLst/>
          </a:prstGeo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41" indent="-217541">
              <a:defRPr lang="en-GB" sz="1092" kern="1200" dirty="0">
                <a:solidFill>
                  <a:schemeClr val="tx1"/>
                </a:solidFill>
                <a:latin typeface="+mn-lt"/>
                <a:ea typeface="+mn-ea"/>
                <a:cs typeface="+mn-cs"/>
              </a:defRPr>
            </a:lvl3pPr>
          </a:lstStyle>
          <a:p>
            <a:pPr marL="0" marR="0" lvl="0" indent="-217541" algn="l" defTabSz="554440"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185836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E6B702-BE1F-FD29-854B-99721174A6CD}"/>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4CA3E283-5FB8-93A3-7FF1-279F77805AC2}"/>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40" y="537198"/>
            <a:ext cx="11013551" cy="414281"/>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a:prstGeom prst="rect">
            <a:avLst/>
          </a:prstGeo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41" indent="-21754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a:prstGeom prst="rect">
            <a:avLst/>
          </a:prstGeo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41" indent="-21754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a:prstGeom prst="rect">
            <a:avLst/>
          </a:prstGeo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41" indent="-21754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a:prstGeom prst="rect">
            <a:avLst/>
          </a:prstGeo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41" indent="-21754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a:prstGeom prst="rect">
            <a:avLst/>
          </a:prstGeo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41" indent="-21754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2444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BCAEDF-837F-73E4-B4E2-F0FD4FB8B13A}"/>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9D98249F-A017-3A28-9BA9-9B4043037796}"/>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40" y="537198"/>
            <a:ext cx="11013551" cy="414281"/>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a:prstGeom prst="rect">
            <a:avLst/>
          </a:prstGeo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a:prstGeom prst="rect">
            <a:avLst/>
          </a:prstGeo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a:prstGeom prst="rect">
            <a:avLst/>
          </a:prstGeo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a:prstGeom prst="rect">
            <a:avLst/>
          </a:prstGeo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a:prstGeom prst="rect">
            <a:avLst/>
          </a:prstGeo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a:prstGeom prst="rect">
            <a:avLst/>
          </a:prstGeo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a:prstGeom prst="rect">
            <a:avLst/>
          </a:prstGeo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a:prstGeom prst="rect">
            <a:avLst/>
          </a:prstGeo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a:prstGeom prst="rect">
            <a:avLst/>
          </a:prstGeo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a:prstGeom prst="rect">
            <a:avLst/>
          </a:prstGeo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6" y="1551340"/>
            <a:ext cx="4584515" cy="257558"/>
          </a:xfrm>
          <a:prstGeom prst="rect">
            <a:avLst/>
          </a:prstGeo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6" y="1918071"/>
            <a:ext cx="4584515" cy="257558"/>
          </a:xfrm>
          <a:prstGeom prst="rect">
            <a:avLst/>
          </a:prstGeo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5867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8C5D1F-D392-6FF1-379C-A3D8F0F04886}"/>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3" name="Rectangle: Rounded Corners 2">
            <a:extLst>
              <a:ext uri="{FF2B5EF4-FFF2-40B4-BE49-F238E27FC236}">
                <a16:creationId xmlns:a16="http://schemas.microsoft.com/office/drawing/2014/main" id="{FED0170B-CDB5-12AF-469C-C1702E8AA293}"/>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41" y="537198"/>
            <a:ext cx="5518361" cy="414281"/>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40" y="1519845"/>
            <a:ext cx="7357175"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a:prstGeom prst="rect">
            <a:avLst/>
          </a:prstGeom>
        </p:spPr>
        <p:txBody>
          <a:bodyPr numCol="1" spcCol="756000" anchor="b">
            <a:normAutofit/>
          </a:bodyPr>
          <a:lstStyle>
            <a:lvl1pPr marL="0" indent="0">
              <a:buFont typeface="Arial" panose="020B0604020202020204" pitchFamily="34" charset="0"/>
              <a:buNone/>
              <a:defRPr sz="9095"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a:prstGeom prst="rect">
            <a:avLst/>
          </a:prstGeom>
        </p:spPr>
        <p:txBody>
          <a:bodyPr numCol="1" spcCol="756000" anchor="b">
            <a:normAutofit/>
          </a:bodyPr>
          <a:lstStyle>
            <a:lvl1pPr marL="0" indent="0">
              <a:buFont typeface="Arial" panose="020B0604020202020204" pitchFamily="34" charset="0"/>
              <a:buNone/>
              <a:defRPr sz="9095"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a:prstGeom prst="rect">
            <a:avLst/>
          </a:prstGeom>
        </p:spPr>
        <p:txBody>
          <a:bodyPr numCol="1" spcCol="756000" anchor="b">
            <a:normAutofit/>
          </a:bodyPr>
          <a:lstStyle>
            <a:lvl1pPr marL="0" indent="0">
              <a:buFont typeface="Arial" panose="020B0604020202020204" pitchFamily="34" charset="0"/>
              <a:buNone/>
              <a:defRPr sz="9095"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7506"/>
          </a:xfrm>
          <a:prstGeom prst="rect">
            <a:avLst/>
          </a:prstGeo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7506"/>
          </a:xfrm>
          <a:prstGeom prst="rect">
            <a:avLst/>
          </a:prstGeo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7506"/>
          </a:xfrm>
          <a:prstGeom prst="rect">
            <a:avLst/>
          </a:prstGeo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64293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CC1580-B443-C84D-B512-3BA864842DB5}"/>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3" name="Rectangle: Rounded Corners 2">
            <a:extLst>
              <a:ext uri="{FF2B5EF4-FFF2-40B4-BE49-F238E27FC236}">
                <a16:creationId xmlns:a16="http://schemas.microsoft.com/office/drawing/2014/main" id="{2A964D74-0486-9466-524A-AB302C9A9BCA}"/>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41" y="537198"/>
            <a:ext cx="5518361" cy="414281"/>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a:prstGeom prst="rect">
            <a:avLst/>
          </a:prstGeo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6170"/>
          </a:xfrm>
          <a:prstGeom prst="rect">
            <a:avLst/>
          </a:prstGeo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a:prstGeom prst="rect">
            <a:avLst/>
          </a:prstGeo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6170"/>
          </a:xfrm>
          <a:prstGeom prst="rect">
            <a:avLst/>
          </a:prstGeo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3" y="2144063"/>
            <a:ext cx="1896577" cy="1429316"/>
          </a:xfrm>
          <a:prstGeom prst="rect">
            <a:avLst/>
          </a:prstGeo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6170"/>
          </a:xfrm>
          <a:prstGeom prst="rect">
            <a:avLst/>
          </a:prstGeo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7" y="2144063"/>
            <a:ext cx="1896577" cy="1429316"/>
          </a:xfrm>
          <a:prstGeom prst="rect">
            <a:avLst/>
          </a:prstGeo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6170"/>
          </a:xfrm>
          <a:prstGeom prst="rect">
            <a:avLst/>
          </a:prstGeo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a:prstGeom prst="rect">
            <a:avLst/>
          </a:prstGeo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6170"/>
          </a:xfrm>
          <a:prstGeom prst="rect">
            <a:avLst/>
          </a:prstGeo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656314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prstGeom prst="rect">
            <a:avLst/>
          </a:prstGeo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a:prstGeom prst="rect">
            <a:avLst/>
          </a:prstGeom>
        </p:spPr>
        <p:txBody>
          <a:bodyPr numCol="1" spcCol="756000" anchor="b">
            <a:noAutofit/>
          </a:bodyPr>
          <a:lstStyle>
            <a:lvl1pPr marL="0" indent="0">
              <a:buFont typeface="Arial" panose="020B0604020202020204" pitchFamily="34" charset="0"/>
              <a:buNone/>
              <a:defRPr sz="12126"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20" y="3480496"/>
            <a:ext cx="4214819" cy="300531"/>
          </a:xfrm>
          <a:prstGeom prst="rect">
            <a:avLst/>
          </a:prstGeo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15870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90" y="1509773"/>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40" y="537198"/>
            <a:ext cx="11013551" cy="414281"/>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a:prstGeom prst="rect">
            <a:avLst/>
          </a:prstGeo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a:prstGeom prst="rect">
            <a:avLst/>
          </a:prstGeom>
        </p:spPr>
        <p:txBody>
          <a:bodyPr tIns="0" bIns="0" anchor="t" anchorCtr="0"/>
          <a:lstStyle>
            <a:lvl1pPr marL="217541" indent="-21754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a:prstGeom prst="rect">
            <a:avLst/>
          </a:prstGeom>
        </p:spPr>
        <p:txBody>
          <a:bodyPr tIns="0" bIns="0" anchor="t" anchorCtr="0"/>
          <a:lstStyle>
            <a:lvl1pPr marL="217541" indent="-21754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3"/>
            <a:ext cx="2314188" cy="171705"/>
          </a:xfrm>
          <a:prstGeom prst="rect">
            <a:avLst/>
          </a:prstGeom>
        </p:spPr>
        <p:txBody>
          <a:bodyPr wrap="square" tIns="0" bIns="0" anchor="t" anchorCtr="0">
            <a:spAutoFit/>
          </a:bodyPr>
          <a:lstStyle>
            <a:lvl1pPr marL="217541" indent="-21754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3"/>
            <a:ext cx="2314188" cy="171705"/>
          </a:xfrm>
          <a:prstGeom prst="rect">
            <a:avLst/>
          </a:prstGeom>
        </p:spPr>
        <p:txBody>
          <a:bodyPr wrap="square" tIns="0" bIns="0" anchor="t" anchorCtr="0">
            <a:spAutoFit/>
          </a:bodyPr>
          <a:lstStyle>
            <a:lvl1pPr marL="217541" indent="-21754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62852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61282"/>
            <a:ext cx="5558600" cy="1192121"/>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9" y="2162835"/>
            <a:ext cx="10991343" cy="579582"/>
          </a:xfrm>
          <a:prstGeom prst="rect">
            <a:avLst/>
          </a:prstGeo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6"/>
            <a:ext cx="1696672"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6"/>
            <a:ext cx="1743798"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7" y="5241915"/>
            <a:ext cx="1743797"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166764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87252"/>
            <a:ext cx="7334965" cy="466153"/>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7"/>
            <a:ext cx="8255334" cy="300531"/>
          </a:xfrm>
          <a:prstGeom prst="rect">
            <a:avLst/>
          </a:prstGeo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6"/>
            <a:ext cx="1880668"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4" y="5241915"/>
            <a:ext cx="2180486"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7" y="5241915"/>
            <a:ext cx="1459271"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2"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23398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9" y="2863651"/>
            <a:ext cx="9195987" cy="1130703"/>
          </a:xfrm>
          <a:prstGeom prst="rect">
            <a:avLst/>
          </a:prstGeo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1898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93485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6" y="3681456"/>
            <a:ext cx="9195987" cy="839551"/>
          </a:xfrm>
          <a:prstGeom prst="rect">
            <a:avLst/>
          </a:prstGeo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3660307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227422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r>
              <a:rPr lang="en-US"/>
              <a:t>IVB Director’s Report to SAG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223533072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7AC725-C918-4A1E-9902-F4CF517CBA8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15265AC6-4155-47B3-A3BC-5177F441887A}"/>
              </a:ext>
            </a:extLst>
          </p:cNvPr>
          <p:cNvSpPr>
            <a:spLocks noGrp="1"/>
          </p:cNvSpPr>
          <p:nvPr>
            <p:ph type="ftr" sz="quarter" idx="11"/>
          </p:nvPr>
        </p:nvSpPr>
        <p:spPr/>
        <p:txBody>
          <a:bodyPr/>
          <a:lstStyle/>
          <a:p>
            <a:r>
              <a:rPr lang="en-US"/>
              <a:t>IVB Director’s Report to SAGE</a:t>
            </a:r>
          </a:p>
        </p:txBody>
      </p:sp>
      <p:sp>
        <p:nvSpPr>
          <p:cNvPr id="4" name="Slide Number Placeholder 3">
            <a:extLst>
              <a:ext uri="{FF2B5EF4-FFF2-40B4-BE49-F238E27FC236}">
                <a16:creationId xmlns:a16="http://schemas.microsoft.com/office/drawing/2014/main" id="{C3A465D9-05D0-4703-AE5C-5A8A174B1B23}"/>
              </a:ext>
            </a:extLst>
          </p:cNvPr>
          <p:cNvSpPr>
            <a:spLocks noGrp="1"/>
          </p:cNvSpPr>
          <p:nvPr>
            <p:ph type="sldNum" sz="quarter" idx="12"/>
          </p:nvPr>
        </p:nvSpPr>
        <p:spPr/>
        <p:txBody>
          <a:bodyPr/>
          <a:lstStyle/>
          <a:p>
            <a:fld id="{C8E56A0C-A02E-43BC-ABF0-0621C1896F43}" type="slidenum">
              <a:rPr lang="en-US" smtClean="0"/>
              <a:t>‹#›</a:t>
            </a:fld>
            <a:endParaRPr lang="en-US"/>
          </a:p>
        </p:txBody>
      </p:sp>
    </p:spTree>
    <p:extLst>
      <p:ext uri="{BB962C8B-B14F-4D97-AF65-F5344CB8AC3E}">
        <p14:creationId xmlns:p14="http://schemas.microsoft.com/office/powerpoint/2010/main" val="30595568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40"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19022"/>
            <a:ext cx="2230772" cy="813877"/>
          </a:xfrm>
          <a:prstGeom prst="rect">
            <a:avLst/>
          </a:prstGeo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19022"/>
            <a:ext cx="2230772" cy="813877"/>
          </a:xfrm>
          <a:prstGeom prst="rect">
            <a:avLst/>
          </a:prstGeo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19022"/>
            <a:ext cx="2230772" cy="813877"/>
          </a:xfrm>
          <a:prstGeom prst="rect">
            <a:avLst/>
          </a:prstGeo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10"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564879"/>
            <a:ext cx="2230772" cy="813877"/>
          </a:xfrm>
          <a:prstGeom prst="rect">
            <a:avLst/>
          </a:prstGeo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564879"/>
            <a:ext cx="2230772" cy="813877"/>
          </a:xfrm>
          <a:prstGeom prst="rect">
            <a:avLst/>
          </a:prstGeo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564879"/>
            <a:ext cx="2230772" cy="813877"/>
          </a:xfrm>
          <a:prstGeom prst="rect">
            <a:avLst/>
          </a:prstGeo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10"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10735"/>
            <a:ext cx="2230772" cy="813877"/>
          </a:xfrm>
          <a:prstGeom prst="rect">
            <a:avLst/>
          </a:prstGeo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10735"/>
            <a:ext cx="2230772" cy="813877"/>
          </a:xfrm>
          <a:prstGeom prst="rect">
            <a:avLst/>
          </a:prstGeo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10735"/>
            <a:ext cx="2230772" cy="813877"/>
          </a:xfrm>
          <a:prstGeom prst="rect">
            <a:avLst/>
          </a:prstGeo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10"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15025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2"/>
            <a:ext cx="5472000" cy="1571475"/>
          </a:xfrm>
          <a:prstGeom prst="rect">
            <a:avLst/>
          </a:prstGeo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2"/>
            <a:ext cx="5472000" cy="1571475"/>
          </a:xfrm>
          <a:prstGeom prst="rect">
            <a:avLst/>
          </a:prstGeo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r>
              <a:rPr lang="en-GB" noProof="0"/>
              <a:t>IVB Director’s Report to SAGE</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2" y="6293652"/>
            <a:ext cx="11226365" cy="208579"/>
          </a:xfrm>
          <a:prstGeom prst="rect">
            <a:avLst/>
          </a:prstGeo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6"/>
            <a:ext cx="8160000" cy="288925"/>
          </a:xfrm>
          <a:prstGeom prst="rect">
            <a:avLst/>
          </a:prstGeo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1015523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Graphic Righ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506397" y="6482886"/>
            <a:ext cx="2112197" cy="111982"/>
          </a:xfrm>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a:xfrm>
            <a:off x="2854743" y="6482886"/>
            <a:ext cx="897196" cy="111982"/>
          </a:xfrm>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06396" y="459732"/>
            <a:ext cx="7246760" cy="403133"/>
          </a:xfrm>
        </p:spPr>
        <p:txBody>
          <a:bodyPr lIns="0" tIns="0" rIns="0" bIns="0" anchor="t" anchorCtr="0"/>
          <a:lstStyle>
            <a:lvl1pPr>
              <a:defRPr/>
            </a:lvl1pPr>
          </a:lstStyle>
          <a:p>
            <a:r>
              <a:rPr lang="en-GB"/>
              <a:t>Click to edit Master title style</a:t>
            </a: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15061" y="1996560"/>
            <a:ext cx="3165635" cy="1268809"/>
          </a:xfrm>
          <a:prstGeom prst="rect">
            <a:avLst/>
          </a:prstGeom>
        </p:spPr>
        <p:txBody>
          <a:bodyPr/>
          <a:lstStyle>
            <a:lvl1pPr marL="207925" indent="-20792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15061" y="1529131"/>
            <a:ext cx="3165635" cy="609719"/>
          </a:xfrm>
          <a:prstGeom prst="rect">
            <a:avLst/>
          </a:prstGeo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646849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4 lines title + 1 chart + 2 horizontal bars">
    <p:spTree>
      <p:nvGrpSpPr>
        <p:cNvPr id="1" name=""/>
        <p:cNvGrpSpPr/>
        <p:nvPr/>
      </p:nvGrpSpPr>
      <p:grpSpPr>
        <a:xfrm>
          <a:off x="0" y="0"/>
          <a:ext cx="0" cy="0"/>
          <a:chOff x="0" y="0"/>
          <a:chExt cx="0" cy="0"/>
        </a:xfrm>
      </p:grpSpPr>
      <p:sp>
        <p:nvSpPr>
          <p:cNvPr id="7" name="Background colored box right">
            <a:extLst>
              <a:ext uri="{FF2B5EF4-FFF2-40B4-BE49-F238E27FC236}">
                <a16:creationId xmlns:a16="http://schemas.microsoft.com/office/drawing/2014/main" id="{6BBF363A-7D11-DD29-0421-0871832BBD55}"/>
              </a:ext>
            </a:extLst>
          </p:cNvPr>
          <p:cNvSpPr/>
          <p:nvPr userDrawn="1"/>
        </p:nvSpPr>
        <p:spPr>
          <a:xfrm>
            <a:off x="2399187" y="0"/>
            <a:ext cx="9792813"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 name="Background colored box middle">
            <a:extLst>
              <a:ext uri="{FF2B5EF4-FFF2-40B4-BE49-F238E27FC236}">
                <a16:creationId xmlns:a16="http://schemas.microsoft.com/office/drawing/2014/main" id="{8B5EC595-45EC-5136-5A22-457E11EDDC4D}"/>
              </a:ext>
            </a:extLst>
          </p:cNvPr>
          <p:cNvSpPr/>
          <p:nvPr userDrawn="1"/>
        </p:nvSpPr>
        <p:spPr>
          <a:xfrm>
            <a:off x="1605832" y="0"/>
            <a:ext cx="2599368" cy="6858000"/>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 name="Background colored box left">
            <a:extLst>
              <a:ext uri="{FF2B5EF4-FFF2-40B4-BE49-F238E27FC236}">
                <a16:creationId xmlns:a16="http://schemas.microsoft.com/office/drawing/2014/main" id="{B22F2ED1-7359-BB98-E063-705A15A9AA17}"/>
              </a:ext>
            </a:extLst>
          </p:cNvPr>
          <p:cNvSpPr/>
          <p:nvPr userDrawn="1"/>
        </p:nvSpPr>
        <p:spPr>
          <a:xfrm>
            <a:off x="0" y="0"/>
            <a:ext cx="201017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8" name="Bar">
            <a:extLst>
              <a:ext uri="{FF2B5EF4-FFF2-40B4-BE49-F238E27FC236}">
                <a16:creationId xmlns:a16="http://schemas.microsoft.com/office/drawing/2014/main" id="{3DD6BE1E-D0FD-928B-F922-AE9BA035902B}"/>
              </a:ext>
            </a:extLst>
          </p:cNvPr>
          <p:cNvSpPr>
            <a:spLocks noGrp="1"/>
          </p:cNvSpPr>
          <p:nvPr>
            <p:ph sz="quarter" idx="16"/>
          </p:nvPr>
        </p:nvSpPr>
        <p:spPr>
          <a:xfrm>
            <a:off x="4461908" y="5680444"/>
            <a:ext cx="7456128" cy="83308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Graph">
            <a:extLst>
              <a:ext uri="{FF2B5EF4-FFF2-40B4-BE49-F238E27FC236}">
                <a16:creationId xmlns:a16="http://schemas.microsoft.com/office/drawing/2014/main" id="{CD59C6AF-21BB-3119-7EBD-2A3FF9981464}"/>
              </a:ext>
            </a:extLst>
          </p:cNvPr>
          <p:cNvSpPr>
            <a:spLocks noGrp="1"/>
          </p:cNvSpPr>
          <p:nvPr>
            <p:ph sz="quarter" idx="15"/>
          </p:nvPr>
        </p:nvSpPr>
        <p:spPr>
          <a:xfrm>
            <a:off x="4461908" y="176030"/>
            <a:ext cx="7456128" cy="527648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ource">
            <a:extLst>
              <a:ext uri="{FF2B5EF4-FFF2-40B4-BE49-F238E27FC236}">
                <a16:creationId xmlns:a16="http://schemas.microsoft.com/office/drawing/2014/main" id="{502D3462-F22E-CABE-AA22-49BA98C2680C}"/>
              </a:ext>
            </a:extLst>
          </p:cNvPr>
          <p:cNvSpPr>
            <a:spLocks noGrp="1"/>
          </p:cNvSpPr>
          <p:nvPr>
            <p:ph type="body" sz="quarter" idx="14"/>
          </p:nvPr>
        </p:nvSpPr>
        <p:spPr>
          <a:xfrm>
            <a:off x="2796675" y="6252236"/>
            <a:ext cx="1154911" cy="261290"/>
          </a:xfrm>
          <a:prstGeom prst="rect">
            <a:avLst/>
          </a:prstGeom>
        </p:spPr>
        <p:txBody>
          <a:bodyPr/>
          <a:lstStyle>
            <a:lvl1pPr algn="r">
              <a:defRPr lang="en-US" sz="728" kern="1200" spc="3" dirty="0" smtClean="0">
                <a:solidFill>
                  <a:schemeClr val="tx1">
                    <a:tint val="75000"/>
                  </a:schemeClr>
                </a:solidFill>
                <a:latin typeface="Poppins" pitchFamily="2" charset="77"/>
                <a:ea typeface="+mn-ea"/>
                <a:cs typeface="Poppins" pitchFamily="2" charset="77"/>
              </a:defRPr>
            </a:lvl1pPr>
            <a:lvl2pPr>
              <a:defRPr lang="en-US" sz="728" kern="1200" spc="3" dirty="0" smtClean="0">
                <a:solidFill>
                  <a:schemeClr val="tx1">
                    <a:tint val="75000"/>
                  </a:schemeClr>
                </a:solidFill>
                <a:latin typeface="Poppins" pitchFamily="2" charset="77"/>
                <a:ea typeface="+mn-ea"/>
                <a:cs typeface="Poppins" pitchFamily="2" charset="77"/>
              </a:defRPr>
            </a:lvl2pPr>
            <a:lvl3pPr>
              <a:defRPr lang="en-US" sz="728" kern="1200" spc="3" dirty="0" smtClean="0">
                <a:solidFill>
                  <a:schemeClr val="tx1">
                    <a:tint val="75000"/>
                  </a:schemeClr>
                </a:solidFill>
                <a:latin typeface="Poppins" pitchFamily="2" charset="77"/>
                <a:ea typeface="+mn-ea"/>
                <a:cs typeface="Poppins" pitchFamily="2" charset="77"/>
              </a:defRPr>
            </a:lvl3pPr>
            <a:lvl4pPr>
              <a:defRPr lang="en-US" sz="728" kern="1200" spc="3" dirty="0" smtClean="0">
                <a:solidFill>
                  <a:schemeClr val="tx1">
                    <a:tint val="75000"/>
                  </a:schemeClr>
                </a:solidFill>
                <a:latin typeface="Poppins" pitchFamily="2" charset="77"/>
                <a:ea typeface="+mn-ea"/>
                <a:cs typeface="Poppins" pitchFamily="2" charset="77"/>
              </a:defRPr>
            </a:lvl4pPr>
            <a:lvl5pPr>
              <a:defRPr lang="en-US" sz="728" kern="1200" spc="3" dirty="0">
                <a:solidFill>
                  <a:schemeClr val="tx1">
                    <a:tint val="75000"/>
                  </a:schemeClr>
                </a:solidFill>
                <a:latin typeface="Poppins" pitchFamily="2" charset="77"/>
                <a:ea typeface="+mn-ea"/>
                <a:cs typeface="Poppins" pitchFamily="2" charset="77"/>
              </a:defRPr>
            </a:lvl5pPr>
          </a:lstStyle>
          <a:p>
            <a:pPr lvl="0"/>
            <a:r>
              <a:rPr lang="en-US"/>
              <a:t>Click to edit Master text styles</a:t>
            </a:r>
          </a:p>
        </p:txBody>
      </p:sp>
      <p:sp>
        <p:nvSpPr>
          <p:cNvPr id="31" name="Slide Number">
            <a:extLst>
              <a:ext uri="{FF2B5EF4-FFF2-40B4-BE49-F238E27FC236}">
                <a16:creationId xmlns:a16="http://schemas.microsoft.com/office/drawing/2014/main" id="{4E443C65-5F6E-6F97-DA88-93EA74AC732C}"/>
              </a:ext>
            </a:extLst>
          </p:cNvPr>
          <p:cNvSpPr>
            <a:spLocks noGrp="1"/>
          </p:cNvSpPr>
          <p:nvPr>
            <p:ph type="sldNum" sz="quarter" idx="13"/>
          </p:nvPr>
        </p:nvSpPr>
        <p:spPr/>
        <p:txBody>
          <a:bodyPr/>
          <a:lstStyle/>
          <a:p>
            <a:fld id="{E2E31AFC-DF42-41A5-B57C-06A83BBA6616}" type="slidenum">
              <a:rPr lang="en-GB" smtClean="0"/>
              <a:pPr/>
              <a:t>‹#›</a:t>
            </a:fld>
            <a:endParaRPr lang="en-GB"/>
          </a:p>
        </p:txBody>
      </p:sp>
      <p:cxnSp>
        <p:nvCxnSpPr>
          <p:cNvPr id="20" name="Separator line 2">
            <a:extLst>
              <a:ext uri="{FF2B5EF4-FFF2-40B4-BE49-F238E27FC236}">
                <a16:creationId xmlns:a16="http://schemas.microsoft.com/office/drawing/2014/main" id="{27A3C348-CE6A-C889-9C16-BBEA923F7366}"/>
              </a:ext>
            </a:extLst>
          </p:cNvPr>
          <p:cNvCxnSpPr>
            <a:cxnSpLocks/>
          </p:cNvCxnSpPr>
          <p:nvPr userDrawn="1"/>
        </p:nvCxnSpPr>
        <p:spPr>
          <a:xfrm>
            <a:off x="506502" y="6122527"/>
            <a:ext cx="3444538" cy="0"/>
          </a:xfrm>
          <a:prstGeom prst="line">
            <a:avLst/>
          </a:prstGeom>
          <a:ln w="6350">
            <a:solidFill>
              <a:srgbClr val="CCCCCC"/>
            </a:solidFill>
          </a:ln>
        </p:spPr>
        <p:style>
          <a:lnRef idx="1">
            <a:schemeClr val="accent1"/>
          </a:lnRef>
          <a:fillRef idx="0">
            <a:schemeClr val="accent1"/>
          </a:fillRef>
          <a:effectRef idx="0">
            <a:schemeClr val="accent1"/>
          </a:effectRef>
          <a:fontRef idx="minor">
            <a:schemeClr val="tx1"/>
          </a:fontRef>
        </p:style>
      </p:cxnSp>
      <p:grpSp>
        <p:nvGrpSpPr>
          <p:cNvPr id="10" name="Logos">
            <a:extLst>
              <a:ext uri="{FF2B5EF4-FFF2-40B4-BE49-F238E27FC236}">
                <a16:creationId xmlns:a16="http://schemas.microsoft.com/office/drawing/2014/main" id="{76076C36-FA6A-2B60-99B1-9D964529B3CF}"/>
              </a:ext>
            </a:extLst>
          </p:cNvPr>
          <p:cNvGrpSpPr/>
          <p:nvPr userDrawn="1"/>
        </p:nvGrpSpPr>
        <p:grpSpPr>
          <a:xfrm>
            <a:off x="1149126" y="5680444"/>
            <a:ext cx="2065987" cy="283656"/>
            <a:chOff x="1773530" y="9367473"/>
            <a:chExt cx="3406727" cy="467770"/>
          </a:xfrm>
        </p:grpSpPr>
        <p:pic>
          <p:nvPicPr>
            <p:cNvPr id="11" name="UNICEF logo">
              <a:extLst>
                <a:ext uri="{FF2B5EF4-FFF2-40B4-BE49-F238E27FC236}">
                  <a16:creationId xmlns:a16="http://schemas.microsoft.com/office/drawing/2014/main" id="{9AA531A6-D27F-E6C2-C82A-2313BEEB8A3E}"/>
                </a:ext>
              </a:extLst>
            </p:cNvPr>
            <p:cNvPicPr>
              <a:picLocks noChangeAspect="1"/>
            </p:cNvPicPr>
            <p:nvPr/>
          </p:nvPicPr>
          <p:blipFill>
            <a:blip r:embed="rId2"/>
            <a:stretch>
              <a:fillRect/>
            </a:stretch>
          </p:blipFill>
          <p:spPr>
            <a:xfrm>
              <a:off x="3678794" y="9399091"/>
              <a:ext cx="1501463" cy="360000"/>
            </a:xfrm>
            <a:prstGeom prst="rect">
              <a:avLst/>
            </a:prstGeom>
          </p:spPr>
        </p:pic>
        <p:pic>
          <p:nvPicPr>
            <p:cNvPr id="12" name="WHO logo">
              <a:extLst>
                <a:ext uri="{FF2B5EF4-FFF2-40B4-BE49-F238E27FC236}">
                  <a16:creationId xmlns:a16="http://schemas.microsoft.com/office/drawing/2014/main" id="{199B5630-0D46-BA85-FF87-60B8A107E43D}"/>
                </a:ext>
              </a:extLst>
            </p:cNvPr>
            <p:cNvPicPr>
              <a:picLocks noChangeAspect="1"/>
            </p:cNvPicPr>
            <p:nvPr/>
          </p:nvPicPr>
          <p:blipFill>
            <a:blip r:embed="rId3"/>
            <a:stretch>
              <a:fillRect/>
            </a:stretch>
          </p:blipFill>
          <p:spPr>
            <a:xfrm>
              <a:off x="1773530" y="9367473"/>
              <a:ext cx="1508124" cy="467770"/>
            </a:xfrm>
            <a:prstGeom prst="rect">
              <a:avLst/>
            </a:prstGeom>
          </p:spPr>
        </p:pic>
      </p:grpSp>
      <p:cxnSp>
        <p:nvCxnSpPr>
          <p:cNvPr id="18" name="Separator line 1">
            <a:extLst>
              <a:ext uri="{FF2B5EF4-FFF2-40B4-BE49-F238E27FC236}">
                <a16:creationId xmlns:a16="http://schemas.microsoft.com/office/drawing/2014/main" id="{F21FB362-4449-B9F7-BB08-0381824B5E29}"/>
              </a:ext>
            </a:extLst>
          </p:cNvPr>
          <p:cNvCxnSpPr>
            <a:cxnSpLocks/>
          </p:cNvCxnSpPr>
          <p:nvPr userDrawn="1"/>
        </p:nvCxnSpPr>
        <p:spPr>
          <a:xfrm>
            <a:off x="506502" y="5452514"/>
            <a:ext cx="3445084" cy="0"/>
          </a:xfrm>
          <a:prstGeom prst="line">
            <a:avLst/>
          </a:prstGeom>
          <a:ln>
            <a:solidFill>
              <a:srgbClr val="CCCCCC"/>
            </a:solidFill>
          </a:ln>
        </p:spPr>
        <p:style>
          <a:lnRef idx="1">
            <a:schemeClr val="accent1"/>
          </a:lnRef>
          <a:fillRef idx="0">
            <a:schemeClr val="accent1"/>
          </a:fillRef>
          <a:effectRef idx="0">
            <a:schemeClr val="accent1"/>
          </a:effectRef>
          <a:fontRef idx="minor">
            <a:schemeClr val="tx1"/>
          </a:fontRef>
        </p:style>
      </p:cxnSp>
      <p:sp>
        <p:nvSpPr>
          <p:cNvPr id="22" name="Description">
            <a:extLst>
              <a:ext uri="{FF2B5EF4-FFF2-40B4-BE49-F238E27FC236}">
                <a16:creationId xmlns:a16="http://schemas.microsoft.com/office/drawing/2014/main" id="{AE0587D3-BD7F-2BE3-F013-F95BC831E6A9}"/>
              </a:ext>
            </a:extLst>
          </p:cNvPr>
          <p:cNvSpPr>
            <a:spLocks noGrp="1"/>
          </p:cNvSpPr>
          <p:nvPr>
            <p:ph type="body" sz="quarter" idx="11"/>
          </p:nvPr>
        </p:nvSpPr>
        <p:spPr>
          <a:xfrm>
            <a:off x="510868" y="2237619"/>
            <a:ext cx="3305359" cy="2527964"/>
          </a:xfrm>
          <a:prstGeom prst="rect">
            <a:avLst/>
          </a:prstGeom>
        </p:spPr>
        <p:txBody>
          <a:bodyPr/>
          <a:lstStyle>
            <a:lvl1pPr>
              <a:defRPr lang="en-US" sz="970" b="0" i="0" kern="1200" dirty="0" smtClean="0">
                <a:solidFill>
                  <a:schemeClr val="tx1"/>
                </a:solidFill>
                <a:latin typeface="Poppins Light" pitchFamily="2" charset="77"/>
                <a:ea typeface="+mn-ea"/>
                <a:cs typeface="Poppins Light" pitchFamily="2" charset="77"/>
              </a:defRPr>
            </a:lvl1pPr>
          </a:lstStyle>
          <a:p>
            <a:pPr lvl="0"/>
            <a:r>
              <a:rPr lang="en-US"/>
              <a:t>Click to edit Master text styles</a:t>
            </a:r>
          </a:p>
        </p:txBody>
      </p:sp>
      <p:sp>
        <p:nvSpPr>
          <p:cNvPr id="14" name="Title">
            <a:extLst>
              <a:ext uri="{FF2B5EF4-FFF2-40B4-BE49-F238E27FC236}">
                <a16:creationId xmlns:a16="http://schemas.microsoft.com/office/drawing/2014/main" id="{DAEBA26B-BD3D-96A3-5C9F-E83F4E3306A4}"/>
              </a:ext>
            </a:extLst>
          </p:cNvPr>
          <p:cNvSpPr>
            <a:spLocks noGrp="1"/>
          </p:cNvSpPr>
          <p:nvPr>
            <p:ph type="body" sz="quarter" idx="10"/>
          </p:nvPr>
        </p:nvSpPr>
        <p:spPr>
          <a:xfrm>
            <a:off x="506501" y="467171"/>
            <a:ext cx="3309726" cy="696775"/>
          </a:xfrm>
          <a:prstGeom prst="rect">
            <a:avLst/>
          </a:prstGeom>
        </p:spPr>
        <p:txBody>
          <a:bodyPr/>
          <a:lstStyle>
            <a:lvl1pPr>
              <a:defRPr lang="en-US" sz="1940" b="1" i="0" kern="1200" dirty="0" smtClean="0">
                <a:solidFill>
                  <a:schemeClr val="tx1"/>
                </a:solidFill>
                <a:latin typeface="Poppins SemiBold" pitchFamily="2" charset="77"/>
                <a:ea typeface="Roboto" panose="02000000000000000000" pitchFamily="2" charset="0"/>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91964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HPV treemap">
    <p:spTree>
      <p:nvGrpSpPr>
        <p:cNvPr id="1" name=""/>
        <p:cNvGrpSpPr/>
        <p:nvPr/>
      </p:nvGrpSpPr>
      <p:grpSpPr>
        <a:xfrm>
          <a:off x="0" y="0"/>
          <a:ext cx="0" cy="0"/>
          <a:chOff x="0" y="0"/>
          <a:chExt cx="0" cy="0"/>
        </a:xfrm>
      </p:grpSpPr>
      <p:sp>
        <p:nvSpPr>
          <p:cNvPr id="7" name="Background colored box right">
            <a:extLst>
              <a:ext uri="{FF2B5EF4-FFF2-40B4-BE49-F238E27FC236}">
                <a16:creationId xmlns:a16="http://schemas.microsoft.com/office/drawing/2014/main" id="{6BBF363A-7D11-DD29-0421-0871832BBD55}"/>
              </a:ext>
            </a:extLst>
          </p:cNvPr>
          <p:cNvSpPr/>
          <p:nvPr userDrawn="1"/>
        </p:nvSpPr>
        <p:spPr>
          <a:xfrm>
            <a:off x="2399187" y="0"/>
            <a:ext cx="9792813"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 name="Background colored box middle">
            <a:extLst>
              <a:ext uri="{FF2B5EF4-FFF2-40B4-BE49-F238E27FC236}">
                <a16:creationId xmlns:a16="http://schemas.microsoft.com/office/drawing/2014/main" id="{8B5EC595-45EC-5136-5A22-457E11EDDC4D}"/>
              </a:ext>
            </a:extLst>
          </p:cNvPr>
          <p:cNvSpPr/>
          <p:nvPr userDrawn="1"/>
        </p:nvSpPr>
        <p:spPr>
          <a:xfrm>
            <a:off x="1605832" y="0"/>
            <a:ext cx="2599368" cy="6858000"/>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 name="Background colored box left">
            <a:extLst>
              <a:ext uri="{FF2B5EF4-FFF2-40B4-BE49-F238E27FC236}">
                <a16:creationId xmlns:a16="http://schemas.microsoft.com/office/drawing/2014/main" id="{B22F2ED1-7359-BB98-E063-705A15A9AA17}"/>
              </a:ext>
            </a:extLst>
          </p:cNvPr>
          <p:cNvSpPr/>
          <p:nvPr userDrawn="1"/>
        </p:nvSpPr>
        <p:spPr>
          <a:xfrm>
            <a:off x="0" y="0"/>
            <a:ext cx="201017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4" name="Graph">
            <a:extLst>
              <a:ext uri="{FF2B5EF4-FFF2-40B4-BE49-F238E27FC236}">
                <a16:creationId xmlns:a16="http://schemas.microsoft.com/office/drawing/2014/main" id="{CD59C6AF-21BB-3119-7EBD-2A3FF9981464}"/>
              </a:ext>
            </a:extLst>
          </p:cNvPr>
          <p:cNvSpPr>
            <a:spLocks noGrp="1"/>
          </p:cNvSpPr>
          <p:nvPr>
            <p:ph sz="quarter" idx="15"/>
          </p:nvPr>
        </p:nvSpPr>
        <p:spPr>
          <a:xfrm>
            <a:off x="4461908" y="575418"/>
            <a:ext cx="7456128" cy="59381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ubtitle2">
            <a:extLst>
              <a:ext uri="{FF2B5EF4-FFF2-40B4-BE49-F238E27FC236}">
                <a16:creationId xmlns:a16="http://schemas.microsoft.com/office/drawing/2014/main" id="{6495B25E-D13A-7D51-16E1-A5E1541DD0D6}"/>
              </a:ext>
            </a:extLst>
          </p:cNvPr>
          <p:cNvSpPr>
            <a:spLocks noGrp="1"/>
          </p:cNvSpPr>
          <p:nvPr>
            <p:ph type="body" sz="quarter" idx="17"/>
          </p:nvPr>
        </p:nvSpPr>
        <p:spPr>
          <a:xfrm>
            <a:off x="9010052" y="178838"/>
            <a:ext cx="2406876" cy="211755"/>
          </a:xfrm>
          <a:prstGeom prst="rect">
            <a:avLst/>
          </a:prstGeom>
        </p:spPr>
        <p:txBody>
          <a:bodyPr/>
          <a:lstStyle>
            <a:lvl1pPr algn="ctr">
              <a:defRPr lang="en-US" sz="1213" kern="1200" dirty="0" smtClean="0">
                <a:solidFill>
                  <a:schemeClr val="tx1"/>
                </a:solidFill>
                <a:latin typeface="+mn-lt"/>
                <a:ea typeface="+mn-ea"/>
                <a:cs typeface="+mn-cs"/>
              </a:defRPr>
            </a:lvl1pPr>
          </a:lstStyle>
          <a:p>
            <a:pPr lvl="0"/>
            <a:r>
              <a:rPr lang="en-US"/>
              <a:t>Click to edit Master text styles</a:t>
            </a:r>
          </a:p>
        </p:txBody>
      </p:sp>
      <p:sp>
        <p:nvSpPr>
          <p:cNvPr id="8" name="Subtitle1">
            <a:extLst>
              <a:ext uri="{FF2B5EF4-FFF2-40B4-BE49-F238E27FC236}">
                <a16:creationId xmlns:a16="http://schemas.microsoft.com/office/drawing/2014/main" id="{EC96BC2A-81FD-91D4-C131-4F440B8E8B76}"/>
              </a:ext>
            </a:extLst>
          </p:cNvPr>
          <p:cNvSpPr>
            <a:spLocks noGrp="1"/>
          </p:cNvSpPr>
          <p:nvPr>
            <p:ph type="body" sz="quarter" idx="16"/>
          </p:nvPr>
        </p:nvSpPr>
        <p:spPr>
          <a:xfrm>
            <a:off x="5285519" y="178838"/>
            <a:ext cx="2511251" cy="211755"/>
          </a:xfrm>
          <a:prstGeom prst="rect">
            <a:avLst/>
          </a:prstGeom>
        </p:spPr>
        <p:txBody>
          <a:bodyPr/>
          <a:lstStyle>
            <a:lvl1pPr algn="ctr">
              <a:defRPr lang="en-US" sz="1213" kern="1200" dirty="0" smtClean="0">
                <a:solidFill>
                  <a:schemeClr val="tx1"/>
                </a:solidFill>
                <a:latin typeface="+mn-lt"/>
                <a:ea typeface="+mn-ea"/>
                <a:cs typeface="+mn-cs"/>
              </a:defRPr>
            </a:lvl1pPr>
            <a:lvl2pPr>
              <a:defRPr lang="en-US" sz="1213" kern="1200" dirty="0" smtClean="0">
                <a:solidFill>
                  <a:schemeClr val="tx1"/>
                </a:solidFill>
                <a:latin typeface="+mn-lt"/>
                <a:ea typeface="+mn-ea"/>
                <a:cs typeface="+mn-cs"/>
              </a:defRPr>
            </a:lvl2pPr>
            <a:lvl3pPr>
              <a:defRPr lang="en-US" sz="1213" kern="1200" dirty="0" smtClean="0">
                <a:solidFill>
                  <a:schemeClr val="tx1"/>
                </a:solidFill>
                <a:latin typeface="+mn-lt"/>
                <a:ea typeface="+mn-ea"/>
                <a:cs typeface="+mn-cs"/>
              </a:defRPr>
            </a:lvl3pPr>
            <a:lvl4pPr>
              <a:defRPr lang="en-US" sz="1213" kern="1200" dirty="0" smtClean="0">
                <a:solidFill>
                  <a:schemeClr val="tx1"/>
                </a:solidFill>
                <a:latin typeface="+mn-lt"/>
                <a:ea typeface="+mn-ea"/>
                <a:cs typeface="+mn-cs"/>
              </a:defRPr>
            </a:lvl4pPr>
            <a:lvl5pPr>
              <a:defRPr lang="en-US" sz="1213" kern="1200" dirty="0">
                <a:solidFill>
                  <a:schemeClr val="tx1"/>
                </a:solidFill>
                <a:latin typeface="+mn-lt"/>
                <a:ea typeface="+mn-ea"/>
                <a:cs typeface="+mn-cs"/>
              </a:defRPr>
            </a:lvl5pPr>
          </a:lstStyle>
          <a:p>
            <a:pPr lvl="0"/>
            <a:r>
              <a:rPr lang="en-US"/>
              <a:t>Click to edit Master text styles</a:t>
            </a:r>
          </a:p>
        </p:txBody>
      </p:sp>
      <p:sp>
        <p:nvSpPr>
          <p:cNvPr id="3" name="Source">
            <a:extLst>
              <a:ext uri="{FF2B5EF4-FFF2-40B4-BE49-F238E27FC236}">
                <a16:creationId xmlns:a16="http://schemas.microsoft.com/office/drawing/2014/main" id="{502D3462-F22E-CABE-AA22-49BA98C2680C}"/>
              </a:ext>
            </a:extLst>
          </p:cNvPr>
          <p:cNvSpPr>
            <a:spLocks noGrp="1"/>
          </p:cNvSpPr>
          <p:nvPr>
            <p:ph type="body" sz="quarter" idx="14"/>
          </p:nvPr>
        </p:nvSpPr>
        <p:spPr>
          <a:xfrm>
            <a:off x="2796675" y="6252236"/>
            <a:ext cx="1154911" cy="261290"/>
          </a:xfrm>
          <a:prstGeom prst="rect">
            <a:avLst/>
          </a:prstGeom>
        </p:spPr>
        <p:txBody>
          <a:bodyPr/>
          <a:lstStyle>
            <a:lvl1pPr algn="r">
              <a:defRPr lang="en-US" sz="728" kern="1200" spc="3" dirty="0" smtClean="0">
                <a:solidFill>
                  <a:schemeClr val="tx1">
                    <a:tint val="75000"/>
                  </a:schemeClr>
                </a:solidFill>
                <a:latin typeface="Poppins" pitchFamily="2" charset="77"/>
                <a:ea typeface="+mn-ea"/>
                <a:cs typeface="Poppins" pitchFamily="2" charset="77"/>
              </a:defRPr>
            </a:lvl1pPr>
            <a:lvl2pPr>
              <a:defRPr lang="en-US" sz="728" kern="1200" spc="3" dirty="0" smtClean="0">
                <a:solidFill>
                  <a:schemeClr val="tx1">
                    <a:tint val="75000"/>
                  </a:schemeClr>
                </a:solidFill>
                <a:latin typeface="Poppins" pitchFamily="2" charset="77"/>
                <a:ea typeface="+mn-ea"/>
                <a:cs typeface="Poppins" pitchFamily="2" charset="77"/>
              </a:defRPr>
            </a:lvl2pPr>
            <a:lvl3pPr>
              <a:defRPr lang="en-US" sz="728" kern="1200" spc="3" dirty="0" smtClean="0">
                <a:solidFill>
                  <a:schemeClr val="tx1">
                    <a:tint val="75000"/>
                  </a:schemeClr>
                </a:solidFill>
                <a:latin typeface="Poppins" pitchFamily="2" charset="77"/>
                <a:ea typeface="+mn-ea"/>
                <a:cs typeface="Poppins" pitchFamily="2" charset="77"/>
              </a:defRPr>
            </a:lvl3pPr>
            <a:lvl4pPr>
              <a:defRPr lang="en-US" sz="728" kern="1200" spc="3" dirty="0" smtClean="0">
                <a:solidFill>
                  <a:schemeClr val="tx1">
                    <a:tint val="75000"/>
                  </a:schemeClr>
                </a:solidFill>
                <a:latin typeface="Poppins" pitchFamily="2" charset="77"/>
                <a:ea typeface="+mn-ea"/>
                <a:cs typeface="Poppins" pitchFamily="2" charset="77"/>
              </a:defRPr>
            </a:lvl4pPr>
            <a:lvl5pPr>
              <a:defRPr lang="en-US" sz="728" kern="1200" spc="3" dirty="0">
                <a:solidFill>
                  <a:schemeClr val="tx1">
                    <a:tint val="75000"/>
                  </a:schemeClr>
                </a:solidFill>
                <a:latin typeface="Poppins" pitchFamily="2" charset="77"/>
                <a:ea typeface="+mn-ea"/>
                <a:cs typeface="Poppins" pitchFamily="2" charset="77"/>
              </a:defRPr>
            </a:lvl5pPr>
          </a:lstStyle>
          <a:p>
            <a:pPr lvl="0"/>
            <a:r>
              <a:rPr lang="en-US"/>
              <a:t>Click to edit Master text styles</a:t>
            </a:r>
          </a:p>
        </p:txBody>
      </p:sp>
      <p:sp>
        <p:nvSpPr>
          <p:cNvPr id="31" name="Slide Number">
            <a:extLst>
              <a:ext uri="{FF2B5EF4-FFF2-40B4-BE49-F238E27FC236}">
                <a16:creationId xmlns:a16="http://schemas.microsoft.com/office/drawing/2014/main" id="{4E443C65-5F6E-6F97-DA88-93EA74AC732C}"/>
              </a:ext>
            </a:extLst>
          </p:cNvPr>
          <p:cNvSpPr>
            <a:spLocks noGrp="1"/>
          </p:cNvSpPr>
          <p:nvPr>
            <p:ph type="sldNum" sz="quarter" idx="13"/>
          </p:nvPr>
        </p:nvSpPr>
        <p:spPr/>
        <p:txBody>
          <a:bodyPr/>
          <a:lstStyle/>
          <a:p>
            <a:fld id="{E2E31AFC-DF42-41A5-B57C-06A83BBA6616}" type="slidenum">
              <a:rPr lang="en-GB" smtClean="0"/>
              <a:pPr/>
              <a:t>‹#›</a:t>
            </a:fld>
            <a:endParaRPr lang="en-GB"/>
          </a:p>
        </p:txBody>
      </p:sp>
      <p:cxnSp>
        <p:nvCxnSpPr>
          <p:cNvPr id="20" name="Separator line 2">
            <a:extLst>
              <a:ext uri="{FF2B5EF4-FFF2-40B4-BE49-F238E27FC236}">
                <a16:creationId xmlns:a16="http://schemas.microsoft.com/office/drawing/2014/main" id="{27A3C348-CE6A-C889-9C16-BBEA923F7366}"/>
              </a:ext>
            </a:extLst>
          </p:cNvPr>
          <p:cNvCxnSpPr>
            <a:cxnSpLocks/>
          </p:cNvCxnSpPr>
          <p:nvPr userDrawn="1"/>
        </p:nvCxnSpPr>
        <p:spPr>
          <a:xfrm>
            <a:off x="506502" y="6122527"/>
            <a:ext cx="3444538" cy="0"/>
          </a:xfrm>
          <a:prstGeom prst="line">
            <a:avLst/>
          </a:prstGeom>
          <a:ln w="6350">
            <a:solidFill>
              <a:srgbClr val="CCCCCC"/>
            </a:solidFill>
          </a:ln>
        </p:spPr>
        <p:style>
          <a:lnRef idx="1">
            <a:schemeClr val="accent1"/>
          </a:lnRef>
          <a:fillRef idx="0">
            <a:schemeClr val="accent1"/>
          </a:fillRef>
          <a:effectRef idx="0">
            <a:schemeClr val="accent1"/>
          </a:effectRef>
          <a:fontRef idx="minor">
            <a:schemeClr val="tx1"/>
          </a:fontRef>
        </p:style>
      </p:cxnSp>
      <p:grpSp>
        <p:nvGrpSpPr>
          <p:cNvPr id="10" name="Logos">
            <a:extLst>
              <a:ext uri="{FF2B5EF4-FFF2-40B4-BE49-F238E27FC236}">
                <a16:creationId xmlns:a16="http://schemas.microsoft.com/office/drawing/2014/main" id="{76076C36-FA6A-2B60-99B1-9D964529B3CF}"/>
              </a:ext>
            </a:extLst>
          </p:cNvPr>
          <p:cNvGrpSpPr/>
          <p:nvPr userDrawn="1"/>
        </p:nvGrpSpPr>
        <p:grpSpPr>
          <a:xfrm>
            <a:off x="1149126" y="5680444"/>
            <a:ext cx="2065987" cy="283656"/>
            <a:chOff x="1773530" y="9367473"/>
            <a:chExt cx="3406727" cy="467770"/>
          </a:xfrm>
        </p:grpSpPr>
        <p:pic>
          <p:nvPicPr>
            <p:cNvPr id="11" name="UNICEF logo">
              <a:extLst>
                <a:ext uri="{FF2B5EF4-FFF2-40B4-BE49-F238E27FC236}">
                  <a16:creationId xmlns:a16="http://schemas.microsoft.com/office/drawing/2014/main" id="{9AA531A6-D27F-E6C2-C82A-2313BEEB8A3E}"/>
                </a:ext>
              </a:extLst>
            </p:cNvPr>
            <p:cNvPicPr>
              <a:picLocks noChangeAspect="1"/>
            </p:cNvPicPr>
            <p:nvPr/>
          </p:nvPicPr>
          <p:blipFill>
            <a:blip r:embed="rId2"/>
            <a:stretch>
              <a:fillRect/>
            </a:stretch>
          </p:blipFill>
          <p:spPr>
            <a:xfrm>
              <a:off x="3678794" y="9399091"/>
              <a:ext cx="1501463" cy="360000"/>
            </a:xfrm>
            <a:prstGeom prst="rect">
              <a:avLst/>
            </a:prstGeom>
          </p:spPr>
        </p:pic>
        <p:pic>
          <p:nvPicPr>
            <p:cNvPr id="12" name="WHO logo">
              <a:extLst>
                <a:ext uri="{FF2B5EF4-FFF2-40B4-BE49-F238E27FC236}">
                  <a16:creationId xmlns:a16="http://schemas.microsoft.com/office/drawing/2014/main" id="{199B5630-0D46-BA85-FF87-60B8A107E43D}"/>
                </a:ext>
              </a:extLst>
            </p:cNvPr>
            <p:cNvPicPr>
              <a:picLocks noChangeAspect="1"/>
            </p:cNvPicPr>
            <p:nvPr/>
          </p:nvPicPr>
          <p:blipFill>
            <a:blip r:embed="rId3"/>
            <a:stretch>
              <a:fillRect/>
            </a:stretch>
          </p:blipFill>
          <p:spPr>
            <a:xfrm>
              <a:off x="1773530" y="9367473"/>
              <a:ext cx="1508124" cy="467770"/>
            </a:xfrm>
            <a:prstGeom prst="rect">
              <a:avLst/>
            </a:prstGeom>
          </p:spPr>
        </p:pic>
      </p:grpSp>
      <p:cxnSp>
        <p:nvCxnSpPr>
          <p:cNvPr id="18" name="Separator line 1">
            <a:extLst>
              <a:ext uri="{FF2B5EF4-FFF2-40B4-BE49-F238E27FC236}">
                <a16:creationId xmlns:a16="http://schemas.microsoft.com/office/drawing/2014/main" id="{F21FB362-4449-B9F7-BB08-0381824B5E29}"/>
              </a:ext>
            </a:extLst>
          </p:cNvPr>
          <p:cNvCxnSpPr>
            <a:cxnSpLocks/>
          </p:cNvCxnSpPr>
          <p:nvPr userDrawn="1"/>
        </p:nvCxnSpPr>
        <p:spPr>
          <a:xfrm>
            <a:off x="506502" y="5452514"/>
            <a:ext cx="3445084" cy="0"/>
          </a:xfrm>
          <a:prstGeom prst="line">
            <a:avLst/>
          </a:prstGeom>
          <a:ln>
            <a:solidFill>
              <a:srgbClr val="CCCCCC"/>
            </a:solidFill>
          </a:ln>
        </p:spPr>
        <p:style>
          <a:lnRef idx="1">
            <a:schemeClr val="accent1"/>
          </a:lnRef>
          <a:fillRef idx="0">
            <a:schemeClr val="accent1"/>
          </a:fillRef>
          <a:effectRef idx="0">
            <a:schemeClr val="accent1"/>
          </a:effectRef>
          <a:fontRef idx="minor">
            <a:schemeClr val="tx1"/>
          </a:fontRef>
        </p:style>
      </p:cxnSp>
      <p:sp>
        <p:nvSpPr>
          <p:cNvPr id="22" name="Description">
            <a:extLst>
              <a:ext uri="{FF2B5EF4-FFF2-40B4-BE49-F238E27FC236}">
                <a16:creationId xmlns:a16="http://schemas.microsoft.com/office/drawing/2014/main" id="{AE0587D3-BD7F-2BE3-F013-F95BC831E6A9}"/>
              </a:ext>
            </a:extLst>
          </p:cNvPr>
          <p:cNvSpPr>
            <a:spLocks noGrp="1"/>
          </p:cNvSpPr>
          <p:nvPr>
            <p:ph type="body" sz="quarter" idx="11"/>
          </p:nvPr>
        </p:nvSpPr>
        <p:spPr>
          <a:xfrm>
            <a:off x="510868" y="2237619"/>
            <a:ext cx="3305359" cy="2527964"/>
          </a:xfrm>
          <a:prstGeom prst="rect">
            <a:avLst/>
          </a:prstGeom>
        </p:spPr>
        <p:txBody>
          <a:bodyPr/>
          <a:lstStyle>
            <a:lvl1pPr>
              <a:defRPr lang="en-US" sz="970" b="0" i="0" kern="1200" dirty="0" smtClean="0">
                <a:solidFill>
                  <a:schemeClr val="tx1"/>
                </a:solidFill>
                <a:latin typeface="Poppins Light" pitchFamily="2" charset="77"/>
                <a:ea typeface="+mn-ea"/>
                <a:cs typeface="Poppins Light" pitchFamily="2" charset="77"/>
              </a:defRPr>
            </a:lvl1pPr>
          </a:lstStyle>
          <a:p>
            <a:pPr lvl="0"/>
            <a:r>
              <a:rPr lang="en-US"/>
              <a:t>Click to edit Master text styles</a:t>
            </a:r>
          </a:p>
        </p:txBody>
      </p:sp>
      <p:sp>
        <p:nvSpPr>
          <p:cNvPr id="14" name="Title">
            <a:extLst>
              <a:ext uri="{FF2B5EF4-FFF2-40B4-BE49-F238E27FC236}">
                <a16:creationId xmlns:a16="http://schemas.microsoft.com/office/drawing/2014/main" id="{DAEBA26B-BD3D-96A3-5C9F-E83F4E3306A4}"/>
              </a:ext>
            </a:extLst>
          </p:cNvPr>
          <p:cNvSpPr>
            <a:spLocks noGrp="1"/>
          </p:cNvSpPr>
          <p:nvPr>
            <p:ph type="body" sz="quarter" idx="10"/>
          </p:nvPr>
        </p:nvSpPr>
        <p:spPr>
          <a:xfrm>
            <a:off x="506501" y="467171"/>
            <a:ext cx="3309726" cy="696775"/>
          </a:xfrm>
          <a:prstGeom prst="rect">
            <a:avLst/>
          </a:prstGeom>
        </p:spPr>
        <p:txBody>
          <a:bodyPr/>
          <a:lstStyle>
            <a:lvl1pPr>
              <a:defRPr lang="en-US" sz="1940" b="1" i="0" kern="1200" dirty="0" smtClean="0">
                <a:solidFill>
                  <a:schemeClr val="tx1"/>
                </a:solidFill>
                <a:latin typeface="Poppins SemiBold" pitchFamily="2" charset="77"/>
                <a:ea typeface="Roboto" panose="02000000000000000000" pitchFamily="2" charset="0"/>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76816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s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53562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33865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1F467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3078761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0" name="Subtitle 2">
            <a:extLst>
              <a:ext uri="{FF2B5EF4-FFF2-40B4-BE49-F238E27FC236}">
                <a16:creationId xmlns:a16="http://schemas.microsoft.com/office/drawing/2014/main" id="{94B367C2-42FA-4BB9-9934-E0D86C36B508}"/>
              </a:ext>
            </a:extLst>
          </p:cNvPr>
          <p:cNvSpPr>
            <a:spLocks noGrp="1"/>
          </p:cNvSpPr>
          <p:nvPr>
            <p:ph type="subTitle" idx="1" hasCustomPrompt="1"/>
          </p:nvPr>
        </p:nvSpPr>
        <p:spPr>
          <a:xfrm>
            <a:off x="441325" y="5722207"/>
            <a:ext cx="2835687" cy="307777"/>
          </a:xfrm>
        </p:spPr>
        <p:txBody>
          <a:bodyPr anchor="t" anchorCtr="0"/>
          <a:lstStyle>
            <a:lvl1pPr marL="0" indent="0" algn="l">
              <a:buNone/>
              <a:defRPr sz="20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GB"/>
              <a:t>Date goes here</a:t>
            </a:r>
            <a:endParaRPr lang="en-US"/>
          </a:p>
        </p:txBody>
      </p:sp>
      <p:sp>
        <p:nvSpPr>
          <p:cNvPr id="11" name="Text Placeholder 2">
            <a:extLst>
              <a:ext uri="{FF2B5EF4-FFF2-40B4-BE49-F238E27FC236}">
                <a16:creationId xmlns:a16="http://schemas.microsoft.com/office/drawing/2014/main" id="{7ED56106-0FE6-4611-8084-FACE1032A4BA}"/>
              </a:ext>
            </a:extLst>
          </p:cNvPr>
          <p:cNvSpPr>
            <a:spLocks noGrp="1"/>
          </p:cNvSpPr>
          <p:nvPr>
            <p:ph type="body" idx="10" hasCustomPrompt="1"/>
          </p:nvPr>
        </p:nvSpPr>
        <p:spPr>
          <a:xfrm>
            <a:off x="443191" y="6039049"/>
            <a:ext cx="5529592" cy="307777"/>
          </a:xfrm>
        </p:spPr>
        <p:txBody>
          <a:bodyPr anchor="t" anchorCtr="0"/>
          <a:lstStyle>
            <a:lvl1pPr marL="0" indent="0">
              <a:buNone/>
              <a:defRPr sz="2000" b="1">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Location goes here</a:t>
            </a:r>
          </a:p>
        </p:txBody>
      </p:sp>
      <p:pic>
        <p:nvPicPr>
          <p:cNvPr id="13" name="Picture 12">
            <a:extLst>
              <a:ext uri="{FF2B5EF4-FFF2-40B4-BE49-F238E27FC236}">
                <a16:creationId xmlns:a16="http://schemas.microsoft.com/office/drawing/2014/main" id="{90171304-95B1-4931-AC11-212B7F34C485}"/>
              </a:ext>
            </a:extLst>
          </p:cNvPr>
          <p:cNvPicPr>
            <a:picLocks noChangeAspect="1"/>
          </p:cNvPicPr>
          <p:nvPr userDrawn="1"/>
        </p:nvPicPr>
        <p:blipFill>
          <a:blip r:embed="rId6">
            <a:alphaModFix/>
          </a:blip>
          <a:stretch>
            <a:fillRect/>
          </a:stretch>
        </p:blipFill>
        <p:spPr>
          <a:xfrm>
            <a:off x="308008" y="372645"/>
            <a:ext cx="3067017" cy="862430"/>
          </a:xfrm>
          <a:prstGeom prst="rect">
            <a:avLst/>
          </a:prstGeom>
        </p:spPr>
      </p:pic>
      <p:sp>
        <p:nvSpPr>
          <p:cNvPr id="18" name="Title 4">
            <a:extLst>
              <a:ext uri="{FF2B5EF4-FFF2-40B4-BE49-F238E27FC236}">
                <a16:creationId xmlns:a16="http://schemas.microsoft.com/office/drawing/2014/main" id="{1D0BD9B2-206F-4B58-927B-F7FFB44AB1F8}"/>
              </a:ext>
            </a:extLst>
          </p:cNvPr>
          <p:cNvSpPr>
            <a:spLocks noGrp="1"/>
          </p:cNvSpPr>
          <p:nvPr>
            <p:ph type="title" hasCustomPrompt="1"/>
          </p:nvPr>
        </p:nvSpPr>
        <p:spPr>
          <a:xfrm>
            <a:off x="406514" y="2708508"/>
            <a:ext cx="6215743" cy="615553"/>
          </a:xfrm>
        </p:spPr>
        <p:txBody>
          <a:bodyPr vert="horz" lIns="0" tIns="0" rIns="0" bIns="0" anchor="ctr"/>
          <a:lstStyle>
            <a:lvl1pPr>
              <a:defRPr sz="4800" cap="all" baseline="0">
                <a:solidFill>
                  <a:schemeClr val="bg1"/>
                </a:solidFill>
                <a:latin typeface="+mj-lt"/>
                <a:ea typeface="+mj-ea"/>
                <a:cs typeface="+mj-cs"/>
              </a:defRPr>
            </a:lvl1pPr>
          </a:lstStyle>
          <a:p>
            <a:r>
              <a:rPr lang="en-US"/>
              <a:t>Click to add title</a:t>
            </a:r>
          </a:p>
        </p:txBody>
      </p:sp>
      <p:pic>
        <p:nvPicPr>
          <p:cNvPr id="2" name="Picture 1">
            <a:extLst>
              <a:ext uri="{FF2B5EF4-FFF2-40B4-BE49-F238E27FC236}">
                <a16:creationId xmlns:a16="http://schemas.microsoft.com/office/drawing/2014/main" id="{F908FC3D-5F5A-A42E-8958-BCB98344A14F}"/>
              </a:ext>
            </a:extLst>
          </p:cNvPr>
          <p:cNvPicPr>
            <a:picLocks noChangeAspect="1"/>
          </p:cNvPicPr>
          <p:nvPr userDrawn="1"/>
        </p:nvPicPr>
        <p:blipFill>
          <a:blip r:embed="rId7"/>
          <a:stretch>
            <a:fillRect/>
          </a:stretch>
        </p:blipFill>
        <p:spPr>
          <a:xfrm>
            <a:off x="5905500" y="0"/>
            <a:ext cx="6286500" cy="6858000"/>
          </a:xfrm>
          <a:prstGeom prst="rect">
            <a:avLst/>
          </a:prstGeom>
        </p:spPr>
      </p:pic>
    </p:spTree>
    <p:extLst>
      <p:ext uri="{BB962C8B-B14F-4D97-AF65-F5344CB8AC3E}">
        <p14:creationId xmlns:p14="http://schemas.microsoft.com/office/powerpoint/2010/main" val="1743807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1634275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0" name="Subtitle 2">
            <a:extLst>
              <a:ext uri="{FF2B5EF4-FFF2-40B4-BE49-F238E27FC236}">
                <a16:creationId xmlns:a16="http://schemas.microsoft.com/office/drawing/2014/main" id="{94B367C2-42FA-4BB9-9934-E0D86C36B508}"/>
              </a:ext>
            </a:extLst>
          </p:cNvPr>
          <p:cNvSpPr>
            <a:spLocks noGrp="1"/>
          </p:cNvSpPr>
          <p:nvPr>
            <p:ph type="subTitle" idx="1" hasCustomPrompt="1"/>
          </p:nvPr>
        </p:nvSpPr>
        <p:spPr>
          <a:xfrm>
            <a:off x="441325" y="5722207"/>
            <a:ext cx="2835687" cy="307777"/>
          </a:xfrm>
        </p:spPr>
        <p:txBody>
          <a:bodyPr anchor="t" anchorCtr="0"/>
          <a:lstStyle>
            <a:lvl1pPr marL="0" indent="0" algn="l">
              <a:buNone/>
              <a:defRPr sz="20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GB"/>
              <a:t>Date goes here</a:t>
            </a:r>
            <a:endParaRPr lang="en-US"/>
          </a:p>
        </p:txBody>
      </p:sp>
      <p:sp>
        <p:nvSpPr>
          <p:cNvPr id="11" name="Text Placeholder 2">
            <a:extLst>
              <a:ext uri="{FF2B5EF4-FFF2-40B4-BE49-F238E27FC236}">
                <a16:creationId xmlns:a16="http://schemas.microsoft.com/office/drawing/2014/main" id="{7ED56106-0FE6-4611-8084-FACE1032A4BA}"/>
              </a:ext>
            </a:extLst>
          </p:cNvPr>
          <p:cNvSpPr>
            <a:spLocks noGrp="1"/>
          </p:cNvSpPr>
          <p:nvPr>
            <p:ph type="body" idx="10" hasCustomPrompt="1"/>
          </p:nvPr>
        </p:nvSpPr>
        <p:spPr>
          <a:xfrm>
            <a:off x="443191" y="6039049"/>
            <a:ext cx="5529592" cy="307777"/>
          </a:xfrm>
        </p:spPr>
        <p:txBody>
          <a:bodyPr anchor="t" anchorCtr="0"/>
          <a:lstStyle>
            <a:lvl1pPr marL="0" indent="0">
              <a:buNone/>
              <a:defRPr sz="2000" b="1">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Location goes here</a:t>
            </a:r>
          </a:p>
        </p:txBody>
      </p:sp>
      <p:pic>
        <p:nvPicPr>
          <p:cNvPr id="13" name="Picture 12">
            <a:extLst>
              <a:ext uri="{FF2B5EF4-FFF2-40B4-BE49-F238E27FC236}">
                <a16:creationId xmlns:a16="http://schemas.microsoft.com/office/drawing/2014/main" id="{90171304-95B1-4931-AC11-212B7F34C485}"/>
              </a:ext>
            </a:extLst>
          </p:cNvPr>
          <p:cNvPicPr>
            <a:picLocks noChangeAspect="1"/>
          </p:cNvPicPr>
          <p:nvPr userDrawn="1"/>
        </p:nvPicPr>
        <p:blipFill>
          <a:blip r:embed="rId6">
            <a:alphaModFix/>
          </a:blip>
          <a:stretch>
            <a:fillRect/>
          </a:stretch>
        </p:blipFill>
        <p:spPr>
          <a:xfrm>
            <a:off x="308008" y="372645"/>
            <a:ext cx="3067017" cy="862430"/>
          </a:xfrm>
          <a:prstGeom prst="rect">
            <a:avLst/>
          </a:prstGeom>
        </p:spPr>
      </p:pic>
      <p:sp>
        <p:nvSpPr>
          <p:cNvPr id="18" name="Title 4">
            <a:extLst>
              <a:ext uri="{FF2B5EF4-FFF2-40B4-BE49-F238E27FC236}">
                <a16:creationId xmlns:a16="http://schemas.microsoft.com/office/drawing/2014/main" id="{1D0BD9B2-206F-4B58-927B-F7FFB44AB1F8}"/>
              </a:ext>
            </a:extLst>
          </p:cNvPr>
          <p:cNvSpPr>
            <a:spLocks noGrp="1"/>
          </p:cNvSpPr>
          <p:nvPr>
            <p:ph type="title" hasCustomPrompt="1"/>
          </p:nvPr>
        </p:nvSpPr>
        <p:spPr>
          <a:xfrm>
            <a:off x="406514" y="2708508"/>
            <a:ext cx="6215743" cy="615553"/>
          </a:xfrm>
        </p:spPr>
        <p:txBody>
          <a:bodyPr vert="horz" lIns="0" tIns="0" rIns="0" bIns="0" anchor="ctr"/>
          <a:lstStyle>
            <a:lvl1pPr>
              <a:defRPr sz="4800" cap="all" baseline="0">
                <a:solidFill>
                  <a:schemeClr val="bg1"/>
                </a:solidFill>
                <a:latin typeface="+mj-lt"/>
                <a:ea typeface="+mj-ea"/>
                <a:cs typeface="+mj-cs"/>
              </a:defRPr>
            </a:lvl1pPr>
          </a:lstStyle>
          <a:p>
            <a:r>
              <a:rPr lang="en-US"/>
              <a:t>Click to add title</a:t>
            </a:r>
          </a:p>
        </p:txBody>
      </p:sp>
      <p:pic>
        <p:nvPicPr>
          <p:cNvPr id="2" name="Picture 1">
            <a:extLst>
              <a:ext uri="{FF2B5EF4-FFF2-40B4-BE49-F238E27FC236}">
                <a16:creationId xmlns:a16="http://schemas.microsoft.com/office/drawing/2014/main" id="{F908FC3D-5F5A-A42E-8958-BCB98344A14F}"/>
              </a:ext>
            </a:extLst>
          </p:cNvPr>
          <p:cNvPicPr>
            <a:picLocks noChangeAspect="1"/>
          </p:cNvPicPr>
          <p:nvPr userDrawn="1"/>
        </p:nvPicPr>
        <p:blipFill>
          <a:blip r:embed="rId7"/>
          <a:stretch>
            <a:fillRect/>
          </a:stretch>
        </p:blipFill>
        <p:spPr>
          <a:xfrm>
            <a:off x="5905500" y="0"/>
            <a:ext cx="6286500" cy="6858000"/>
          </a:xfrm>
          <a:prstGeom prst="rect">
            <a:avLst/>
          </a:prstGeom>
        </p:spPr>
      </p:pic>
    </p:spTree>
    <p:extLst>
      <p:ext uri="{BB962C8B-B14F-4D97-AF65-F5344CB8AC3E}">
        <p14:creationId xmlns:p14="http://schemas.microsoft.com/office/powerpoint/2010/main" val="481279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rgbClr val="206356"/>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1634275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0" name="Subtitle 2">
            <a:extLst>
              <a:ext uri="{FF2B5EF4-FFF2-40B4-BE49-F238E27FC236}">
                <a16:creationId xmlns:a16="http://schemas.microsoft.com/office/drawing/2014/main" id="{94B367C2-42FA-4BB9-9934-E0D86C36B508}"/>
              </a:ext>
            </a:extLst>
          </p:cNvPr>
          <p:cNvSpPr>
            <a:spLocks noGrp="1"/>
          </p:cNvSpPr>
          <p:nvPr>
            <p:ph type="subTitle" idx="1" hasCustomPrompt="1"/>
          </p:nvPr>
        </p:nvSpPr>
        <p:spPr>
          <a:xfrm>
            <a:off x="441325" y="5722207"/>
            <a:ext cx="2835687" cy="307777"/>
          </a:xfrm>
        </p:spPr>
        <p:txBody>
          <a:bodyPr anchor="t" anchorCtr="0"/>
          <a:lstStyle>
            <a:lvl1pPr marL="0" indent="0" algn="l">
              <a:buNone/>
              <a:defRPr sz="20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GB"/>
              <a:t>Date goes here</a:t>
            </a:r>
            <a:endParaRPr lang="en-US"/>
          </a:p>
        </p:txBody>
      </p:sp>
      <p:sp>
        <p:nvSpPr>
          <p:cNvPr id="11" name="Text Placeholder 2">
            <a:extLst>
              <a:ext uri="{FF2B5EF4-FFF2-40B4-BE49-F238E27FC236}">
                <a16:creationId xmlns:a16="http://schemas.microsoft.com/office/drawing/2014/main" id="{7ED56106-0FE6-4611-8084-FACE1032A4BA}"/>
              </a:ext>
            </a:extLst>
          </p:cNvPr>
          <p:cNvSpPr>
            <a:spLocks noGrp="1"/>
          </p:cNvSpPr>
          <p:nvPr>
            <p:ph type="body" idx="10" hasCustomPrompt="1"/>
          </p:nvPr>
        </p:nvSpPr>
        <p:spPr>
          <a:xfrm>
            <a:off x="443191" y="6039049"/>
            <a:ext cx="5529592" cy="307777"/>
          </a:xfrm>
        </p:spPr>
        <p:txBody>
          <a:bodyPr anchor="t" anchorCtr="0"/>
          <a:lstStyle>
            <a:lvl1pPr marL="0" indent="0">
              <a:buNone/>
              <a:defRPr sz="2000" b="1">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Location goes here</a:t>
            </a:r>
          </a:p>
        </p:txBody>
      </p:sp>
      <p:pic>
        <p:nvPicPr>
          <p:cNvPr id="13" name="Picture 12">
            <a:extLst>
              <a:ext uri="{FF2B5EF4-FFF2-40B4-BE49-F238E27FC236}">
                <a16:creationId xmlns:a16="http://schemas.microsoft.com/office/drawing/2014/main" id="{90171304-95B1-4931-AC11-212B7F34C485}"/>
              </a:ext>
            </a:extLst>
          </p:cNvPr>
          <p:cNvPicPr>
            <a:picLocks noChangeAspect="1"/>
          </p:cNvPicPr>
          <p:nvPr userDrawn="1"/>
        </p:nvPicPr>
        <p:blipFill>
          <a:blip r:embed="rId6">
            <a:alphaModFix/>
          </a:blip>
          <a:stretch>
            <a:fillRect/>
          </a:stretch>
        </p:blipFill>
        <p:spPr>
          <a:xfrm>
            <a:off x="308008" y="372645"/>
            <a:ext cx="3067017" cy="862430"/>
          </a:xfrm>
          <a:prstGeom prst="rect">
            <a:avLst/>
          </a:prstGeom>
        </p:spPr>
      </p:pic>
      <p:sp>
        <p:nvSpPr>
          <p:cNvPr id="18" name="Title 4">
            <a:extLst>
              <a:ext uri="{FF2B5EF4-FFF2-40B4-BE49-F238E27FC236}">
                <a16:creationId xmlns:a16="http://schemas.microsoft.com/office/drawing/2014/main" id="{1D0BD9B2-206F-4B58-927B-F7FFB44AB1F8}"/>
              </a:ext>
            </a:extLst>
          </p:cNvPr>
          <p:cNvSpPr>
            <a:spLocks noGrp="1"/>
          </p:cNvSpPr>
          <p:nvPr>
            <p:ph type="title" hasCustomPrompt="1"/>
          </p:nvPr>
        </p:nvSpPr>
        <p:spPr>
          <a:xfrm>
            <a:off x="406514" y="2708508"/>
            <a:ext cx="6215743" cy="615553"/>
          </a:xfrm>
        </p:spPr>
        <p:txBody>
          <a:bodyPr vert="horz" lIns="0" tIns="0" rIns="0" bIns="0" anchor="ctr"/>
          <a:lstStyle>
            <a:lvl1pPr>
              <a:defRPr sz="4800" cap="all" baseline="0">
                <a:solidFill>
                  <a:schemeClr val="bg1"/>
                </a:solidFill>
                <a:latin typeface="+mj-lt"/>
                <a:ea typeface="+mj-ea"/>
                <a:cs typeface="+mj-cs"/>
              </a:defRPr>
            </a:lvl1pPr>
          </a:lstStyle>
          <a:p>
            <a:r>
              <a:rPr lang="en-US"/>
              <a:t>Click to add title</a:t>
            </a:r>
          </a:p>
        </p:txBody>
      </p:sp>
      <p:pic>
        <p:nvPicPr>
          <p:cNvPr id="2" name="Picture 1">
            <a:extLst>
              <a:ext uri="{FF2B5EF4-FFF2-40B4-BE49-F238E27FC236}">
                <a16:creationId xmlns:a16="http://schemas.microsoft.com/office/drawing/2014/main" id="{F908FC3D-5F5A-A42E-8958-BCB98344A14F}"/>
              </a:ext>
            </a:extLst>
          </p:cNvPr>
          <p:cNvPicPr>
            <a:picLocks noChangeAspect="1"/>
          </p:cNvPicPr>
          <p:nvPr userDrawn="1"/>
        </p:nvPicPr>
        <p:blipFill>
          <a:blip r:embed="rId7"/>
          <a:stretch>
            <a:fillRect/>
          </a:stretch>
        </p:blipFill>
        <p:spPr>
          <a:xfrm>
            <a:off x="5905500" y="0"/>
            <a:ext cx="6286500" cy="6858000"/>
          </a:xfrm>
          <a:prstGeom prst="rect">
            <a:avLst/>
          </a:prstGeom>
        </p:spPr>
      </p:pic>
    </p:spTree>
    <p:extLst>
      <p:ext uri="{BB962C8B-B14F-4D97-AF65-F5344CB8AC3E}">
        <p14:creationId xmlns:p14="http://schemas.microsoft.com/office/powerpoint/2010/main" val="2117562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solidFill>
          <a:srgbClr val="4B306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1634275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0" name="Subtitle 2">
            <a:extLst>
              <a:ext uri="{FF2B5EF4-FFF2-40B4-BE49-F238E27FC236}">
                <a16:creationId xmlns:a16="http://schemas.microsoft.com/office/drawing/2014/main" id="{94B367C2-42FA-4BB9-9934-E0D86C36B508}"/>
              </a:ext>
            </a:extLst>
          </p:cNvPr>
          <p:cNvSpPr>
            <a:spLocks noGrp="1"/>
          </p:cNvSpPr>
          <p:nvPr>
            <p:ph type="subTitle" idx="1" hasCustomPrompt="1"/>
          </p:nvPr>
        </p:nvSpPr>
        <p:spPr>
          <a:xfrm>
            <a:off x="441325" y="5722207"/>
            <a:ext cx="2835687" cy="307777"/>
          </a:xfrm>
        </p:spPr>
        <p:txBody>
          <a:bodyPr anchor="t" anchorCtr="0"/>
          <a:lstStyle>
            <a:lvl1pPr marL="0" indent="0" algn="l">
              <a:buNone/>
              <a:defRPr sz="20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GB"/>
              <a:t>Date goes here</a:t>
            </a:r>
            <a:endParaRPr lang="en-US"/>
          </a:p>
        </p:txBody>
      </p:sp>
      <p:sp>
        <p:nvSpPr>
          <p:cNvPr id="11" name="Text Placeholder 2">
            <a:extLst>
              <a:ext uri="{FF2B5EF4-FFF2-40B4-BE49-F238E27FC236}">
                <a16:creationId xmlns:a16="http://schemas.microsoft.com/office/drawing/2014/main" id="{7ED56106-0FE6-4611-8084-FACE1032A4BA}"/>
              </a:ext>
            </a:extLst>
          </p:cNvPr>
          <p:cNvSpPr>
            <a:spLocks noGrp="1"/>
          </p:cNvSpPr>
          <p:nvPr>
            <p:ph type="body" idx="10" hasCustomPrompt="1"/>
          </p:nvPr>
        </p:nvSpPr>
        <p:spPr>
          <a:xfrm>
            <a:off x="443191" y="6039049"/>
            <a:ext cx="5529592" cy="307777"/>
          </a:xfrm>
        </p:spPr>
        <p:txBody>
          <a:bodyPr anchor="t" anchorCtr="0"/>
          <a:lstStyle>
            <a:lvl1pPr marL="0" indent="0">
              <a:buNone/>
              <a:defRPr sz="2000" b="1">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Location goes here</a:t>
            </a:r>
          </a:p>
        </p:txBody>
      </p:sp>
      <p:pic>
        <p:nvPicPr>
          <p:cNvPr id="13" name="Picture 12">
            <a:extLst>
              <a:ext uri="{FF2B5EF4-FFF2-40B4-BE49-F238E27FC236}">
                <a16:creationId xmlns:a16="http://schemas.microsoft.com/office/drawing/2014/main" id="{90171304-95B1-4931-AC11-212B7F34C485}"/>
              </a:ext>
            </a:extLst>
          </p:cNvPr>
          <p:cNvPicPr>
            <a:picLocks noChangeAspect="1"/>
          </p:cNvPicPr>
          <p:nvPr userDrawn="1"/>
        </p:nvPicPr>
        <p:blipFill>
          <a:blip r:embed="rId6">
            <a:alphaModFix/>
          </a:blip>
          <a:stretch>
            <a:fillRect/>
          </a:stretch>
        </p:blipFill>
        <p:spPr>
          <a:xfrm>
            <a:off x="308008" y="372645"/>
            <a:ext cx="3067017" cy="862430"/>
          </a:xfrm>
          <a:prstGeom prst="rect">
            <a:avLst/>
          </a:prstGeom>
        </p:spPr>
      </p:pic>
      <p:sp>
        <p:nvSpPr>
          <p:cNvPr id="18" name="Title 4">
            <a:extLst>
              <a:ext uri="{FF2B5EF4-FFF2-40B4-BE49-F238E27FC236}">
                <a16:creationId xmlns:a16="http://schemas.microsoft.com/office/drawing/2014/main" id="{1D0BD9B2-206F-4B58-927B-F7FFB44AB1F8}"/>
              </a:ext>
            </a:extLst>
          </p:cNvPr>
          <p:cNvSpPr>
            <a:spLocks noGrp="1"/>
          </p:cNvSpPr>
          <p:nvPr>
            <p:ph type="title" hasCustomPrompt="1"/>
          </p:nvPr>
        </p:nvSpPr>
        <p:spPr>
          <a:xfrm>
            <a:off x="406514" y="2708508"/>
            <a:ext cx="6215743" cy="615553"/>
          </a:xfrm>
        </p:spPr>
        <p:txBody>
          <a:bodyPr vert="horz" lIns="0" tIns="0" rIns="0" bIns="0" anchor="ctr"/>
          <a:lstStyle>
            <a:lvl1pPr>
              <a:defRPr sz="4800" cap="all" baseline="0">
                <a:solidFill>
                  <a:schemeClr val="bg1"/>
                </a:solidFill>
                <a:latin typeface="+mj-lt"/>
                <a:ea typeface="+mj-ea"/>
                <a:cs typeface="+mj-cs"/>
              </a:defRPr>
            </a:lvl1pPr>
          </a:lstStyle>
          <a:p>
            <a:r>
              <a:rPr lang="en-US"/>
              <a:t>Click to add title</a:t>
            </a:r>
          </a:p>
        </p:txBody>
      </p:sp>
      <p:pic>
        <p:nvPicPr>
          <p:cNvPr id="2" name="Picture 1">
            <a:extLst>
              <a:ext uri="{FF2B5EF4-FFF2-40B4-BE49-F238E27FC236}">
                <a16:creationId xmlns:a16="http://schemas.microsoft.com/office/drawing/2014/main" id="{F908FC3D-5F5A-A42E-8958-BCB98344A14F}"/>
              </a:ext>
            </a:extLst>
          </p:cNvPr>
          <p:cNvPicPr>
            <a:picLocks noChangeAspect="1"/>
          </p:cNvPicPr>
          <p:nvPr userDrawn="1"/>
        </p:nvPicPr>
        <p:blipFill>
          <a:blip r:embed="rId7"/>
          <a:stretch>
            <a:fillRect/>
          </a:stretch>
        </p:blipFill>
        <p:spPr>
          <a:xfrm>
            <a:off x="5905500" y="0"/>
            <a:ext cx="6286500" cy="6858000"/>
          </a:xfrm>
          <a:prstGeom prst="rect">
            <a:avLst/>
          </a:prstGeom>
        </p:spPr>
      </p:pic>
    </p:spTree>
    <p:extLst>
      <p:ext uri="{BB962C8B-B14F-4D97-AF65-F5344CB8AC3E}">
        <p14:creationId xmlns:p14="http://schemas.microsoft.com/office/powerpoint/2010/main" val="188878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dditional 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AE19BA-75A8-4859-A045-1CFCE3961C54}"/>
              </a:ext>
            </a:extLst>
          </p:cNvPr>
          <p:cNvGraphicFramePr>
            <a:graphicFrameLocks noChangeAspect="1"/>
          </p:cNvGraphicFramePr>
          <p:nvPr userDrawn="1">
            <p:custDataLst>
              <p:tags r:id="rId1"/>
            </p:custDataLst>
            <p:extLst>
              <p:ext uri="{D42A27DB-BD31-4B8C-83A1-F6EECF244321}">
                <p14:modId xmlns:p14="http://schemas.microsoft.com/office/powerpoint/2010/main" val="182754175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72AE19BA-75A8-4859-A045-1CFCE3961C5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cxnSp>
        <p:nvCxnSpPr>
          <p:cNvPr id="8" name="Straight Connector 7">
            <a:extLst>
              <a:ext uri="{FF2B5EF4-FFF2-40B4-BE49-F238E27FC236}">
                <a16:creationId xmlns:a16="http://schemas.microsoft.com/office/drawing/2014/main" id="{00E30507-597B-496E-85BE-6051F7B09E8B}"/>
              </a:ext>
            </a:extLst>
          </p:cNvPr>
          <p:cNvCxnSpPr>
            <a:cxnSpLocks/>
          </p:cNvCxnSpPr>
          <p:nvPr userDrawn="1"/>
        </p:nvCxnSpPr>
        <p:spPr>
          <a:xfrm>
            <a:off x="457201" y="6352539"/>
            <a:ext cx="11277600" cy="0"/>
          </a:xfrm>
          <a:prstGeom prst="line">
            <a:avLst/>
          </a:prstGeom>
          <a:noFill/>
          <a:ln w="12700" cap="flat" cmpd="sng" algn="ctr">
            <a:solidFill>
              <a:srgbClr val="1F4675"/>
            </a:solidFill>
            <a:prstDash val="solid"/>
            <a:miter lim="800000"/>
          </a:ln>
          <a:effectLst/>
        </p:spPr>
      </p:cxnSp>
      <p:pic>
        <p:nvPicPr>
          <p:cNvPr id="9" name="Picture 8">
            <a:extLst>
              <a:ext uri="{FF2B5EF4-FFF2-40B4-BE49-F238E27FC236}">
                <a16:creationId xmlns:a16="http://schemas.microsoft.com/office/drawing/2014/main" id="{BA4241B7-FF7B-434F-B485-2DBCD6151A70}"/>
              </a:ext>
            </a:extLst>
          </p:cNvPr>
          <p:cNvPicPr>
            <a:picLocks noChangeAspect="1"/>
          </p:cNvPicPr>
          <p:nvPr userDrawn="1"/>
        </p:nvPicPr>
        <p:blipFill>
          <a:blip r:embed="rId5"/>
          <a:stretch>
            <a:fillRect/>
          </a:stretch>
        </p:blipFill>
        <p:spPr>
          <a:xfrm>
            <a:off x="9634732" y="240428"/>
            <a:ext cx="2100069" cy="590529"/>
          </a:xfrm>
          <a:prstGeom prst="rect">
            <a:avLst/>
          </a:prstGeom>
        </p:spPr>
      </p:pic>
      <p:sp>
        <p:nvSpPr>
          <p:cNvPr id="2" name="Title 1">
            <a:extLst>
              <a:ext uri="{FF2B5EF4-FFF2-40B4-BE49-F238E27FC236}">
                <a16:creationId xmlns:a16="http://schemas.microsoft.com/office/drawing/2014/main" id="{F169853D-7576-405B-A87A-B5FC1FA1D59F}"/>
              </a:ext>
            </a:extLst>
          </p:cNvPr>
          <p:cNvSpPr>
            <a:spLocks noGrp="1"/>
          </p:cNvSpPr>
          <p:nvPr>
            <p:ph type="title" hasCustomPrompt="1"/>
          </p:nvPr>
        </p:nvSpPr>
        <p:spPr>
          <a:xfrm>
            <a:off x="438150" y="377825"/>
            <a:ext cx="9105900" cy="369332"/>
          </a:xfrm>
        </p:spPr>
        <p:txBody>
          <a:bodyPr vert="horz"/>
          <a:lstStyle>
            <a:lvl1pPr>
              <a:defRPr sz="2400"/>
            </a:lvl1pPr>
          </a:lstStyle>
          <a:p>
            <a:r>
              <a:rPr lang="en-US"/>
              <a:t>Click to add title</a:t>
            </a:r>
          </a:p>
        </p:txBody>
      </p:sp>
      <p:sp>
        <p:nvSpPr>
          <p:cNvPr id="14" name="Text Placeholder 13">
            <a:extLst>
              <a:ext uri="{FF2B5EF4-FFF2-40B4-BE49-F238E27FC236}">
                <a16:creationId xmlns:a16="http://schemas.microsoft.com/office/drawing/2014/main" id="{432D13B4-0396-2500-67ED-07B60A929E25}"/>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3616327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Additional Title Only">
    <p:bg>
      <p:bgPr>
        <a:solidFill>
          <a:srgbClr val="F0EAE5"/>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AE19BA-75A8-4859-A045-1CFCE3961C54}"/>
              </a:ext>
            </a:extLst>
          </p:cNvPr>
          <p:cNvGraphicFramePr>
            <a:graphicFrameLocks noChangeAspect="1"/>
          </p:cNvGraphicFramePr>
          <p:nvPr userDrawn="1">
            <p:custDataLst>
              <p:tags r:id="rId1"/>
            </p:custDataLst>
            <p:extLst>
              <p:ext uri="{D42A27DB-BD31-4B8C-83A1-F6EECF244321}">
                <p14:modId xmlns:p14="http://schemas.microsoft.com/office/powerpoint/2010/main" val="182754175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72AE19BA-75A8-4859-A045-1CFCE3961C5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cxnSp>
        <p:nvCxnSpPr>
          <p:cNvPr id="8" name="Straight Connector 7">
            <a:extLst>
              <a:ext uri="{FF2B5EF4-FFF2-40B4-BE49-F238E27FC236}">
                <a16:creationId xmlns:a16="http://schemas.microsoft.com/office/drawing/2014/main" id="{00E30507-597B-496E-85BE-6051F7B09E8B}"/>
              </a:ext>
            </a:extLst>
          </p:cNvPr>
          <p:cNvCxnSpPr>
            <a:cxnSpLocks/>
          </p:cNvCxnSpPr>
          <p:nvPr userDrawn="1"/>
        </p:nvCxnSpPr>
        <p:spPr>
          <a:xfrm>
            <a:off x="457201" y="6352539"/>
            <a:ext cx="11277600" cy="0"/>
          </a:xfrm>
          <a:prstGeom prst="line">
            <a:avLst/>
          </a:prstGeom>
          <a:noFill/>
          <a:ln w="12700" cap="flat" cmpd="sng" algn="ctr">
            <a:solidFill>
              <a:srgbClr val="1F4675"/>
            </a:solidFill>
            <a:prstDash val="solid"/>
            <a:miter lim="800000"/>
          </a:ln>
          <a:effectLst/>
        </p:spPr>
      </p:cxnSp>
      <p:pic>
        <p:nvPicPr>
          <p:cNvPr id="9" name="Picture 8">
            <a:extLst>
              <a:ext uri="{FF2B5EF4-FFF2-40B4-BE49-F238E27FC236}">
                <a16:creationId xmlns:a16="http://schemas.microsoft.com/office/drawing/2014/main" id="{BA4241B7-FF7B-434F-B485-2DBCD6151A70}"/>
              </a:ext>
            </a:extLst>
          </p:cNvPr>
          <p:cNvPicPr>
            <a:picLocks noChangeAspect="1"/>
          </p:cNvPicPr>
          <p:nvPr userDrawn="1"/>
        </p:nvPicPr>
        <p:blipFill>
          <a:blip r:embed="rId5"/>
          <a:stretch>
            <a:fillRect/>
          </a:stretch>
        </p:blipFill>
        <p:spPr>
          <a:xfrm>
            <a:off x="9634732" y="240428"/>
            <a:ext cx="2100069" cy="590529"/>
          </a:xfrm>
          <a:prstGeom prst="rect">
            <a:avLst/>
          </a:prstGeom>
        </p:spPr>
      </p:pic>
      <p:sp>
        <p:nvSpPr>
          <p:cNvPr id="2" name="Title 1">
            <a:extLst>
              <a:ext uri="{FF2B5EF4-FFF2-40B4-BE49-F238E27FC236}">
                <a16:creationId xmlns:a16="http://schemas.microsoft.com/office/drawing/2014/main" id="{F169853D-7576-405B-A87A-B5FC1FA1D59F}"/>
              </a:ext>
            </a:extLst>
          </p:cNvPr>
          <p:cNvSpPr>
            <a:spLocks noGrp="1"/>
          </p:cNvSpPr>
          <p:nvPr>
            <p:ph type="title" hasCustomPrompt="1"/>
          </p:nvPr>
        </p:nvSpPr>
        <p:spPr>
          <a:xfrm>
            <a:off x="438150" y="377825"/>
            <a:ext cx="9105900" cy="369332"/>
          </a:xfrm>
        </p:spPr>
        <p:txBody>
          <a:bodyPr vert="horz"/>
          <a:lstStyle>
            <a:lvl1pPr>
              <a:defRPr sz="2400"/>
            </a:lvl1pPr>
          </a:lstStyle>
          <a:p>
            <a:r>
              <a:rPr lang="en-US"/>
              <a:t>Click to add title</a:t>
            </a:r>
          </a:p>
        </p:txBody>
      </p:sp>
      <p:pic>
        <p:nvPicPr>
          <p:cNvPr id="3" name="Picture 2">
            <a:extLst>
              <a:ext uri="{FF2B5EF4-FFF2-40B4-BE49-F238E27FC236}">
                <a16:creationId xmlns:a16="http://schemas.microsoft.com/office/drawing/2014/main" id="{9CF2C873-EA88-A3B7-83A2-60F10F0CB0A7}"/>
              </a:ext>
            </a:extLst>
          </p:cNvPr>
          <p:cNvPicPr>
            <a:picLocks noChangeAspect="1"/>
          </p:cNvPicPr>
          <p:nvPr userDrawn="1"/>
        </p:nvPicPr>
        <p:blipFill>
          <a:blip r:embed="rId6">
            <a:alphaModFix amt="5000"/>
          </a:blip>
          <a:stretch>
            <a:fillRect/>
          </a:stretch>
        </p:blipFill>
        <p:spPr>
          <a:xfrm>
            <a:off x="1667810" y="4422025"/>
            <a:ext cx="8857129" cy="2436534"/>
          </a:xfrm>
          <a:prstGeom prst="rect">
            <a:avLst/>
          </a:prstGeom>
        </p:spPr>
      </p:pic>
      <p:sp>
        <p:nvSpPr>
          <p:cNvPr id="6" name="Text Placeholder 13">
            <a:extLst>
              <a:ext uri="{FF2B5EF4-FFF2-40B4-BE49-F238E27FC236}">
                <a16:creationId xmlns:a16="http://schemas.microsoft.com/office/drawing/2014/main" id="{A285EE94-8AD9-8B5A-10E1-D5E305DCDE91}"/>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3571572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Additional Title Only">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AE19BA-75A8-4859-A045-1CFCE3961C54}"/>
              </a:ext>
            </a:extLst>
          </p:cNvPr>
          <p:cNvGraphicFramePr>
            <a:graphicFrameLocks noChangeAspect="1"/>
          </p:cNvGraphicFramePr>
          <p:nvPr userDrawn="1">
            <p:custDataLst>
              <p:tags r:id="rId1"/>
            </p:custDataLst>
            <p:extLst>
              <p:ext uri="{D42A27DB-BD31-4B8C-83A1-F6EECF244321}">
                <p14:modId xmlns:p14="http://schemas.microsoft.com/office/powerpoint/2010/main" val="182754175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72AE19BA-75A8-4859-A045-1CFCE3961C5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cxnSp>
        <p:nvCxnSpPr>
          <p:cNvPr id="8" name="Straight Connector 7">
            <a:extLst>
              <a:ext uri="{FF2B5EF4-FFF2-40B4-BE49-F238E27FC236}">
                <a16:creationId xmlns:a16="http://schemas.microsoft.com/office/drawing/2014/main" id="{00E30507-597B-496E-85BE-6051F7B09E8B}"/>
              </a:ext>
            </a:extLst>
          </p:cNvPr>
          <p:cNvCxnSpPr>
            <a:cxnSpLocks/>
          </p:cNvCxnSpPr>
          <p:nvPr userDrawn="1"/>
        </p:nvCxnSpPr>
        <p:spPr>
          <a:xfrm>
            <a:off x="457201" y="6352539"/>
            <a:ext cx="11277600" cy="0"/>
          </a:xfrm>
          <a:prstGeom prst="line">
            <a:avLst/>
          </a:prstGeom>
          <a:noFill/>
          <a:ln w="12700" cap="flat" cmpd="sng" algn="ctr">
            <a:solidFill>
              <a:srgbClr val="1F4675"/>
            </a:solidFill>
            <a:prstDash val="solid"/>
            <a:miter lim="800000"/>
          </a:ln>
          <a:effectLst/>
        </p:spPr>
      </p:cxnSp>
      <p:pic>
        <p:nvPicPr>
          <p:cNvPr id="9" name="Picture 8">
            <a:extLst>
              <a:ext uri="{FF2B5EF4-FFF2-40B4-BE49-F238E27FC236}">
                <a16:creationId xmlns:a16="http://schemas.microsoft.com/office/drawing/2014/main" id="{BA4241B7-FF7B-434F-B485-2DBCD6151A70}"/>
              </a:ext>
            </a:extLst>
          </p:cNvPr>
          <p:cNvPicPr>
            <a:picLocks noChangeAspect="1"/>
          </p:cNvPicPr>
          <p:nvPr userDrawn="1"/>
        </p:nvPicPr>
        <p:blipFill>
          <a:blip r:embed="rId5"/>
          <a:stretch>
            <a:fillRect/>
          </a:stretch>
        </p:blipFill>
        <p:spPr>
          <a:xfrm>
            <a:off x="9634732" y="240428"/>
            <a:ext cx="2100069" cy="590529"/>
          </a:xfrm>
          <a:prstGeom prst="rect">
            <a:avLst/>
          </a:prstGeom>
        </p:spPr>
      </p:pic>
      <p:sp>
        <p:nvSpPr>
          <p:cNvPr id="2" name="Title 1">
            <a:extLst>
              <a:ext uri="{FF2B5EF4-FFF2-40B4-BE49-F238E27FC236}">
                <a16:creationId xmlns:a16="http://schemas.microsoft.com/office/drawing/2014/main" id="{F169853D-7576-405B-A87A-B5FC1FA1D59F}"/>
              </a:ext>
            </a:extLst>
          </p:cNvPr>
          <p:cNvSpPr>
            <a:spLocks noGrp="1"/>
          </p:cNvSpPr>
          <p:nvPr>
            <p:ph type="title" hasCustomPrompt="1"/>
          </p:nvPr>
        </p:nvSpPr>
        <p:spPr>
          <a:xfrm>
            <a:off x="438150" y="377825"/>
            <a:ext cx="9105900" cy="369332"/>
          </a:xfrm>
        </p:spPr>
        <p:txBody>
          <a:bodyPr vert="horz"/>
          <a:lstStyle>
            <a:lvl1pPr>
              <a:defRPr sz="2400"/>
            </a:lvl1pPr>
          </a:lstStyle>
          <a:p>
            <a:r>
              <a:rPr lang="en-US"/>
              <a:t>Click to add title</a:t>
            </a:r>
          </a:p>
        </p:txBody>
      </p:sp>
      <p:pic>
        <p:nvPicPr>
          <p:cNvPr id="3" name="Picture 2">
            <a:extLst>
              <a:ext uri="{FF2B5EF4-FFF2-40B4-BE49-F238E27FC236}">
                <a16:creationId xmlns:a16="http://schemas.microsoft.com/office/drawing/2014/main" id="{9CF2C873-EA88-A3B7-83A2-60F10F0CB0A7}"/>
              </a:ext>
            </a:extLst>
          </p:cNvPr>
          <p:cNvPicPr>
            <a:picLocks noChangeAspect="1"/>
          </p:cNvPicPr>
          <p:nvPr userDrawn="1"/>
        </p:nvPicPr>
        <p:blipFill>
          <a:blip r:embed="rId6">
            <a:alphaModFix amt="5000"/>
          </a:blip>
          <a:stretch>
            <a:fillRect/>
          </a:stretch>
        </p:blipFill>
        <p:spPr>
          <a:xfrm>
            <a:off x="1667810" y="4422025"/>
            <a:ext cx="8857129" cy="2436534"/>
          </a:xfrm>
          <a:prstGeom prst="rect">
            <a:avLst/>
          </a:prstGeom>
        </p:spPr>
      </p:pic>
      <p:sp>
        <p:nvSpPr>
          <p:cNvPr id="6" name="Text Placeholder 13">
            <a:extLst>
              <a:ext uri="{FF2B5EF4-FFF2-40B4-BE49-F238E27FC236}">
                <a16:creationId xmlns:a16="http://schemas.microsoft.com/office/drawing/2014/main" id="{164EAB54-618A-B064-1D97-01C05486E55F}"/>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750415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Additional Title Only">
    <p:bg>
      <p:bgPr>
        <a:solidFill>
          <a:srgbClr val="F0EAE5"/>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AE19BA-75A8-4859-A045-1CFCE3961C54}"/>
              </a:ext>
            </a:extLst>
          </p:cNvPr>
          <p:cNvGraphicFramePr>
            <a:graphicFrameLocks noChangeAspect="1"/>
          </p:cNvGraphicFramePr>
          <p:nvPr userDrawn="1">
            <p:custDataLst>
              <p:tags r:id="rId1"/>
            </p:custDataLst>
            <p:extLst>
              <p:ext uri="{D42A27DB-BD31-4B8C-83A1-F6EECF244321}">
                <p14:modId xmlns:p14="http://schemas.microsoft.com/office/powerpoint/2010/main" val="182754175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72AE19BA-75A8-4859-A045-1CFCE3961C5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cxnSp>
        <p:nvCxnSpPr>
          <p:cNvPr id="8" name="Straight Connector 7">
            <a:extLst>
              <a:ext uri="{FF2B5EF4-FFF2-40B4-BE49-F238E27FC236}">
                <a16:creationId xmlns:a16="http://schemas.microsoft.com/office/drawing/2014/main" id="{00E30507-597B-496E-85BE-6051F7B09E8B}"/>
              </a:ext>
            </a:extLst>
          </p:cNvPr>
          <p:cNvCxnSpPr>
            <a:cxnSpLocks/>
          </p:cNvCxnSpPr>
          <p:nvPr userDrawn="1"/>
        </p:nvCxnSpPr>
        <p:spPr>
          <a:xfrm>
            <a:off x="457201" y="6352539"/>
            <a:ext cx="11277600" cy="0"/>
          </a:xfrm>
          <a:prstGeom prst="line">
            <a:avLst/>
          </a:prstGeom>
          <a:noFill/>
          <a:ln w="12700" cap="flat" cmpd="sng" algn="ctr">
            <a:solidFill>
              <a:srgbClr val="1F4675"/>
            </a:solidFill>
            <a:prstDash val="solid"/>
            <a:miter lim="800000"/>
          </a:ln>
          <a:effectLst/>
        </p:spPr>
      </p:cxnSp>
      <p:pic>
        <p:nvPicPr>
          <p:cNvPr id="9" name="Picture 8">
            <a:extLst>
              <a:ext uri="{FF2B5EF4-FFF2-40B4-BE49-F238E27FC236}">
                <a16:creationId xmlns:a16="http://schemas.microsoft.com/office/drawing/2014/main" id="{BA4241B7-FF7B-434F-B485-2DBCD6151A70}"/>
              </a:ext>
            </a:extLst>
          </p:cNvPr>
          <p:cNvPicPr>
            <a:picLocks noChangeAspect="1"/>
          </p:cNvPicPr>
          <p:nvPr userDrawn="1"/>
        </p:nvPicPr>
        <p:blipFill>
          <a:blip r:embed="rId5"/>
          <a:stretch>
            <a:fillRect/>
          </a:stretch>
        </p:blipFill>
        <p:spPr>
          <a:xfrm>
            <a:off x="9634732" y="240428"/>
            <a:ext cx="2100069" cy="590529"/>
          </a:xfrm>
          <a:prstGeom prst="rect">
            <a:avLst/>
          </a:prstGeom>
        </p:spPr>
      </p:pic>
      <p:sp>
        <p:nvSpPr>
          <p:cNvPr id="2" name="Title 1">
            <a:extLst>
              <a:ext uri="{FF2B5EF4-FFF2-40B4-BE49-F238E27FC236}">
                <a16:creationId xmlns:a16="http://schemas.microsoft.com/office/drawing/2014/main" id="{F169853D-7576-405B-A87A-B5FC1FA1D59F}"/>
              </a:ext>
            </a:extLst>
          </p:cNvPr>
          <p:cNvSpPr>
            <a:spLocks noGrp="1"/>
          </p:cNvSpPr>
          <p:nvPr>
            <p:ph type="title" hasCustomPrompt="1"/>
          </p:nvPr>
        </p:nvSpPr>
        <p:spPr>
          <a:xfrm>
            <a:off x="438150" y="377825"/>
            <a:ext cx="9105900" cy="369332"/>
          </a:xfrm>
        </p:spPr>
        <p:txBody>
          <a:bodyPr vert="horz"/>
          <a:lstStyle>
            <a:lvl1pPr>
              <a:defRPr sz="2400"/>
            </a:lvl1pPr>
          </a:lstStyle>
          <a:p>
            <a:r>
              <a:rPr lang="en-US"/>
              <a:t>Click to add title</a:t>
            </a:r>
          </a:p>
        </p:txBody>
      </p:sp>
      <p:pic>
        <p:nvPicPr>
          <p:cNvPr id="5" name="Picture 4">
            <a:extLst>
              <a:ext uri="{FF2B5EF4-FFF2-40B4-BE49-F238E27FC236}">
                <a16:creationId xmlns:a16="http://schemas.microsoft.com/office/drawing/2014/main" id="{5537AB84-717B-D482-CF2A-04F153A24D5D}"/>
              </a:ext>
            </a:extLst>
          </p:cNvPr>
          <p:cNvPicPr>
            <a:picLocks noChangeAspect="1"/>
          </p:cNvPicPr>
          <p:nvPr userDrawn="1"/>
        </p:nvPicPr>
        <p:blipFill rotWithShape="1">
          <a:blip r:embed="rId6" cstate="screen">
            <a:alphaModFix amt="5000"/>
            <a:extLst>
              <a:ext uri="{28A0092B-C50C-407E-A947-70E740481C1C}">
                <a14:useLocalDpi xmlns:a14="http://schemas.microsoft.com/office/drawing/2010/main"/>
              </a:ext>
            </a:extLst>
          </a:blip>
          <a:srcRect/>
          <a:stretch/>
        </p:blipFill>
        <p:spPr>
          <a:xfrm>
            <a:off x="7243506" y="0"/>
            <a:ext cx="4948494" cy="3821024"/>
          </a:xfrm>
          <a:prstGeom prst="rect">
            <a:avLst/>
          </a:prstGeom>
        </p:spPr>
      </p:pic>
      <p:sp>
        <p:nvSpPr>
          <p:cNvPr id="6" name="Text Placeholder 13">
            <a:extLst>
              <a:ext uri="{FF2B5EF4-FFF2-40B4-BE49-F238E27FC236}">
                <a16:creationId xmlns:a16="http://schemas.microsoft.com/office/drawing/2014/main" id="{ECBA31E9-0C97-F7C5-72EE-75D479DD6D53}"/>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2052229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AE19BA-75A8-4859-A045-1CFCE3961C54}"/>
              </a:ext>
            </a:extLst>
          </p:cNvPr>
          <p:cNvGraphicFramePr>
            <a:graphicFrameLocks noChangeAspect="1"/>
          </p:cNvGraphicFramePr>
          <p:nvPr userDrawn="1">
            <p:custDataLst>
              <p:tags r:id="rId1"/>
            </p:custDataLst>
            <p:extLst>
              <p:ext uri="{D42A27DB-BD31-4B8C-83A1-F6EECF244321}">
                <p14:modId xmlns:p14="http://schemas.microsoft.com/office/powerpoint/2010/main" val="41208606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72AE19BA-75A8-4859-A045-1CFCE3961C5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12" name="Picture 11">
            <a:extLst>
              <a:ext uri="{FF2B5EF4-FFF2-40B4-BE49-F238E27FC236}">
                <a16:creationId xmlns:a16="http://schemas.microsoft.com/office/drawing/2014/main" id="{7EAEDF3D-CF5F-4362-860C-23130E7F0448}"/>
              </a:ext>
            </a:extLst>
          </p:cNvPr>
          <p:cNvPicPr>
            <a:picLocks noChangeAspect="1"/>
          </p:cNvPicPr>
          <p:nvPr userDrawn="1"/>
        </p:nvPicPr>
        <p:blipFill rotWithShape="1">
          <a:blip r:embed="rId5" cstate="screen">
            <a:alphaModFix amt="5000"/>
            <a:extLst>
              <a:ext uri="{28A0092B-C50C-407E-A947-70E740481C1C}">
                <a14:useLocalDpi xmlns:a14="http://schemas.microsoft.com/office/drawing/2010/main"/>
              </a:ext>
            </a:extLst>
          </a:blip>
          <a:srcRect/>
          <a:stretch/>
        </p:blipFill>
        <p:spPr>
          <a:xfrm>
            <a:off x="7243506" y="0"/>
            <a:ext cx="4948494" cy="3821024"/>
          </a:xfrm>
          <a:prstGeom prst="rect">
            <a:avLst/>
          </a:prstGeom>
        </p:spPr>
      </p:pic>
      <p:cxnSp>
        <p:nvCxnSpPr>
          <p:cNvPr id="15" name="Straight Connector 14">
            <a:extLst>
              <a:ext uri="{FF2B5EF4-FFF2-40B4-BE49-F238E27FC236}">
                <a16:creationId xmlns:a16="http://schemas.microsoft.com/office/drawing/2014/main" id="{AB6143C2-52DA-40B7-8D73-1074D788F767}"/>
              </a:ext>
            </a:extLst>
          </p:cNvPr>
          <p:cNvCxnSpPr>
            <a:cxnSpLocks/>
          </p:cNvCxnSpPr>
          <p:nvPr userDrawn="1"/>
        </p:nvCxnSpPr>
        <p:spPr>
          <a:xfrm>
            <a:off x="457201" y="6352539"/>
            <a:ext cx="11277600" cy="0"/>
          </a:xfrm>
          <a:prstGeom prst="line">
            <a:avLst/>
          </a:prstGeom>
          <a:noFill/>
          <a:ln w="12700" cap="flat" cmpd="sng" algn="ctr">
            <a:solidFill>
              <a:srgbClr val="1F4675"/>
            </a:solidFill>
            <a:prstDash val="solid"/>
            <a:miter lim="800000"/>
          </a:ln>
          <a:effectLst/>
        </p:spPr>
      </p:cxnSp>
      <p:sp>
        <p:nvSpPr>
          <p:cNvPr id="5" name="Title 4">
            <a:extLst>
              <a:ext uri="{FF2B5EF4-FFF2-40B4-BE49-F238E27FC236}">
                <a16:creationId xmlns:a16="http://schemas.microsoft.com/office/drawing/2014/main" id="{27F1C896-A6FD-4887-B8AA-6FC35EFA3723}"/>
              </a:ext>
            </a:extLst>
          </p:cNvPr>
          <p:cNvSpPr>
            <a:spLocks noGrp="1"/>
          </p:cNvSpPr>
          <p:nvPr>
            <p:ph type="title" hasCustomPrompt="1"/>
          </p:nvPr>
        </p:nvSpPr>
        <p:spPr>
          <a:xfrm>
            <a:off x="438150" y="377824"/>
            <a:ext cx="9105900" cy="365760"/>
          </a:xfrm>
        </p:spPr>
        <p:txBody>
          <a:bodyPr vert="horz"/>
          <a:lstStyle>
            <a:lvl1pPr>
              <a:defRPr sz="2400"/>
            </a:lvl1pPr>
          </a:lstStyle>
          <a:p>
            <a:r>
              <a:rPr lang="en-US"/>
              <a:t>Click to add title</a:t>
            </a:r>
          </a:p>
        </p:txBody>
      </p:sp>
      <p:pic>
        <p:nvPicPr>
          <p:cNvPr id="6" name="Picture 5">
            <a:extLst>
              <a:ext uri="{FF2B5EF4-FFF2-40B4-BE49-F238E27FC236}">
                <a16:creationId xmlns:a16="http://schemas.microsoft.com/office/drawing/2014/main" id="{522DE941-2363-6741-3DB3-AD97824898D1}"/>
              </a:ext>
            </a:extLst>
          </p:cNvPr>
          <p:cNvPicPr>
            <a:picLocks noChangeAspect="1"/>
          </p:cNvPicPr>
          <p:nvPr userDrawn="1"/>
        </p:nvPicPr>
        <p:blipFill>
          <a:blip r:embed="rId6"/>
          <a:stretch>
            <a:fillRect/>
          </a:stretch>
        </p:blipFill>
        <p:spPr>
          <a:xfrm>
            <a:off x="9634732" y="240428"/>
            <a:ext cx="2100069" cy="590529"/>
          </a:xfrm>
          <a:prstGeom prst="rect">
            <a:avLst/>
          </a:prstGeom>
        </p:spPr>
      </p:pic>
      <p:sp>
        <p:nvSpPr>
          <p:cNvPr id="3" name="Text Placeholder 13">
            <a:extLst>
              <a:ext uri="{FF2B5EF4-FFF2-40B4-BE49-F238E27FC236}">
                <a16:creationId xmlns:a16="http://schemas.microsoft.com/office/drawing/2014/main" id="{8B115AB0-A980-4AC9-EC84-1929F25E8C65}"/>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2722722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6C4FC2-C16F-4864-8A5A-A2C69EC1429A}"/>
              </a:ext>
            </a:extLst>
          </p:cNvPr>
          <p:cNvGraphicFramePr>
            <a:graphicFrameLocks noChangeAspect="1"/>
          </p:cNvGraphicFramePr>
          <p:nvPr userDrawn="1">
            <p:custDataLst>
              <p:tags r:id="rId1"/>
            </p:custDataLst>
            <p:extLst>
              <p:ext uri="{D42A27DB-BD31-4B8C-83A1-F6EECF244321}">
                <p14:modId xmlns:p14="http://schemas.microsoft.com/office/powerpoint/2010/main" val="106847749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5E6C4FC2-C16F-4864-8A5A-A2C69EC1429A}"/>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38150" y="1816918"/>
            <a:ext cx="11315702" cy="4079874"/>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solidFill>
                  <a:srgbClr val="1F4675"/>
                </a:solidFill>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14" name="Picture 13">
            <a:extLst>
              <a:ext uri="{FF2B5EF4-FFF2-40B4-BE49-F238E27FC236}">
                <a16:creationId xmlns:a16="http://schemas.microsoft.com/office/drawing/2014/main" id="{7A32596E-9D55-44CE-B7CE-DEC67FE74CAF}"/>
              </a:ext>
            </a:extLst>
          </p:cNvPr>
          <p:cNvPicPr>
            <a:picLocks noChangeAspect="1"/>
          </p:cNvPicPr>
          <p:nvPr userDrawn="1"/>
        </p:nvPicPr>
        <p:blipFill rotWithShape="1">
          <a:blip r:embed="rId5" cstate="screen">
            <a:alphaModFix amt="5000"/>
            <a:extLst>
              <a:ext uri="{28A0092B-C50C-407E-A947-70E740481C1C}">
                <a14:useLocalDpi xmlns:a14="http://schemas.microsoft.com/office/drawing/2010/main"/>
              </a:ext>
            </a:extLst>
          </a:blip>
          <a:srcRect/>
          <a:stretch/>
        </p:blipFill>
        <p:spPr>
          <a:xfrm>
            <a:off x="7243506" y="0"/>
            <a:ext cx="4948494" cy="3821024"/>
          </a:xfrm>
          <a:prstGeom prst="rect">
            <a:avLst/>
          </a:prstGeom>
        </p:spPr>
      </p:pic>
      <p:cxnSp>
        <p:nvCxnSpPr>
          <p:cNvPr id="15" name="Straight Connector 14">
            <a:extLst>
              <a:ext uri="{FF2B5EF4-FFF2-40B4-BE49-F238E27FC236}">
                <a16:creationId xmlns:a16="http://schemas.microsoft.com/office/drawing/2014/main" id="{A23401C7-A57D-4611-A646-3679DDCFA3DB}"/>
              </a:ext>
            </a:extLst>
          </p:cNvPr>
          <p:cNvCxnSpPr>
            <a:cxnSpLocks/>
          </p:cNvCxnSpPr>
          <p:nvPr userDrawn="1"/>
        </p:nvCxnSpPr>
        <p:spPr>
          <a:xfrm>
            <a:off x="457201" y="6352539"/>
            <a:ext cx="11277600" cy="0"/>
          </a:xfrm>
          <a:prstGeom prst="line">
            <a:avLst/>
          </a:prstGeom>
          <a:noFill/>
          <a:ln w="12700" cap="flat" cmpd="sng" algn="ctr">
            <a:solidFill>
              <a:srgbClr val="1F4675"/>
            </a:solidFill>
            <a:prstDash val="solid"/>
            <a:miter lim="800000"/>
          </a:ln>
          <a:effectLst/>
        </p:spPr>
      </p:cxnSp>
      <p:pic>
        <p:nvPicPr>
          <p:cNvPr id="16" name="Picture 15">
            <a:extLst>
              <a:ext uri="{FF2B5EF4-FFF2-40B4-BE49-F238E27FC236}">
                <a16:creationId xmlns:a16="http://schemas.microsoft.com/office/drawing/2014/main" id="{7801630F-80C6-41C1-92CD-902E35B13E41}"/>
              </a:ext>
            </a:extLst>
          </p:cNvPr>
          <p:cNvPicPr>
            <a:picLocks noChangeAspect="1"/>
          </p:cNvPicPr>
          <p:nvPr userDrawn="1"/>
        </p:nvPicPr>
        <p:blipFill>
          <a:blip r:embed="rId6"/>
          <a:stretch>
            <a:fillRect/>
          </a:stretch>
        </p:blipFill>
        <p:spPr>
          <a:xfrm>
            <a:off x="9634732" y="240428"/>
            <a:ext cx="2100069" cy="590529"/>
          </a:xfrm>
          <a:prstGeom prst="rect">
            <a:avLst/>
          </a:prstGeom>
        </p:spPr>
      </p:pic>
      <p:sp>
        <p:nvSpPr>
          <p:cNvPr id="2" name="Title 1">
            <a:extLst>
              <a:ext uri="{FF2B5EF4-FFF2-40B4-BE49-F238E27FC236}">
                <a16:creationId xmlns:a16="http://schemas.microsoft.com/office/drawing/2014/main" id="{062887C5-ABDE-4177-A3E8-39435CE272E4}"/>
              </a:ext>
            </a:extLst>
          </p:cNvPr>
          <p:cNvSpPr>
            <a:spLocks noGrp="1"/>
          </p:cNvSpPr>
          <p:nvPr>
            <p:ph type="title" hasCustomPrompt="1"/>
          </p:nvPr>
        </p:nvSpPr>
        <p:spPr>
          <a:xfrm>
            <a:off x="438150" y="377824"/>
            <a:ext cx="9105900" cy="365760"/>
          </a:xfrm>
        </p:spPr>
        <p:txBody>
          <a:bodyPr vert="horz"/>
          <a:lstStyle>
            <a:lvl1pPr>
              <a:defRPr sz="2400"/>
            </a:lvl1pPr>
          </a:lstStyle>
          <a:p>
            <a:r>
              <a:rPr lang="en-US"/>
              <a:t>Click to add title</a:t>
            </a:r>
          </a:p>
        </p:txBody>
      </p:sp>
      <p:sp>
        <p:nvSpPr>
          <p:cNvPr id="6" name="Text Placeholder 13">
            <a:extLst>
              <a:ext uri="{FF2B5EF4-FFF2-40B4-BE49-F238E27FC236}">
                <a16:creationId xmlns:a16="http://schemas.microsoft.com/office/drawing/2014/main" id="{847AE42C-62DB-365E-AB73-290C5AA4B50A}"/>
              </a:ext>
            </a:extLst>
          </p:cNvPr>
          <p:cNvSpPr>
            <a:spLocks noGrp="1"/>
          </p:cNvSpPr>
          <p:nvPr>
            <p:ph type="body" sz="quarter" idx="11"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274046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65981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5E30E5C-1A7B-4750-8AFA-46CABAE57C79}"/>
              </a:ext>
            </a:extLst>
          </p:cNvPr>
          <p:cNvGraphicFramePr>
            <a:graphicFrameLocks noChangeAspect="1"/>
          </p:cNvGraphicFramePr>
          <p:nvPr userDrawn="1">
            <p:custDataLst>
              <p:tags r:id="rId1"/>
            </p:custDataLst>
            <p:extLst>
              <p:ext uri="{D42A27DB-BD31-4B8C-83A1-F6EECF244321}">
                <p14:modId xmlns:p14="http://schemas.microsoft.com/office/powerpoint/2010/main" val="24657977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75E30E5C-1A7B-4750-8AFA-46CABAE57C79}"/>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8" name="Rectangle 7"/>
          <p:cNvSpPr/>
          <p:nvPr userDrawn="1"/>
        </p:nvSpPr>
        <p:spPr bwMode="ltGray">
          <a:xfrm>
            <a:off x="1" y="-1308"/>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438149" y="1544274"/>
            <a:ext cx="3416587" cy="1495794"/>
          </a:xfrm>
          <a:noFill/>
        </p:spPr>
        <p:txBody>
          <a:bodyPr vert="horz" wrap="square" lIns="0" tIns="0" rIns="0" bIns="0" anchor="b">
            <a:noAutofit/>
          </a:bodyPr>
          <a:lstStyle>
            <a:lvl1pPr>
              <a:defRPr sz="24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cxnSp>
        <p:nvCxnSpPr>
          <p:cNvPr id="3" name="Straight Connector 2">
            <a:extLst>
              <a:ext uri="{FF2B5EF4-FFF2-40B4-BE49-F238E27FC236}">
                <a16:creationId xmlns:a16="http://schemas.microsoft.com/office/drawing/2014/main" id="{D9031A5C-9D08-9D18-05C0-E6AD4C9C597F}"/>
              </a:ext>
            </a:extLst>
          </p:cNvPr>
          <p:cNvCxnSpPr>
            <a:cxnSpLocks/>
          </p:cNvCxnSpPr>
          <p:nvPr userDrawn="1"/>
        </p:nvCxnSpPr>
        <p:spPr>
          <a:xfrm>
            <a:off x="457201" y="6352539"/>
            <a:ext cx="11277600" cy="0"/>
          </a:xfrm>
          <a:prstGeom prst="line">
            <a:avLst/>
          </a:prstGeom>
          <a:noFill/>
          <a:ln w="12700" cap="flat" cmpd="sng" algn="ctr">
            <a:solidFill>
              <a:srgbClr val="1F4675"/>
            </a:solidFill>
            <a:prstDash val="solid"/>
            <a:miter lim="800000"/>
          </a:ln>
          <a:effectLst/>
        </p:spPr>
      </p:cxnSp>
      <p:sp>
        <p:nvSpPr>
          <p:cNvPr id="5" name="Text Placeholder 13">
            <a:extLst>
              <a:ext uri="{FF2B5EF4-FFF2-40B4-BE49-F238E27FC236}">
                <a16:creationId xmlns:a16="http://schemas.microsoft.com/office/drawing/2014/main" id="{F8EDFDE3-44B2-050B-3552-4D60646DC9D8}"/>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2277035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p:bg bwMode="grayWhite">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F92104-F3E0-4B5D-9B8C-10E49ACD382D}"/>
              </a:ext>
            </a:extLst>
          </p:cNvPr>
          <p:cNvGraphicFramePr>
            <a:graphicFrameLocks noChangeAspect="1"/>
          </p:cNvGraphicFramePr>
          <p:nvPr userDrawn="1">
            <p:custDataLst>
              <p:tags r:id="rId1"/>
            </p:custDataLst>
            <p:extLst>
              <p:ext uri="{D42A27DB-BD31-4B8C-83A1-F6EECF244321}">
                <p14:modId xmlns:p14="http://schemas.microsoft.com/office/powerpoint/2010/main" val="364080941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6" name="think-cell data - do not delete" hidden="1">
                        <a:extLst>
                          <a:ext uri="{FF2B5EF4-FFF2-40B4-BE49-F238E27FC236}">
                            <a16:creationId xmlns:a16="http://schemas.microsoft.com/office/drawing/2014/main" id="{74F92104-F3E0-4B5D-9B8C-10E49ACD382D}"/>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vert="horz" lIns="274320" tIns="274320" rIns="274320" bIns="137160" anchor="b">
            <a:noAutofit/>
          </a:bodyPr>
          <a:lstStyle>
            <a:lvl1pPr marL="0" algn="l" defTabSz="914358"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5" name="Slide Number Placeholder 5">
            <a:extLst>
              <a:ext uri="{FF2B5EF4-FFF2-40B4-BE49-F238E27FC236}">
                <a16:creationId xmlns:a16="http://schemas.microsoft.com/office/drawing/2014/main" id="{1965A025-C2C7-406D-BC46-9271DDA79F41}"/>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5" name="Text Placeholder 13">
            <a:extLst>
              <a:ext uri="{FF2B5EF4-FFF2-40B4-BE49-F238E27FC236}">
                <a16:creationId xmlns:a16="http://schemas.microsoft.com/office/drawing/2014/main" id="{77173052-146A-97F2-9033-3501C56EF754}"/>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1500252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C776160-7F83-43FD-B76F-CE1908F17AB9}"/>
              </a:ext>
            </a:extLst>
          </p:cNvPr>
          <p:cNvGraphicFramePr>
            <a:graphicFrameLocks noChangeAspect="1"/>
          </p:cNvGraphicFramePr>
          <p:nvPr userDrawn="1">
            <p:custDataLst>
              <p:tags r:id="rId1"/>
            </p:custDataLst>
            <p:extLst>
              <p:ext uri="{D42A27DB-BD31-4B8C-83A1-F6EECF244321}">
                <p14:modId xmlns:p14="http://schemas.microsoft.com/office/powerpoint/2010/main" val="246799377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2C776160-7F83-43FD-B76F-CE1908F17AB9}"/>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438150" y="3826800"/>
            <a:ext cx="11335267"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38150" y="3680016"/>
            <a:ext cx="11757053"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09A3100B-DC8E-46D6-B733-9F3C13AC91FA}"/>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4" name="Text Placeholder 13">
            <a:extLst>
              <a:ext uri="{FF2B5EF4-FFF2-40B4-BE49-F238E27FC236}">
                <a16:creationId xmlns:a16="http://schemas.microsoft.com/office/drawing/2014/main" id="{8053C947-9C11-E592-92A3-114D4585B141}"/>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596841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160FB0B-24EC-426A-BB26-96E4F82870E2}"/>
              </a:ext>
            </a:extLst>
          </p:cNvPr>
          <p:cNvGraphicFramePr>
            <a:graphicFrameLocks noChangeAspect="1"/>
          </p:cNvGraphicFramePr>
          <p:nvPr userDrawn="1">
            <p:custDataLst>
              <p:tags r:id="rId1"/>
            </p:custDataLst>
            <p:extLst>
              <p:ext uri="{D42A27DB-BD31-4B8C-83A1-F6EECF244321}">
                <p14:modId xmlns:p14="http://schemas.microsoft.com/office/powerpoint/2010/main" val="406430542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0160FB0B-24EC-426A-BB26-96E4F82870E2}"/>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25"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38150" y="2681104"/>
            <a:ext cx="3092068" cy="1495794"/>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3" name="Slide Number Placeholder 5">
            <a:extLst>
              <a:ext uri="{FF2B5EF4-FFF2-40B4-BE49-F238E27FC236}">
                <a16:creationId xmlns:a16="http://schemas.microsoft.com/office/drawing/2014/main" id="{68E58513-7F63-49DF-B225-4501204D1E80}"/>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5" name="Text Placeholder 13">
            <a:extLst>
              <a:ext uri="{FF2B5EF4-FFF2-40B4-BE49-F238E27FC236}">
                <a16:creationId xmlns:a16="http://schemas.microsoft.com/office/drawing/2014/main" id="{06EFB812-1BBB-C134-5744-CE695A2F2DDD}"/>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2815134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FACA804-E8EC-4D09-8389-54CD6F9A8747}"/>
              </a:ext>
            </a:extLst>
          </p:cNvPr>
          <p:cNvGraphicFramePr>
            <a:graphicFrameLocks noChangeAspect="1"/>
          </p:cNvGraphicFramePr>
          <p:nvPr userDrawn="1">
            <p:custDataLst>
              <p:tags r:id="rId1"/>
            </p:custDataLst>
            <p:extLst>
              <p:ext uri="{D42A27DB-BD31-4B8C-83A1-F6EECF244321}">
                <p14:modId xmlns:p14="http://schemas.microsoft.com/office/powerpoint/2010/main" val="199657288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8FACA804-E8EC-4D09-8389-54CD6F9A8747}"/>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 name="Title 1">
            <a:extLst>
              <a:ext uri="{FF2B5EF4-FFF2-40B4-BE49-F238E27FC236}">
                <a16:creationId xmlns:a16="http://schemas.microsoft.com/office/drawing/2014/main" id="{35D180B5-D275-4637-9BCC-EA38069AEECD}"/>
              </a:ext>
            </a:extLst>
          </p:cNvPr>
          <p:cNvSpPr>
            <a:spLocks noGrp="1"/>
          </p:cNvSpPr>
          <p:nvPr>
            <p:ph type="title" hasCustomPrompt="1"/>
          </p:nvPr>
        </p:nvSpPr>
        <p:spPr>
          <a:xfrm>
            <a:off x="438152" y="377824"/>
            <a:ext cx="6218683" cy="365760"/>
          </a:xfrm>
        </p:spPr>
        <p:txBody>
          <a:bodyPr vert="horz"/>
          <a:lstStyle>
            <a:lvl1pPr>
              <a:defRPr sz="2400"/>
            </a:lvl1pPr>
          </a:lstStyle>
          <a:p>
            <a:r>
              <a:rPr lang="en-US"/>
              <a:t>Click to add title</a:t>
            </a:r>
          </a:p>
        </p:txBody>
      </p:sp>
      <p:sp>
        <p:nvSpPr>
          <p:cNvPr id="15" name="Slide Number Placeholder 5">
            <a:extLst>
              <a:ext uri="{FF2B5EF4-FFF2-40B4-BE49-F238E27FC236}">
                <a16:creationId xmlns:a16="http://schemas.microsoft.com/office/drawing/2014/main" id="{3DD56269-4FC3-49DD-8834-B48EB9D6F2F0}"/>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6" name="Text Placeholder 13">
            <a:extLst>
              <a:ext uri="{FF2B5EF4-FFF2-40B4-BE49-F238E27FC236}">
                <a16:creationId xmlns:a16="http://schemas.microsoft.com/office/drawing/2014/main" id="{0156A738-4E19-280D-9902-B8950EE9CA2B}"/>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1459740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B6DBB8B-1CF9-428A-9E82-5DB58170E3C5}"/>
              </a:ext>
            </a:extLst>
          </p:cNvPr>
          <p:cNvGraphicFramePr>
            <a:graphicFrameLocks noChangeAspect="1"/>
          </p:cNvGraphicFramePr>
          <p:nvPr userDrawn="1">
            <p:custDataLst>
              <p:tags r:id="rId1"/>
            </p:custDataLst>
            <p:extLst>
              <p:ext uri="{D42A27DB-BD31-4B8C-83A1-F6EECF244321}">
                <p14:modId xmlns:p14="http://schemas.microsoft.com/office/powerpoint/2010/main" val="156742748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0B6DBB8B-1CF9-428A-9E82-5DB58170E3C5}"/>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9" y="0"/>
            <a:ext cx="416951" cy="6858000"/>
          </a:xfrm>
          <a:prstGeom prst="rect">
            <a:avLst/>
          </a:prstGeom>
        </p:spPr>
      </p:pic>
      <p:sp>
        <p:nvSpPr>
          <p:cNvPr id="11" name="Title 4"/>
          <p:cNvSpPr>
            <a:spLocks noGrp="1"/>
          </p:cNvSpPr>
          <p:nvPr>
            <p:ph type="title" hasCustomPrompt="1"/>
          </p:nvPr>
        </p:nvSpPr>
        <p:spPr>
          <a:xfrm>
            <a:off x="438150" y="2681104"/>
            <a:ext cx="3092068"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8"/>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5" name="Slide Number Placeholder 5">
            <a:extLst>
              <a:ext uri="{FF2B5EF4-FFF2-40B4-BE49-F238E27FC236}">
                <a16:creationId xmlns:a16="http://schemas.microsoft.com/office/drawing/2014/main" id="{E200960A-82B9-4BA8-AB5E-D42744DE78FA}"/>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4" name="Text Placeholder 13">
            <a:extLst>
              <a:ext uri="{FF2B5EF4-FFF2-40B4-BE49-F238E27FC236}">
                <a16:creationId xmlns:a16="http://schemas.microsoft.com/office/drawing/2014/main" id="{7F0975E0-0C2C-8D9A-DF5A-7AF46803C490}"/>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012728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A0336DC-0647-47AB-B44B-A94CE21C5781}"/>
              </a:ext>
            </a:extLst>
          </p:cNvPr>
          <p:cNvGraphicFramePr>
            <a:graphicFrameLocks noChangeAspect="1"/>
          </p:cNvGraphicFramePr>
          <p:nvPr userDrawn="1">
            <p:custDataLst>
              <p:tags r:id="rId1"/>
            </p:custDataLst>
            <p:extLst>
              <p:ext uri="{D42A27DB-BD31-4B8C-83A1-F6EECF244321}">
                <p14:modId xmlns:p14="http://schemas.microsoft.com/office/powerpoint/2010/main" val="73460447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5A0336DC-0647-47AB-B44B-A94CE21C5781}"/>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38150" y="1785601"/>
            <a:ext cx="4352587" cy="3286800"/>
          </a:xfrm>
          <a:prstGeom prst="rect">
            <a:avLst/>
          </a:prstGeom>
          <a:noFill/>
        </p:spPr>
        <p:txBody>
          <a:bodyPr vert="horz" wrap="square" lIns="0" tIns="0" rIns="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7" name="Slide Number Placeholder 5">
            <a:extLst>
              <a:ext uri="{FF2B5EF4-FFF2-40B4-BE49-F238E27FC236}">
                <a16:creationId xmlns:a16="http://schemas.microsoft.com/office/drawing/2014/main" id="{CFB8B6F7-E9B5-4878-8500-5A1E4D979E91}"/>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4" name="Text Placeholder 13">
            <a:extLst>
              <a:ext uri="{FF2B5EF4-FFF2-40B4-BE49-F238E27FC236}">
                <a16:creationId xmlns:a16="http://schemas.microsoft.com/office/drawing/2014/main" id="{91A3E1BC-A14A-6C4E-4BDE-A0FE716C18DD}"/>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414009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73E0FD-7F42-48E7-8A95-81281B4461C4}"/>
              </a:ext>
            </a:extLst>
          </p:cNvPr>
          <p:cNvGraphicFramePr>
            <a:graphicFrameLocks noChangeAspect="1"/>
          </p:cNvGraphicFramePr>
          <p:nvPr userDrawn="1">
            <p:custDataLst>
              <p:tags r:id="rId1"/>
            </p:custDataLst>
            <p:extLst>
              <p:ext uri="{D42A27DB-BD31-4B8C-83A1-F6EECF244321}">
                <p14:modId xmlns:p14="http://schemas.microsoft.com/office/powerpoint/2010/main" val="210186922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BB73E0FD-7F42-48E7-8A95-81281B4461C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4"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1" y="3917292"/>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438150" y="1804650"/>
            <a:ext cx="6211739"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8" name="Slide Number Placeholder 5">
            <a:extLst>
              <a:ext uri="{FF2B5EF4-FFF2-40B4-BE49-F238E27FC236}">
                <a16:creationId xmlns:a16="http://schemas.microsoft.com/office/drawing/2014/main" id="{1A77B8EB-E815-41C1-A302-E007626729E1}"/>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4" name="Text Placeholder 13">
            <a:extLst>
              <a:ext uri="{FF2B5EF4-FFF2-40B4-BE49-F238E27FC236}">
                <a16:creationId xmlns:a16="http://schemas.microsoft.com/office/drawing/2014/main" id="{28685460-38CC-BDFE-DA28-4F738BAECAAA}"/>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1009335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FC1C0F9-6EF6-4434-B694-FF57F2D6092A}"/>
              </a:ext>
            </a:extLst>
          </p:cNvPr>
          <p:cNvGraphicFramePr>
            <a:graphicFrameLocks noChangeAspect="1"/>
          </p:cNvGraphicFramePr>
          <p:nvPr userDrawn="1">
            <p:custDataLst>
              <p:tags r:id="rId1"/>
            </p:custDataLst>
            <p:extLst>
              <p:ext uri="{D42A27DB-BD31-4B8C-83A1-F6EECF244321}">
                <p14:modId xmlns:p14="http://schemas.microsoft.com/office/powerpoint/2010/main" val="302890229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1FC1C0F9-6EF6-4434-B694-FF57F2D6092A}"/>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7" name="Title 2"/>
          <p:cNvSpPr>
            <a:spLocks noGrp="1"/>
          </p:cNvSpPr>
          <p:nvPr>
            <p:ph type="title" hasCustomPrompt="1"/>
          </p:nvPr>
        </p:nvSpPr>
        <p:spPr>
          <a:xfrm>
            <a:off x="438150" y="2764203"/>
            <a:ext cx="2442825" cy="1314311"/>
          </a:xfrm>
          <a:prstGeom prst="rect">
            <a:avLst/>
          </a:prstGeom>
        </p:spPr>
        <p:txBody>
          <a:bodyPr vert="horz" anchor="ctr">
            <a:noAutofit/>
          </a:bodyPr>
          <a:lstStyle>
            <a:lvl1pPr>
              <a:defRPr sz="2400" baseline="0">
                <a:solidFill>
                  <a:srgbClr val="EB5A53"/>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6A693B36-886E-40B0-BBD0-219255A4CC11}"/>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4" name="Text Placeholder 13">
            <a:extLst>
              <a:ext uri="{FF2B5EF4-FFF2-40B4-BE49-F238E27FC236}">
                <a16:creationId xmlns:a16="http://schemas.microsoft.com/office/drawing/2014/main" id="{1AE31A92-1F75-6A29-2F90-B51B24AFE226}"/>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3282717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910FE6E-0259-4B67-AF68-79F559A1164F}"/>
              </a:ext>
            </a:extLst>
          </p:cNvPr>
          <p:cNvGraphicFramePr>
            <a:graphicFrameLocks noChangeAspect="1"/>
          </p:cNvGraphicFramePr>
          <p:nvPr userDrawn="1">
            <p:custDataLst>
              <p:tags r:id="rId1"/>
            </p:custDataLst>
            <p:extLst>
              <p:ext uri="{D42A27DB-BD31-4B8C-83A1-F6EECF244321}">
                <p14:modId xmlns:p14="http://schemas.microsoft.com/office/powerpoint/2010/main" val="110493968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2910FE6E-0259-4B67-AF68-79F559A1164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100000">
                <a:srgbClr val="18375C"/>
              </a:gs>
              <a:gs pos="0">
                <a:srgbClr val="1F4675"/>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Trebuchet MS" panose="020B0603020202020204" pitchFamily="34" charset="0"/>
            </a:endParaRPr>
          </a:p>
        </p:txBody>
      </p:sp>
      <p:sp>
        <p:nvSpPr>
          <p:cNvPr id="3" name="Title 2"/>
          <p:cNvSpPr>
            <a:spLocks noGrp="1"/>
          </p:cNvSpPr>
          <p:nvPr>
            <p:ph type="title" hasCustomPrompt="1"/>
          </p:nvPr>
        </p:nvSpPr>
        <p:spPr>
          <a:xfrm>
            <a:off x="438150" y="2764203"/>
            <a:ext cx="2442825" cy="1314311"/>
          </a:xfrm>
        </p:spPr>
        <p:txBody>
          <a:bodyPr vert="horz" anchor="ctr" anchorCtr="0">
            <a:noAutofit/>
          </a:bodyPr>
          <a:lstStyle>
            <a:lvl1pPr>
              <a:defRPr sz="24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Slide Number Placeholder 5">
            <a:extLst>
              <a:ext uri="{FF2B5EF4-FFF2-40B4-BE49-F238E27FC236}">
                <a16:creationId xmlns:a16="http://schemas.microsoft.com/office/drawing/2014/main" id="{2AF59568-3EF8-4B0E-801E-46CC1D9B3506}"/>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5" name="Text Placeholder 13">
            <a:extLst>
              <a:ext uri="{FF2B5EF4-FFF2-40B4-BE49-F238E27FC236}">
                <a16:creationId xmlns:a16="http://schemas.microsoft.com/office/drawing/2014/main" id="{A3100368-E59D-AA05-93C5-0AB41D5FF60D}"/>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725322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9608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0539256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3" name="Pentagon 3"/>
          <p:cNvSpPr/>
          <p:nvPr userDrawn="1"/>
        </p:nvSpPr>
        <p:spPr bwMode="white">
          <a:xfrm>
            <a:off x="2"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38149" y="1785601"/>
            <a:ext cx="4026422" cy="3286800"/>
          </a:xfrm>
          <a:prstGeom prst="rect">
            <a:avLst/>
          </a:prstGeom>
        </p:spPr>
        <p:txBody>
          <a:bodyPr vert="horz" anchor="ctr">
            <a:noAutofit/>
          </a:bodyPr>
          <a:lstStyle>
            <a:lvl1pPr>
              <a:defRPr sz="4400"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6"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7" name="Slide Number Placeholder 5">
            <a:extLst>
              <a:ext uri="{FF2B5EF4-FFF2-40B4-BE49-F238E27FC236}">
                <a16:creationId xmlns:a16="http://schemas.microsoft.com/office/drawing/2014/main" id="{E2DAD234-CDD7-4161-9E18-4B6CD08013C8}"/>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4" name="Text Placeholder 13">
            <a:extLst>
              <a:ext uri="{FF2B5EF4-FFF2-40B4-BE49-F238E27FC236}">
                <a16:creationId xmlns:a16="http://schemas.microsoft.com/office/drawing/2014/main" id="{F43DF971-BC68-F7AB-8ECE-EEE60D914CE0}"/>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8690882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587415-B8F6-4415-AA3F-2243E7B5DB8B}"/>
              </a:ext>
            </a:extLst>
          </p:cNvPr>
          <p:cNvGraphicFramePr>
            <a:graphicFrameLocks noChangeAspect="1"/>
          </p:cNvGraphicFramePr>
          <p:nvPr userDrawn="1">
            <p:custDataLst>
              <p:tags r:id="rId1"/>
            </p:custDataLst>
            <p:extLst>
              <p:ext uri="{D42A27DB-BD31-4B8C-83A1-F6EECF244321}">
                <p14:modId xmlns:p14="http://schemas.microsoft.com/office/powerpoint/2010/main" val="293845963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7A587415-B8F6-4415-AA3F-2243E7B5DB8B}"/>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3" name="Pentagon 3"/>
          <p:cNvSpPr/>
          <p:nvPr userDrawn="1"/>
        </p:nvSpPr>
        <p:spPr bwMode="white">
          <a:xfrm>
            <a:off x="2" y="0"/>
            <a:ext cx="5426920" cy="6858000"/>
          </a:xfrm>
          <a:prstGeom prst="homePlate">
            <a:avLst>
              <a:gd name="adj" fmla="val 12939"/>
            </a:avLst>
          </a:prstGeom>
          <a:gradFill flip="none" rotWithShape="1">
            <a:gsLst>
              <a:gs pos="100000">
                <a:srgbClr val="18375C"/>
              </a:gs>
              <a:gs pos="0">
                <a:srgbClr val="1F4675"/>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Trebuchet MS" panose="020B0603020202020204" pitchFamily="34" charset="0"/>
            </a:endParaRPr>
          </a:p>
        </p:txBody>
      </p:sp>
      <p:sp>
        <p:nvSpPr>
          <p:cNvPr id="14" name="Title 1"/>
          <p:cNvSpPr>
            <a:spLocks noGrp="1"/>
          </p:cNvSpPr>
          <p:nvPr>
            <p:ph type="title" hasCustomPrompt="1"/>
          </p:nvPr>
        </p:nvSpPr>
        <p:spPr>
          <a:xfrm>
            <a:off x="438149" y="1785601"/>
            <a:ext cx="4026422"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6" name="Slide Number Placeholder 5">
            <a:extLst>
              <a:ext uri="{FF2B5EF4-FFF2-40B4-BE49-F238E27FC236}">
                <a16:creationId xmlns:a16="http://schemas.microsoft.com/office/drawing/2014/main" id="{01CE6391-52D1-4E2D-AD5F-F28194EF5856}"/>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4" name="Text Placeholder 13">
            <a:extLst>
              <a:ext uri="{FF2B5EF4-FFF2-40B4-BE49-F238E27FC236}">
                <a16:creationId xmlns:a16="http://schemas.microsoft.com/office/drawing/2014/main" id="{D7408DD6-4322-A6BC-5BC9-DE007CF73F59}"/>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799631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E9CFB08-752F-42C9-B99A-2EE64F49C7FD}"/>
              </a:ext>
            </a:extLst>
          </p:cNvPr>
          <p:cNvGraphicFramePr>
            <a:graphicFrameLocks noChangeAspect="1"/>
          </p:cNvGraphicFramePr>
          <p:nvPr userDrawn="1">
            <p:custDataLst>
              <p:tags r:id="rId1"/>
            </p:custDataLst>
            <p:extLst>
              <p:ext uri="{D42A27DB-BD31-4B8C-83A1-F6EECF244321}">
                <p14:modId xmlns:p14="http://schemas.microsoft.com/office/powerpoint/2010/main" val="61600868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9E9CFB08-752F-42C9-B99A-2EE64F49C7FD}"/>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8"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19EA26B-83C2-4719-A7C0-CD6AECF83B7A}"/>
              </a:ext>
            </a:extLst>
          </p:cNvPr>
          <p:cNvSpPr>
            <a:spLocks noGrp="1"/>
          </p:cNvSpPr>
          <p:nvPr>
            <p:ph type="title" hasCustomPrompt="1"/>
          </p:nvPr>
        </p:nvSpPr>
        <p:spPr>
          <a:xfrm>
            <a:off x="438152" y="377824"/>
            <a:ext cx="4636771" cy="365760"/>
          </a:xfrm>
        </p:spPr>
        <p:txBody>
          <a:bodyPr vert="horz"/>
          <a:lstStyle>
            <a:lvl1pPr>
              <a:defRPr sz="2400"/>
            </a:lvl1pPr>
          </a:lstStyle>
          <a:p>
            <a:r>
              <a:rPr lang="en-US"/>
              <a:t>Click to add title</a:t>
            </a:r>
          </a:p>
        </p:txBody>
      </p:sp>
      <p:sp>
        <p:nvSpPr>
          <p:cNvPr id="15" name="Slide Number Placeholder 5">
            <a:extLst>
              <a:ext uri="{FF2B5EF4-FFF2-40B4-BE49-F238E27FC236}">
                <a16:creationId xmlns:a16="http://schemas.microsoft.com/office/drawing/2014/main" id="{391E135E-7B09-451F-BDD1-957C1706AC78}"/>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5" name="Text Placeholder 13">
            <a:extLst>
              <a:ext uri="{FF2B5EF4-FFF2-40B4-BE49-F238E27FC236}">
                <a16:creationId xmlns:a16="http://schemas.microsoft.com/office/drawing/2014/main" id="{ABA4AB89-B4BE-00C4-7BCE-FEB231DB54A7}"/>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3681161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0E7265-63AD-468D-B7A2-36892729672B}"/>
              </a:ext>
            </a:extLst>
          </p:cNvPr>
          <p:cNvGraphicFramePr>
            <a:graphicFrameLocks noChangeAspect="1"/>
          </p:cNvGraphicFramePr>
          <p:nvPr userDrawn="1">
            <p:custDataLst>
              <p:tags r:id="rId1"/>
            </p:custDataLst>
            <p:extLst>
              <p:ext uri="{D42A27DB-BD31-4B8C-83A1-F6EECF244321}">
                <p14:modId xmlns:p14="http://schemas.microsoft.com/office/powerpoint/2010/main" val="191994626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9A0E7265-63AD-468D-B7A2-36892729672B}"/>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100000">
                <a:srgbClr val="18375C"/>
              </a:gs>
              <a:gs pos="0">
                <a:srgbClr val="1F4675"/>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Trebuchet MS" panose="020B0603020202020204" pitchFamily="34" charset="0"/>
            </a:endParaRPr>
          </a:p>
        </p:txBody>
      </p:sp>
      <p:sp>
        <p:nvSpPr>
          <p:cNvPr id="1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4"/>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 name="Title 1">
            <a:extLst>
              <a:ext uri="{FF2B5EF4-FFF2-40B4-BE49-F238E27FC236}">
                <a16:creationId xmlns:a16="http://schemas.microsoft.com/office/drawing/2014/main" id="{E3A87093-F4D2-4514-B35F-8C06387CA4C8}"/>
              </a:ext>
            </a:extLst>
          </p:cNvPr>
          <p:cNvSpPr>
            <a:spLocks noGrp="1"/>
          </p:cNvSpPr>
          <p:nvPr>
            <p:ph type="title" hasCustomPrompt="1"/>
          </p:nvPr>
        </p:nvSpPr>
        <p:spPr>
          <a:xfrm>
            <a:off x="438152" y="377824"/>
            <a:ext cx="4636771" cy="365760"/>
          </a:xfrm>
        </p:spPr>
        <p:txBody>
          <a:bodyPr vert="horz"/>
          <a:lstStyle>
            <a:lvl1pPr>
              <a:defRPr sz="2400">
                <a:solidFill>
                  <a:schemeClr val="bg1"/>
                </a:solidFill>
              </a:defRPr>
            </a:lvl1pPr>
          </a:lstStyle>
          <a:p>
            <a:r>
              <a:rPr lang="en-US"/>
              <a:t>Click to add title</a:t>
            </a:r>
          </a:p>
        </p:txBody>
      </p:sp>
      <p:sp>
        <p:nvSpPr>
          <p:cNvPr id="17" name="Slide Number Placeholder 5">
            <a:extLst>
              <a:ext uri="{FF2B5EF4-FFF2-40B4-BE49-F238E27FC236}">
                <a16:creationId xmlns:a16="http://schemas.microsoft.com/office/drawing/2014/main" id="{48DB0362-71D3-4D03-81F3-FFD49671C7D7}"/>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5" name="Text Placeholder 13">
            <a:extLst>
              <a:ext uri="{FF2B5EF4-FFF2-40B4-BE49-F238E27FC236}">
                <a16:creationId xmlns:a16="http://schemas.microsoft.com/office/drawing/2014/main" id="{C5E91A01-9922-CABD-F1DD-226F92A8962A}"/>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993537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DDE55D0-8372-45D5-97A1-0C4C91910D1E}"/>
              </a:ext>
            </a:extLst>
          </p:cNvPr>
          <p:cNvGraphicFramePr>
            <a:graphicFrameLocks noChangeAspect="1"/>
          </p:cNvGraphicFramePr>
          <p:nvPr userDrawn="1">
            <p:custDataLst>
              <p:tags r:id="rId1"/>
            </p:custDataLst>
            <p:extLst>
              <p:ext uri="{D42A27DB-BD31-4B8C-83A1-F6EECF244321}">
                <p14:modId xmlns:p14="http://schemas.microsoft.com/office/powerpoint/2010/main" val="323313550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DDDE55D0-8372-45D5-97A1-0C4C91910D1E}"/>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F3CD9C5-FEEA-4AB0-AEDB-ED409C982D97}"/>
              </a:ext>
            </a:extLst>
          </p:cNvPr>
          <p:cNvSpPr>
            <a:spLocks noGrp="1"/>
          </p:cNvSpPr>
          <p:nvPr>
            <p:ph type="title" hasCustomPrompt="1"/>
          </p:nvPr>
        </p:nvSpPr>
        <p:spPr>
          <a:xfrm>
            <a:off x="438151" y="377824"/>
            <a:ext cx="6218681" cy="365760"/>
          </a:xfrm>
        </p:spPr>
        <p:txBody>
          <a:bodyPr vert="horz"/>
          <a:lstStyle>
            <a:lvl1pPr>
              <a:defRPr sz="2400"/>
            </a:lvl1pPr>
          </a:lstStyle>
          <a:p>
            <a:r>
              <a:rPr lang="en-US"/>
              <a:t>Click to add title</a:t>
            </a:r>
          </a:p>
        </p:txBody>
      </p:sp>
      <p:sp>
        <p:nvSpPr>
          <p:cNvPr id="14" name="Slide Number Placeholder 5">
            <a:extLst>
              <a:ext uri="{FF2B5EF4-FFF2-40B4-BE49-F238E27FC236}">
                <a16:creationId xmlns:a16="http://schemas.microsoft.com/office/drawing/2014/main" id="{A66FE02C-CBD3-47A9-AB9D-36B8778245DE}"/>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5" name="Text Placeholder 13">
            <a:extLst>
              <a:ext uri="{FF2B5EF4-FFF2-40B4-BE49-F238E27FC236}">
                <a16:creationId xmlns:a16="http://schemas.microsoft.com/office/drawing/2014/main" id="{CF4441F7-9868-671C-46E8-E238128D9A22}"/>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4018980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9B63B74-C69B-491C-9A15-5EA45588C4FE}"/>
              </a:ext>
            </a:extLst>
          </p:cNvPr>
          <p:cNvGraphicFramePr>
            <a:graphicFrameLocks noChangeAspect="1"/>
          </p:cNvGraphicFramePr>
          <p:nvPr userDrawn="1">
            <p:custDataLst>
              <p:tags r:id="rId1"/>
            </p:custDataLst>
            <p:extLst>
              <p:ext uri="{D42A27DB-BD31-4B8C-83A1-F6EECF244321}">
                <p14:modId xmlns:p14="http://schemas.microsoft.com/office/powerpoint/2010/main" val="181511281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F9B63B74-C69B-491C-9A15-5EA45588C4FE}"/>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100000">
                <a:srgbClr val="18375C"/>
              </a:gs>
              <a:gs pos="0">
                <a:srgbClr val="1F4675"/>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Trebuchet MS" panose="020B0603020202020204" pitchFamily="34" charset="0"/>
            </a:endParaRPr>
          </a:p>
        </p:txBody>
      </p:sp>
      <p:sp>
        <p:nvSpPr>
          <p:cNvPr id="1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4"/>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2" name="Title 1">
            <a:extLst>
              <a:ext uri="{FF2B5EF4-FFF2-40B4-BE49-F238E27FC236}">
                <a16:creationId xmlns:a16="http://schemas.microsoft.com/office/drawing/2014/main" id="{9F2D323C-E83B-4E3F-8BB0-26868DB00BE5}"/>
              </a:ext>
            </a:extLst>
          </p:cNvPr>
          <p:cNvSpPr>
            <a:spLocks noGrp="1"/>
          </p:cNvSpPr>
          <p:nvPr>
            <p:ph type="title" hasCustomPrompt="1"/>
          </p:nvPr>
        </p:nvSpPr>
        <p:spPr>
          <a:xfrm>
            <a:off x="438151" y="377824"/>
            <a:ext cx="6218681" cy="365760"/>
          </a:xfrm>
        </p:spPr>
        <p:txBody>
          <a:bodyPr vert="horz"/>
          <a:lstStyle>
            <a:lvl1pPr>
              <a:defRPr sz="2400">
                <a:solidFill>
                  <a:schemeClr val="bg1"/>
                </a:solidFill>
              </a:defRPr>
            </a:lvl1pPr>
          </a:lstStyle>
          <a:p>
            <a:r>
              <a:rPr lang="en-US"/>
              <a:t>Click to add title</a:t>
            </a:r>
          </a:p>
        </p:txBody>
      </p:sp>
      <p:sp>
        <p:nvSpPr>
          <p:cNvPr id="15" name="Slide Number Placeholder 5">
            <a:extLst>
              <a:ext uri="{FF2B5EF4-FFF2-40B4-BE49-F238E27FC236}">
                <a16:creationId xmlns:a16="http://schemas.microsoft.com/office/drawing/2014/main" id="{1B09995B-C269-4198-87F7-445B5555C58B}"/>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11" name="Text Placeholder 13">
            <a:extLst>
              <a:ext uri="{FF2B5EF4-FFF2-40B4-BE49-F238E27FC236}">
                <a16:creationId xmlns:a16="http://schemas.microsoft.com/office/drawing/2014/main" id="{93BE1735-F785-7AF6-B668-5A6BEB679C74}"/>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454681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4E383A2-FACE-4E1A-BFDD-9617B229CAEF}"/>
              </a:ext>
            </a:extLst>
          </p:cNvPr>
          <p:cNvGraphicFramePr>
            <a:graphicFrameLocks noChangeAspect="1"/>
          </p:cNvGraphicFramePr>
          <p:nvPr userDrawn="1">
            <p:custDataLst>
              <p:tags r:id="rId1"/>
            </p:custDataLst>
            <p:extLst>
              <p:ext uri="{D42A27DB-BD31-4B8C-83A1-F6EECF244321}">
                <p14:modId xmlns:p14="http://schemas.microsoft.com/office/powerpoint/2010/main" val="323145397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5" name="think-cell data - do not delete" hidden="1">
                        <a:extLst>
                          <a:ext uri="{FF2B5EF4-FFF2-40B4-BE49-F238E27FC236}">
                            <a16:creationId xmlns:a16="http://schemas.microsoft.com/office/drawing/2014/main" id="{64E383A2-FACE-4E1A-BFDD-9617B229CAE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438150" y="3826333"/>
            <a:ext cx="11315702" cy="1606550"/>
          </a:xfrm>
        </p:spPr>
        <p:txBody>
          <a:bodyPr vert="horz" anchor="b">
            <a:noAutofit/>
          </a:bodyPr>
          <a:lstStyle>
            <a:lvl1pPr marL="0" algn="l" defTabSz="914358"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Slide Number Placeholder 5">
            <a:extLst>
              <a:ext uri="{FF2B5EF4-FFF2-40B4-BE49-F238E27FC236}">
                <a16:creationId xmlns:a16="http://schemas.microsoft.com/office/drawing/2014/main" id="{6AB5CB6A-2206-4058-AA7C-80820AA5FC95}"/>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cxnSp>
        <p:nvCxnSpPr>
          <p:cNvPr id="3" name="Straight Connector 2">
            <a:extLst>
              <a:ext uri="{FF2B5EF4-FFF2-40B4-BE49-F238E27FC236}">
                <a16:creationId xmlns:a16="http://schemas.microsoft.com/office/drawing/2014/main" id="{8F42609D-2227-0137-8970-C2763158E35E}"/>
              </a:ext>
            </a:extLst>
          </p:cNvPr>
          <p:cNvCxnSpPr>
            <a:cxnSpLocks/>
          </p:cNvCxnSpPr>
          <p:nvPr userDrawn="1"/>
        </p:nvCxnSpPr>
        <p:spPr>
          <a:xfrm>
            <a:off x="457201" y="6352539"/>
            <a:ext cx="11277600" cy="0"/>
          </a:xfrm>
          <a:prstGeom prst="line">
            <a:avLst/>
          </a:prstGeom>
          <a:noFill/>
          <a:ln w="12700" cap="flat" cmpd="sng" algn="ctr">
            <a:solidFill>
              <a:schemeClr val="bg1"/>
            </a:solidFill>
            <a:prstDash val="solid"/>
            <a:miter lim="800000"/>
          </a:ln>
          <a:effectLst/>
        </p:spPr>
      </p:cxnSp>
      <p:sp>
        <p:nvSpPr>
          <p:cNvPr id="4" name="Text Placeholder 13">
            <a:extLst>
              <a:ext uri="{FF2B5EF4-FFF2-40B4-BE49-F238E27FC236}">
                <a16:creationId xmlns:a16="http://schemas.microsoft.com/office/drawing/2014/main" id="{DA3CC238-E43E-EBA7-8216-9294CD359A8C}"/>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7128252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32EF71D-BC9E-4E9D-B87D-DBCBE42042A0}"/>
              </a:ext>
            </a:extLst>
          </p:cNvPr>
          <p:cNvGraphicFramePr>
            <a:graphicFrameLocks noChangeAspect="1"/>
          </p:cNvGraphicFramePr>
          <p:nvPr userDrawn="1">
            <p:custDataLst>
              <p:tags r:id="rId1"/>
            </p:custDataLst>
            <p:extLst>
              <p:ext uri="{D42A27DB-BD31-4B8C-83A1-F6EECF244321}">
                <p14:modId xmlns:p14="http://schemas.microsoft.com/office/powerpoint/2010/main" val="88548220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032EF71D-BC9E-4E9D-B87D-DBCBE42042A0}"/>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6" name="Rectangle 5"/>
          <p:cNvSpPr/>
          <p:nvPr userDrawn="1"/>
        </p:nvSpPr>
        <p:spPr bwMode="white">
          <a:xfrm>
            <a:off x="438149"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38150" y="3826333"/>
            <a:ext cx="11315702" cy="1606550"/>
          </a:xfrm>
          <a:prstGeom prst="rect">
            <a:avLst/>
          </a:prstGeom>
        </p:spPr>
        <p:txBody>
          <a:bodyPr vert="horz" anchor="b">
            <a:noAutofit/>
          </a:bodyPr>
          <a:lstStyle>
            <a:lvl1pPr marL="0" algn="l" defTabSz="914358"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big statement text</a:t>
            </a:r>
          </a:p>
        </p:txBody>
      </p:sp>
      <p:sp>
        <p:nvSpPr>
          <p:cNvPr id="3" name="Text Placeholder 13">
            <a:extLst>
              <a:ext uri="{FF2B5EF4-FFF2-40B4-BE49-F238E27FC236}">
                <a16:creationId xmlns:a16="http://schemas.microsoft.com/office/drawing/2014/main" id="{5402F434-98F0-BA08-0EE5-4A0124EE1F8A}"/>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958680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9290776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34" tIns="45717" rIns="91434" bIns="45717" numCol="1" anchor="t" anchorCtr="0" compatLnSpc="1">
            <a:prstTxWarp prst="textNoShape">
              <a:avLst/>
            </a:prstTxWarp>
            <a:noAutofit/>
          </a:bodyPr>
          <a:lstStyle/>
          <a:p>
            <a:endParaRPr lang="en-US" sz="1800">
              <a:latin typeface="+mn-lt"/>
              <a:ea typeface="+mn-ea"/>
              <a:cs typeface="+mn-cs"/>
              <a:sym typeface="Trebuchet MS" panose="020B0603020202020204" pitchFamily="34" charset="0"/>
            </a:endParaRPr>
          </a:p>
        </p:txBody>
      </p:sp>
      <p:sp>
        <p:nvSpPr>
          <p:cNvPr id="6" name="Slide Number Placeholder 5">
            <a:extLst>
              <a:ext uri="{FF2B5EF4-FFF2-40B4-BE49-F238E27FC236}">
                <a16:creationId xmlns:a16="http://schemas.microsoft.com/office/drawing/2014/main" id="{FBA9C3AE-2C71-46F5-9D48-60EB0AE9D6F0}"/>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4" name="Text Placeholder 13">
            <a:extLst>
              <a:ext uri="{FF2B5EF4-FFF2-40B4-BE49-F238E27FC236}">
                <a16:creationId xmlns:a16="http://schemas.microsoft.com/office/drawing/2014/main" id="{F9CF4283-2912-438C-EFF6-9CEBFDFD4256}"/>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192789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5BBF069-91F7-4781-89C1-C6B5136FB6C2}"/>
              </a:ext>
            </a:extLst>
          </p:cNvPr>
          <p:cNvGraphicFramePr>
            <a:graphicFrameLocks noChangeAspect="1"/>
          </p:cNvGraphicFramePr>
          <p:nvPr userDrawn="1">
            <p:custDataLst>
              <p:tags r:id="rId1"/>
            </p:custDataLst>
            <p:extLst>
              <p:ext uri="{D42A27DB-BD31-4B8C-83A1-F6EECF244321}">
                <p14:modId xmlns:p14="http://schemas.microsoft.com/office/powerpoint/2010/main" val="283223026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6" name="think-cell data - do not delete" hidden="1">
                        <a:extLst>
                          <a:ext uri="{FF2B5EF4-FFF2-40B4-BE49-F238E27FC236}">
                            <a16:creationId xmlns:a16="http://schemas.microsoft.com/office/drawing/2014/main" id="{D5BBF069-91F7-4781-89C1-C6B5136FB6C2}"/>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1"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3" name="Title 2">
            <a:extLst>
              <a:ext uri="{FF2B5EF4-FFF2-40B4-BE49-F238E27FC236}">
                <a16:creationId xmlns:a16="http://schemas.microsoft.com/office/drawing/2014/main" id="{31EC0D91-421D-45D5-8D4D-5E8922C87B85}"/>
              </a:ext>
            </a:extLst>
          </p:cNvPr>
          <p:cNvSpPr>
            <a:spLocks noGrp="1"/>
          </p:cNvSpPr>
          <p:nvPr>
            <p:ph type="title" hasCustomPrompt="1"/>
          </p:nvPr>
        </p:nvSpPr>
        <p:spPr>
          <a:xfrm>
            <a:off x="438150" y="377824"/>
            <a:ext cx="9105900" cy="365760"/>
          </a:xfrm>
        </p:spPr>
        <p:txBody>
          <a:bodyPr vert="horz"/>
          <a:lstStyle>
            <a:lvl1pPr>
              <a:defRPr sz="2400">
                <a:solidFill>
                  <a:schemeClr val="bg1"/>
                </a:solidFill>
              </a:defRPr>
            </a:lvl1pPr>
          </a:lstStyle>
          <a:p>
            <a:r>
              <a:rPr lang="en-US"/>
              <a:t>Click to add title</a:t>
            </a:r>
          </a:p>
        </p:txBody>
      </p:sp>
      <p:sp>
        <p:nvSpPr>
          <p:cNvPr id="13" name="Slide Number Placeholder 5">
            <a:extLst>
              <a:ext uri="{FF2B5EF4-FFF2-40B4-BE49-F238E27FC236}">
                <a16:creationId xmlns:a16="http://schemas.microsoft.com/office/drawing/2014/main" id="{4377B0FB-799D-4C21-B8C9-76404CBED679}"/>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cxnSp>
        <p:nvCxnSpPr>
          <p:cNvPr id="4" name="Straight Connector 3">
            <a:extLst>
              <a:ext uri="{FF2B5EF4-FFF2-40B4-BE49-F238E27FC236}">
                <a16:creationId xmlns:a16="http://schemas.microsoft.com/office/drawing/2014/main" id="{27D91371-894B-DDDB-217E-A1AED3F5B9E0}"/>
              </a:ext>
            </a:extLst>
          </p:cNvPr>
          <p:cNvCxnSpPr>
            <a:cxnSpLocks/>
          </p:cNvCxnSpPr>
          <p:nvPr userDrawn="1"/>
        </p:nvCxnSpPr>
        <p:spPr>
          <a:xfrm>
            <a:off x="457201" y="6352539"/>
            <a:ext cx="11277600" cy="0"/>
          </a:xfrm>
          <a:prstGeom prst="line">
            <a:avLst/>
          </a:prstGeom>
          <a:noFill/>
          <a:ln w="12700" cap="flat" cmpd="sng" algn="ctr">
            <a:solidFill>
              <a:schemeClr val="bg1"/>
            </a:solidFill>
            <a:prstDash val="solid"/>
            <a:miter lim="800000"/>
          </a:ln>
          <a:effectLst/>
        </p:spPr>
      </p:cxnSp>
      <p:sp>
        <p:nvSpPr>
          <p:cNvPr id="5" name="Text Placeholder 13">
            <a:extLst>
              <a:ext uri="{FF2B5EF4-FFF2-40B4-BE49-F238E27FC236}">
                <a16:creationId xmlns:a16="http://schemas.microsoft.com/office/drawing/2014/main" id="{2C3583F6-C2E3-0709-B507-00F697A36967}"/>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1748155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375491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DF9A217-69CE-427E-9F48-4C7CEE8A3397}"/>
              </a:ext>
            </a:extLst>
          </p:cNvPr>
          <p:cNvGraphicFramePr>
            <a:graphicFrameLocks noChangeAspect="1"/>
          </p:cNvGraphicFramePr>
          <p:nvPr userDrawn="1">
            <p:custDataLst>
              <p:tags r:id="rId1"/>
            </p:custDataLst>
            <p:extLst>
              <p:ext uri="{D42A27DB-BD31-4B8C-83A1-F6EECF244321}">
                <p14:modId xmlns:p14="http://schemas.microsoft.com/office/powerpoint/2010/main" val="226381643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2" name="think-cell data - do not delete" hidden="1">
                        <a:extLst>
                          <a:ext uri="{FF2B5EF4-FFF2-40B4-BE49-F238E27FC236}">
                            <a16:creationId xmlns:a16="http://schemas.microsoft.com/office/drawing/2014/main" id="{8DF9A217-69CE-427E-9F48-4C7CEE8A3397}"/>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4" name="Text Placeholder 13">
            <a:extLst>
              <a:ext uri="{FF2B5EF4-FFF2-40B4-BE49-F238E27FC236}">
                <a16:creationId xmlns:a16="http://schemas.microsoft.com/office/drawing/2014/main" id="{4E9E6B67-8A8C-A1FD-2F3C-DF65B2887CFB}"/>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1324749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229D64B-6D86-4D8B-BACB-94DE70E41AD0}"/>
              </a:ext>
            </a:extLst>
          </p:cNvPr>
          <p:cNvGraphicFramePr>
            <a:graphicFrameLocks noChangeAspect="1"/>
          </p:cNvGraphicFramePr>
          <p:nvPr userDrawn="1">
            <p:custDataLst>
              <p:tags r:id="rId1"/>
            </p:custDataLst>
            <p:extLst>
              <p:ext uri="{D42A27DB-BD31-4B8C-83A1-F6EECF244321}">
                <p14:modId xmlns:p14="http://schemas.microsoft.com/office/powerpoint/2010/main" val="163906522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7229D64B-6D86-4D8B-BACB-94DE70E41AD0}"/>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6" name="Slide Number Placeholder 5">
            <a:extLst>
              <a:ext uri="{FF2B5EF4-FFF2-40B4-BE49-F238E27FC236}">
                <a16:creationId xmlns:a16="http://schemas.microsoft.com/office/drawing/2014/main" id="{BE55D8E9-53E6-4572-BA54-E457D0BFAD34}"/>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cxnSp>
        <p:nvCxnSpPr>
          <p:cNvPr id="4" name="Straight Connector 3">
            <a:extLst>
              <a:ext uri="{FF2B5EF4-FFF2-40B4-BE49-F238E27FC236}">
                <a16:creationId xmlns:a16="http://schemas.microsoft.com/office/drawing/2014/main" id="{032FC752-E100-9027-8A77-F7F5C9955EB4}"/>
              </a:ext>
            </a:extLst>
          </p:cNvPr>
          <p:cNvCxnSpPr>
            <a:cxnSpLocks/>
          </p:cNvCxnSpPr>
          <p:nvPr userDrawn="1"/>
        </p:nvCxnSpPr>
        <p:spPr>
          <a:xfrm>
            <a:off x="457201" y="6352539"/>
            <a:ext cx="11277600" cy="0"/>
          </a:xfrm>
          <a:prstGeom prst="line">
            <a:avLst/>
          </a:prstGeom>
          <a:noFill/>
          <a:ln w="12700" cap="flat" cmpd="sng" algn="ctr">
            <a:solidFill>
              <a:schemeClr val="bg1"/>
            </a:solidFill>
            <a:prstDash val="solid"/>
            <a:miter lim="800000"/>
          </a:ln>
          <a:effectLst/>
        </p:spPr>
      </p:cxnSp>
      <p:sp>
        <p:nvSpPr>
          <p:cNvPr id="7" name="Text Placeholder 13">
            <a:extLst>
              <a:ext uri="{FF2B5EF4-FFF2-40B4-BE49-F238E27FC236}">
                <a16:creationId xmlns:a16="http://schemas.microsoft.com/office/drawing/2014/main" id="{6E167138-2551-5C11-7661-B1AAAD6FC904}"/>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540525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6F945DC-16C3-409F-93A8-E69B0448F809}"/>
              </a:ext>
            </a:extLst>
          </p:cNvPr>
          <p:cNvGraphicFramePr>
            <a:graphicFrameLocks noChangeAspect="1"/>
          </p:cNvGraphicFramePr>
          <p:nvPr userDrawn="1">
            <p:custDataLst>
              <p:tags r:id="rId1"/>
            </p:custDataLst>
            <p:extLst>
              <p:ext uri="{D42A27DB-BD31-4B8C-83A1-F6EECF244321}">
                <p14:modId xmlns:p14="http://schemas.microsoft.com/office/powerpoint/2010/main" val="49240214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A6F945DC-16C3-409F-93A8-E69B0448F809}"/>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Title 6"/>
          <p:cNvSpPr txBox="1">
            <a:spLocks/>
          </p:cNvSpPr>
          <p:nvPr/>
        </p:nvSpPr>
        <p:spPr>
          <a:xfrm>
            <a:off x="438149" y="2993852"/>
            <a:ext cx="3892537" cy="6647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800"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674471"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2" name="Text Placeholder 4">
            <a:extLst>
              <a:ext uri="{FF2B5EF4-FFF2-40B4-BE49-F238E27FC236}">
                <a16:creationId xmlns:a16="http://schemas.microsoft.com/office/drawing/2014/main" id="{EBDEB3E4-4B85-4392-B974-5607756F2385}"/>
              </a:ext>
            </a:extLst>
          </p:cNvPr>
          <p:cNvSpPr>
            <a:spLocks noGrp="1"/>
          </p:cNvSpPr>
          <p:nvPr>
            <p:ph type="body" sz="quarter" idx="11" hasCustomPrompt="1"/>
          </p:nvPr>
        </p:nvSpPr>
        <p:spPr>
          <a:xfrm>
            <a:off x="5564344" y="1630186"/>
            <a:ext cx="6209072" cy="3392129"/>
          </a:xfrm>
        </p:spPr>
        <p:txBody>
          <a:bodyPr/>
          <a:lstStyle>
            <a:lvl1pPr>
              <a:defRPr sz="900">
                <a:latin typeface="+mn-lt"/>
                <a:ea typeface="+mn-ea"/>
                <a:cs typeface="+mn-cs"/>
              </a:defRPr>
            </a:lvl1pPr>
            <a:lvl2pPr>
              <a:defRPr sz="900"/>
            </a:lvl2pPr>
            <a:lvl3pPr>
              <a:defRPr sz="900"/>
            </a:lvl3pPr>
            <a:lvl4pPr>
              <a:defRPr sz="900"/>
            </a:lvl4pPr>
            <a:lvl5pPr>
              <a:defRPr sz="900"/>
            </a:lvl5pPr>
          </a:lstStyle>
          <a:p>
            <a:pPr lvl="0"/>
            <a:r>
              <a:rPr lang="en-US"/>
              <a:t>Text</a:t>
            </a:r>
          </a:p>
        </p:txBody>
      </p:sp>
      <p:sp>
        <p:nvSpPr>
          <p:cNvPr id="4" name="Text Placeholder 13">
            <a:extLst>
              <a:ext uri="{FF2B5EF4-FFF2-40B4-BE49-F238E27FC236}">
                <a16:creationId xmlns:a16="http://schemas.microsoft.com/office/drawing/2014/main" id="{F2152E42-4CE9-2975-A144-91B98F4F1733}"/>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370117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rgbClr val="1F467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1157851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55431862-5733-4EA7-83BB-3F6E69A4E753}"/>
              </a:ext>
            </a:extLst>
          </p:cNvPr>
          <p:cNvSpPr txBox="1">
            <a:spLocks/>
          </p:cNvSpPr>
          <p:nvPr userDrawn="1"/>
        </p:nvSpPr>
        <p:spPr>
          <a:xfrm>
            <a:off x="331661" y="3385615"/>
            <a:ext cx="5560939" cy="1046440"/>
          </a:xfrm>
          <a:prstGeom prst="rect">
            <a:avLst/>
          </a:prstGeom>
        </p:spPr>
        <p:txBody>
          <a:bodyPr vert="horz" wrap="square" lIns="0" tIns="0" rIns="0" bIns="0" rtlCol="0" anchor="ctr" anchorCtr="0">
            <a:spAutoFit/>
          </a:bodyPr>
          <a:lstStyle>
            <a:lvl1pPr algn="l" defTabSz="914400" rtl="0" eaLnBrk="1" latinLnBrk="0" hangingPunct="1">
              <a:lnSpc>
                <a:spcPct val="100000"/>
              </a:lnSpc>
              <a:spcBef>
                <a:spcPct val="0"/>
              </a:spcBef>
              <a:buNone/>
              <a:defRPr sz="4800" b="0" i="0" kern="1200" cap="all"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358" rtl="0" eaLnBrk="1" fontAlgn="auto" latinLnBrk="0" hangingPunct="1">
              <a:lnSpc>
                <a:spcPct val="100000"/>
              </a:lnSpc>
              <a:spcBef>
                <a:spcPct val="0"/>
              </a:spcBef>
              <a:spcAft>
                <a:spcPts val="0"/>
              </a:spcAft>
              <a:buClrTx/>
              <a:buSzTx/>
              <a:buFontTx/>
              <a:buNone/>
              <a:tabLst/>
              <a:defRPr/>
            </a:pPr>
            <a:r>
              <a:rPr kumimoji="0" lang="en-US" sz="28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Thank you</a:t>
            </a:r>
            <a:br>
              <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rPr>
            </a:br>
            <a:br>
              <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rPr>
            </a:br>
            <a:endPar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endParaRPr>
          </a:p>
        </p:txBody>
      </p:sp>
      <p:pic>
        <p:nvPicPr>
          <p:cNvPr id="3" name="Picture 2">
            <a:extLst>
              <a:ext uri="{FF2B5EF4-FFF2-40B4-BE49-F238E27FC236}">
                <a16:creationId xmlns:a16="http://schemas.microsoft.com/office/drawing/2014/main" id="{CCB16740-4E75-7B90-0988-B1417F945DB8}"/>
              </a:ext>
            </a:extLst>
          </p:cNvPr>
          <p:cNvPicPr>
            <a:picLocks noChangeAspect="1"/>
          </p:cNvPicPr>
          <p:nvPr userDrawn="1"/>
        </p:nvPicPr>
        <p:blipFill>
          <a:blip r:embed="rId5">
            <a:alphaModFix/>
          </a:blip>
          <a:stretch>
            <a:fillRect/>
          </a:stretch>
        </p:blipFill>
        <p:spPr>
          <a:xfrm>
            <a:off x="308008" y="372645"/>
            <a:ext cx="3067017" cy="862430"/>
          </a:xfrm>
          <a:prstGeom prst="rect">
            <a:avLst/>
          </a:prstGeom>
        </p:spPr>
      </p:pic>
      <p:pic>
        <p:nvPicPr>
          <p:cNvPr id="4" name="Picture 3">
            <a:extLst>
              <a:ext uri="{FF2B5EF4-FFF2-40B4-BE49-F238E27FC236}">
                <a16:creationId xmlns:a16="http://schemas.microsoft.com/office/drawing/2014/main" id="{4048429E-3517-524E-0562-439BAC791D33}"/>
              </a:ext>
            </a:extLst>
          </p:cNvPr>
          <p:cNvPicPr>
            <a:picLocks noChangeAspect="1"/>
          </p:cNvPicPr>
          <p:nvPr userDrawn="1"/>
        </p:nvPicPr>
        <p:blipFill>
          <a:blip r:embed="rId6"/>
          <a:stretch>
            <a:fillRect/>
          </a:stretch>
        </p:blipFill>
        <p:spPr>
          <a:xfrm>
            <a:off x="5905500" y="0"/>
            <a:ext cx="6286500" cy="6858000"/>
          </a:xfrm>
          <a:prstGeom prst="rect">
            <a:avLst/>
          </a:prstGeom>
        </p:spPr>
      </p:pic>
    </p:spTree>
    <p:extLst>
      <p:ext uri="{BB962C8B-B14F-4D97-AF65-F5344CB8AC3E}">
        <p14:creationId xmlns:p14="http://schemas.microsoft.com/office/powerpoint/2010/main" val="57070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blank" preserve="1">
  <p:cSld name="1_End">
    <p:bg>
      <p:bgPr>
        <a:solidFill>
          <a:srgbClr val="20635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1157851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55431862-5733-4EA7-83BB-3F6E69A4E753}"/>
              </a:ext>
            </a:extLst>
          </p:cNvPr>
          <p:cNvSpPr txBox="1">
            <a:spLocks/>
          </p:cNvSpPr>
          <p:nvPr userDrawn="1"/>
        </p:nvSpPr>
        <p:spPr>
          <a:xfrm>
            <a:off x="331661" y="3385615"/>
            <a:ext cx="5560939" cy="1046440"/>
          </a:xfrm>
          <a:prstGeom prst="rect">
            <a:avLst/>
          </a:prstGeom>
        </p:spPr>
        <p:txBody>
          <a:bodyPr vert="horz" wrap="square" lIns="0" tIns="0" rIns="0" bIns="0" rtlCol="0" anchor="ctr" anchorCtr="0">
            <a:spAutoFit/>
          </a:bodyPr>
          <a:lstStyle>
            <a:lvl1pPr algn="l" defTabSz="914400" rtl="0" eaLnBrk="1" latinLnBrk="0" hangingPunct="1">
              <a:lnSpc>
                <a:spcPct val="100000"/>
              </a:lnSpc>
              <a:spcBef>
                <a:spcPct val="0"/>
              </a:spcBef>
              <a:buNone/>
              <a:defRPr sz="4800" b="0" i="0" kern="1200" cap="all"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358" rtl="0" eaLnBrk="1" fontAlgn="auto" latinLnBrk="0" hangingPunct="1">
              <a:lnSpc>
                <a:spcPct val="100000"/>
              </a:lnSpc>
              <a:spcBef>
                <a:spcPct val="0"/>
              </a:spcBef>
              <a:spcAft>
                <a:spcPts val="0"/>
              </a:spcAft>
              <a:buClrTx/>
              <a:buSzTx/>
              <a:buFontTx/>
              <a:buNone/>
              <a:tabLst/>
              <a:defRPr/>
            </a:pPr>
            <a:r>
              <a:rPr kumimoji="0" lang="en-US" sz="28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Thank you</a:t>
            </a:r>
            <a:br>
              <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rPr>
            </a:br>
            <a:br>
              <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rPr>
            </a:br>
            <a:endPar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endParaRPr>
          </a:p>
        </p:txBody>
      </p:sp>
      <p:pic>
        <p:nvPicPr>
          <p:cNvPr id="3" name="Picture 2">
            <a:extLst>
              <a:ext uri="{FF2B5EF4-FFF2-40B4-BE49-F238E27FC236}">
                <a16:creationId xmlns:a16="http://schemas.microsoft.com/office/drawing/2014/main" id="{CCB16740-4E75-7B90-0988-B1417F945DB8}"/>
              </a:ext>
            </a:extLst>
          </p:cNvPr>
          <p:cNvPicPr>
            <a:picLocks noChangeAspect="1"/>
          </p:cNvPicPr>
          <p:nvPr userDrawn="1"/>
        </p:nvPicPr>
        <p:blipFill>
          <a:blip r:embed="rId5">
            <a:alphaModFix/>
          </a:blip>
          <a:stretch>
            <a:fillRect/>
          </a:stretch>
        </p:blipFill>
        <p:spPr>
          <a:xfrm>
            <a:off x="308008" y="372645"/>
            <a:ext cx="3067017" cy="862430"/>
          </a:xfrm>
          <a:prstGeom prst="rect">
            <a:avLst/>
          </a:prstGeom>
        </p:spPr>
      </p:pic>
      <p:pic>
        <p:nvPicPr>
          <p:cNvPr id="4" name="Picture 3">
            <a:extLst>
              <a:ext uri="{FF2B5EF4-FFF2-40B4-BE49-F238E27FC236}">
                <a16:creationId xmlns:a16="http://schemas.microsoft.com/office/drawing/2014/main" id="{4048429E-3517-524E-0562-439BAC791D33}"/>
              </a:ext>
            </a:extLst>
          </p:cNvPr>
          <p:cNvPicPr>
            <a:picLocks noChangeAspect="1"/>
          </p:cNvPicPr>
          <p:nvPr userDrawn="1"/>
        </p:nvPicPr>
        <p:blipFill>
          <a:blip r:embed="rId6"/>
          <a:stretch>
            <a:fillRect/>
          </a:stretch>
        </p:blipFill>
        <p:spPr>
          <a:xfrm>
            <a:off x="5905500" y="0"/>
            <a:ext cx="6286500" cy="6858000"/>
          </a:xfrm>
          <a:prstGeom prst="rect">
            <a:avLst/>
          </a:prstGeom>
        </p:spPr>
      </p:pic>
    </p:spTree>
    <p:extLst>
      <p:ext uri="{BB962C8B-B14F-4D97-AF65-F5344CB8AC3E}">
        <p14:creationId xmlns:p14="http://schemas.microsoft.com/office/powerpoint/2010/main" val="1011439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2_End">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1157851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55431862-5733-4EA7-83BB-3F6E69A4E753}"/>
              </a:ext>
            </a:extLst>
          </p:cNvPr>
          <p:cNvSpPr txBox="1">
            <a:spLocks/>
          </p:cNvSpPr>
          <p:nvPr userDrawn="1"/>
        </p:nvSpPr>
        <p:spPr>
          <a:xfrm>
            <a:off x="331661" y="3385615"/>
            <a:ext cx="5560939" cy="1046440"/>
          </a:xfrm>
          <a:prstGeom prst="rect">
            <a:avLst/>
          </a:prstGeom>
        </p:spPr>
        <p:txBody>
          <a:bodyPr vert="horz" wrap="square" lIns="0" tIns="0" rIns="0" bIns="0" rtlCol="0" anchor="ctr" anchorCtr="0">
            <a:spAutoFit/>
          </a:bodyPr>
          <a:lstStyle>
            <a:lvl1pPr algn="l" defTabSz="914400" rtl="0" eaLnBrk="1" latinLnBrk="0" hangingPunct="1">
              <a:lnSpc>
                <a:spcPct val="100000"/>
              </a:lnSpc>
              <a:spcBef>
                <a:spcPct val="0"/>
              </a:spcBef>
              <a:buNone/>
              <a:defRPr sz="4800" b="0" i="0" kern="1200" cap="all"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358" rtl="0" eaLnBrk="1" fontAlgn="auto" latinLnBrk="0" hangingPunct="1">
              <a:lnSpc>
                <a:spcPct val="100000"/>
              </a:lnSpc>
              <a:spcBef>
                <a:spcPct val="0"/>
              </a:spcBef>
              <a:spcAft>
                <a:spcPts val="0"/>
              </a:spcAft>
              <a:buClrTx/>
              <a:buSzTx/>
              <a:buFontTx/>
              <a:buNone/>
              <a:tabLst/>
              <a:defRPr/>
            </a:pPr>
            <a:r>
              <a:rPr kumimoji="0" lang="en-US" sz="28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Thank you</a:t>
            </a:r>
            <a:br>
              <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rPr>
            </a:br>
            <a:br>
              <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rPr>
            </a:br>
            <a:endPar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endParaRPr>
          </a:p>
        </p:txBody>
      </p:sp>
      <p:pic>
        <p:nvPicPr>
          <p:cNvPr id="3" name="Picture 2">
            <a:extLst>
              <a:ext uri="{FF2B5EF4-FFF2-40B4-BE49-F238E27FC236}">
                <a16:creationId xmlns:a16="http://schemas.microsoft.com/office/drawing/2014/main" id="{CCB16740-4E75-7B90-0988-B1417F945DB8}"/>
              </a:ext>
            </a:extLst>
          </p:cNvPr>
          <p:cNvPicPr>
            <a:picLocks noChangeAspect="1"/>
          </p:cNvPicPr>
          <p:nvPr userDrawn="1"/>
        </p:nvPicPr>
        <p:blipFill>
          <a:blip r:embed="rId5">
            <a:alphaModFix/>
          </a:blip>
          <a:stretch>
            <a:fillRect/>
          </a:stretch>
        </p:blipFill>
        <p:spPr>
          <a:xfrm>
            <a:off x="308008" y="372645"/>
            <a:ext cx="3067017" cy="862430"/>
          </a:xfrm>
          <a:prstGeom prst="rect">
            <a:avLst/>
          </a:prstGeom>
        </p:spPr>
      </p:pic>
      <p:pic>
        <p:nvPicPr>
          <p:cNvPr id="4" name="Picture 3">
            <a:extLst>
              <a:ext uri="{FF2B5EF4-FFF2-40B4-BE49-F238E27FC236}">
                <a16:creationId xmlns:a16="http://schemas.microsoft.com/office/drawing/2014/main" id="{4048429E-3517-524E-0562-439BAC791D33}"/>
              </a:ext>
            </a:extLst>
          </p:cNvPr>
          <p:cNvPicPr>
            <a:picLocks noChangeAspect="1"/>
          </p:cNvPicPr>
          <p:nvPr userDrawn="1"/>
        </p:nvPicPr>
        <p:blipFill>
          <a:blip r:embed="rId6"/>
          <a:stretch>
            <a:fillRect/>
          </a:stretch>
        </p:blipFill>
        <p:spPr>
          <a:xfrm>
            <a:off x="5905500" y="0"/>
            <a:ext cx="6286500" cy="6858000"/>
          </a:xfrm>
          <a:prstGeom prst="rect">
            <a:avLst/>
          </a:prstGeom>
        </p:spPr>
      </p:pic>
    </p:spTree>
    <p:extLst>
      <p:ext uri="{BB962C8B-B14F-4D97-AF65-F5344CB8AC3E}">
        <p14:creationId xmlns:p14="http://schemas.microsoft.com/office/powerpoint/2010/main" val="3763496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3_End">
    <p:bg>
      <p:bgPr>
        <a:solidFill>
          <a:srgbClr val="4B30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1157851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55431862-5733-4EA7-83BB-3F6E69A4E753}"/>
              </a:ext>
            </a:extLst>
          </p:cNvPr>
          <p:cNvSpPr txBox="1">
            <a:spLocks/>
          </p:cNvSpPr>
          <p:nvPr userDrawn="1"/>
        </p:nvSpPr>
        <p:spPr>
          <a:xfrm>
            <a:off x="331661" y="3385615"/>
            <a:ext cx="5560939" cy="1046440"/>
          </a:xfrm>
          <a:prstGeom prst="rect">
            <a:avLst/>
          </a:prstGeom>
        </p:spPr>
        <p:txBody>
          <a:bodyPr vert="horz" wrap="square" lIns="0" tIns="0" rIns="0" bIns="0" rtlCol="0" anchor="ctr" anchorCtr="0">
            <a:spAutoFit/>
          </a:bodyPr>
          <a:lstStyle>
            <a:lvl1pPr algn="l" defTabSz="914400" rtl="0" eaLnBrk="1" latinLnBrk="0" hangingPunct="1">
              <a:lnSpc>
                <a:spcPct val="100000"/>
              </a:lnSpc>
              <a:spcBef>
                <a:spcPct val="0"/>
              </a:spcBef>
              <a:buNone/>
              <a:defRPr sz="4800" b="0" i="0" kern="1200" cap="all"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358" rtl="0" eaLnBrk="1" fontAlgn="auto" latinLnBrk="0" hangingPunct="1">
              <a:lnSpc>
                <a:spcPct val="100000"/>
              </a:lnSpc>
              <a:spcBef>
                <a:spcPct val="0"/>
              </a:spcBef>
              <a:spcAft>
                <a:spcPts val="0"/>
              </a:spcAft>
              <a:buClrTx/>
              <a:buSzTx/>
              <a:buFontTx/>
              <a:buNone/>
              <a:tabLst/>
              <a:defRPr/>
            </a:pPr>
            <a:r>
              <a:rPr kumimoji="0" lang="en-US" sz="28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Thank you</a:t>
            </a:r>
            <a:br>
              <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rPr>
            </a:br>
            <a:br>
              <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rPr>
            </a:br>
            <a:endPar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endParaRPr>
          </a:p>
        </p:txBody>
      </p:sp>
      <p:pic>
        <p:nvPicPr>
          <p:cNvPr id="3" name="Picture 2">
            <a:extLst>
              <a:ext uri="{FF2B5EF4-FFF2-40B4-BE49-F238E27FC236}">
                <a16:creationId xmlns:a16="http://schemas.microsoft.com/office/drawing/2014/main" id="{CCB16740-4E75-7B90-0988-B1417F945DB8}"/>
              </a:ext>
            </a:extLst>
          </p:cNvPr>
          <p:cNvPicPr>
            <a:picLocks noChangeAspect="1"/>
          </p:cNvPicPr>
          <p:nvPr userDrawn="1"/>
        </p:nvPicPr>
        <p:blipFill>
          <a:blip r:embed="rId5">
            <a:alphaModFix/>
          </a:blip>
          <a:stretch>
            <a:fillRect/>
          </a:stretch>
        </p:blipFill>
        <p:spPr>
          <a:xfrm>
            <a:off x="308008" y="372645"/>
            <a:ext cx="3067017" cy="862430"/>
          </a:xfrm>
          <a:prstGeom prst="rect">
            <a:avLst/>
          </a:prstGeom>
        </p:spPr>
      </p:pic>
      <p:pic>
        <p:nvPicPr>
          <p:cNvPr id="4" name="Picture 3">
            <a:extLst>
              <a:ext uri="{FF2B5EF4-FFF2-40B4-BE49-F238E27FC236}">
                <a16:creationId xmlns:a16="http://schemas.microsoft.com/office/drawing/2014/main" id="{4048429E-3517-524E-0562-439BAC791D33}"/>
              </a:ext>
            </a:extLst>
          </p:cNvPr>
          <p:cNvPicPr>
            <a:picLocks noChangeAspect="1"/>
          </p:cNvPicPr>
          <p:nvPr userDrawn="1"/>
        </p:nvPicPr>
        <p:blipFill>
          <a:blip r:embed="rId6"/>
          <a:stretch>
            <a:fillRect/>
          </a:stretch>
        </p:blipFill>
        <p:spPr>
          <a:xfrm>
            <a:off x="5905500" y="0"/>
            <a:ext cx="6286500" cy="6858000"/>
          </a:xfrm>
          <a:prstGeom prst="rect">
            <a:avLst/>
          </a:prstGeom>
        </p:spPr>
      </p:pic>
    </p:spTree>
    <p:extLst>
      <p:ext uri="{BB962C8B-B14F-4D97-AF65-F5344CB8AC3E}">
        <p14:creationId xmlns:p14="http://schemas.microsoft.com/office/powerpoint/2010/main" val="1526099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80F3185-02D0-4035-9015-75095CBE06BC}"/>
              </a:ext>
            </a:extLst>
          </p:cNvPr>
          <p:cNvGraphicFramePr>
            <a:graphicFrameLocks noChangeAspect="1"/>
          </p:cNvGraphicFramePr>
          <p:nvPr userDrawn="1">
            <p:custDataLst>
              <p:tags r:id="rId1"/>
            </p:custDataLst>
            <p:extLst>
              <p:ext uri="{D42A27DB-BD31-4B8C-83A1-F6EECF244321}">
                <p14:modId xmlns:p14="http://schemas.microsoft.com/office/powerpoint/2010/main" val="59667375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F80F3185-02D0-4035-9015-75095CBE06BC}"/>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56"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94" name="Date Placeholder 1">
            <a:extLst>
              <a:ext uri="{FF2B5EF4-FFF2-40B4-BE49-F238E27FC236}">
                <a16:creationId xmlns:a16="http://schemas.microsoft.com/office/drawing/2014/main" id="{0A4C2A64-7D47-4299-8943-48D93BA5B676}"/>
              </a:ext>
            </a:extLst>
          </p:cNvPr>
          <p:cNvSpPr>
            <a:spLocks noGrp="1"/>
          </p:cNvSpPr>
          <p:nvPr>
            <p:ph type="dt" sz="half" idx="10"/>
          </p:nvPr>
        </p:nvSpPr>
        <p:spPr>
          <a:xfrm>
            <a:off x="9677400" y="6405037"/>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grpSp>
        <p:nvGrpSpPr>
          <p:cNvPr id="95" name="Group 94">
            <a:extLst>
              <a:ext uri="{FF2B5EF4-FFF2-40B4-BE49-F238E27FC236}">
                <a16:creationId xmlns:a16="http://schemas.microsoft.com/office/drawing/2014/main" id="{D9C7CB83-269C-487A-BD44-82B4F5A0B2D9}"/>
              </a:ext>
            </a:extLst>
          </p:cNvPr>
          <p:cNvGrpSpPr/>
          <p:nvPr userDrawn="1"/>
        </p:nvGrpSpPr>
        <p:grpSpPr>
          <a:xfrm>
            <a:off x="-600" y="-1"/>
            <a:ext cx="12193800" cy="6858001"/>
            <a:chOff x="-600" y="-1"/>
            <a:chExt cx="12193800" cy="6858001"/>
          </a:xfrm>
        </p:grpSpPr>
        <p:sp>
          <p:nvSpPr>
            <p:cNvPr id="96" name="No fly zone">
              <a:extLst>
                <a:ext uri="{FF2B5EF4-FFF2-40B4-BE49-F238E27FC236}">
                  <a16:creationId xmlns:a16="http://schemas.microsoft.com/office/drawing/2014/main" id="{D82C2485-388C-4603-9C35-F98C733AFF74}"/>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1"/>
                </a:solidFill>
                <a:latin typeface="+mn-lt"/>
                <a:ea typeface="+mn-ea"/>
                <a:cs typeface="+mn-cs"/>
              </a:endParaRPr>
            </a:p>
          </p:txBody>
        </p:sp>
        <p:grpSp>
          <p:nvGrpSpPr>
            <p:cNvPr id="97" name="Group 96">
              <a:extLst>
                <a:ext uri="{FF2B5EF4-FFF2-40B4-BE49-F238E27FC236}">
                  <a16:creationId xmlns:a16="http://schemas.microsoft.com/office/drawing/2014/main" id="{62520759-B716-44D2-B9F5-BD1EE83915DE}"/>
                </a:ext>
              </a:extLst>
            </p:cNvPr>
            <p:cNvGrpSpPr/>
            <p:nvPr userDrawn="1"/>
          </p:nvGrpSpPr>
          <p:grpSpPr>
            <a:xfrm>
              <a:off x="-600" y="191863"/>
              <a:ext cx="12193200" cy="5969223"/>
              <a:chOff x="-600" y="191863"/>
              <a:chExt cx="12193200" cy="5969223"/>
            </a:xfrm>
          </p:grpSpPr>
          <p:cxnSp>
            <p:nvCxnSpPr>
              <p:cNvPr id="121" name="Straight Connector 120">
                <a:extLst>
                  <a:ext uri="{FF2B5EF4-FFF2-40B4-BE49-F238E27FC236}">
                    <a16:creationId xmlns:a16="http://schemas.microsoft.com/office/drawing/2014/main" id="{BE7DA430-E6F8-4020-95CF-2F5890C7FCDE}"/>
                  </a:ext>
                </a:extLst>
              </p:cNvPr>
              <p:cNvCxnSpPr/>
              <p:nvPr/>
            </p:nvCxnSpPr>
            <p:spPr>
              <a:xfrm>
                <a:off x="-600" y="19186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00598191-9C25-4773-B508-5B767F58E278}"/>
                  </a:ext>
                </a:extLst>
              </p:cNvPr>
              <p:cNvCxnSpPr/>
              <p:nvPr/>
            </p:nvCxnSpPr>
            <p:spPr>
              <a:xfrm>
                <a:off x="-600" y="8449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B596CE0-874A-4DDB-A88A-93B1881944A9}"/>
                  </a:ext>
                </a:extLst>
              </p:cNvPr>
              <p:cNvCxnSpPr/>
              <p:nvPr/>
            </p:nvCxnSpPr>
            <p:spPr>
              <a:xfrm>
                <a:off x="-600" y="117147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DE3B327-2A41-4DC6-A91E-337F5FB5F8D0}"/>
                  </a:ext>
                </a:extLst>
              </p:cNvPr>
              <p:cNvCxnSpPr/>
              <p:nvPr/>
            </p:nvCxnSpPr>
            <p:spPr>
              <a:xfrm>
                <a:off x="-600" y="149801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E644AC12-9099-45F7-A11A-B82B8900202C}"/>
                  </a:ext>
                </a:extLst>
              </p:cNvPr>
              <p:cNvCxnSpPr/>
              <p:nvPr/>
            </p:nvCxnSpPr>
            <p:spPr>
              <a:xfrm>
                <a:off x="-600" y="178961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07B0ED2E-3E64-427D-B52D-25EEACC1FF3D}"/>
                  </a:ext>
                </a:extLst>
              </p:cNvPr>
              <p:cNvCxnSpPr/>
              <p:nvPr/>
            </p:nvCxnSpPr>
            <p:spPr>
              <a:xfrm>
                <a:off x="-600" y="208121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E957DC7-2A8F-4398-B3F8-9A2F889E147A}"/>
                  </a:ext>
                </a:extLst>
              </p:cNvPr>
              <p:cNvCxnSpPr/>
              <p:nvPr/>
            </p:nvCxnSpPr>
            <p:spPr>
              <a:xfrm>
                <a:off x="-600" y="5184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5F935B4-1802-49A3-A0DD-84141FE1F257}"/>
                  </a:ext>
                </a:extLst>
              </p:cNvPr>
              <p:cNvCxnSpPr/>
              <p:nvPr/>
            </p:nvCxnSpPr>
            <p:spPr>
              <a:xfrm>
                <a:off x="-600" y="239504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A24394F-5C14-4E09-8332-35B65EBBB229}"/>
                  </a:ext>
                </a:extLst>
              </p:cNvPr>
              <p:cNvCxnSpPr/>
              <p:nvPr/>
            </p:nvCxnSpPr>
            <p:spPr>
              <a:xfrm>
                <a:off x="-600" y="270888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40F51B39-0707-4E99-9D52-A348E4462159}"/>
                  </a:ext>
                </a:extLst>
              </p:cNvPr>
              <p:cNvCxnSpPr/>
              <p:nvPr/>
            </p:nvCxnSpPr>
            <p:spPr>
              <a:xfrm>
                <a:off x="-600" y="30227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2FA0B0BC-D9D5-44D8-8006-13A9850DDF9F}"/>
                  </a:ext>
                </a:extLst>
              </p:cNvPr>
              <p:cNvCxnSpPr/>
              <p:nvPr/>
            </p:nvCxnSpPr>
            <p:spPr>
              <a:xfrm>
                <a:off x="-600" y="333655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6389B5C5-A4AE-46C1-9ABB-0CA5BDA1F023}"/>
                  </a:ext>
                </a:extLst>
              </p:cNvPr>
              <p:cNvCxnSpPr/>
              <p:nvPr/>
            </p:nvCxnSpPr>
            <p:spPr>
              <a:xfrm>
                <a:off x="-600" y="365039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F1733485-55A2-46C4-8FB6-D7971045250F}"/>
                  </a:ext>
                </a:extLst>
              </p:cNvPr>
              <p:cNvCxnSpPr/>
              <p:nvPr/>
            </p:nvCxnSpPr>
            <p:spPr>
              <a:xfrm>
                <a:off x="-600" y="396422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110AC530-5A59-46D3-A144-D9D94D4E9661}"/>
                  </a:ext>
                </a:extLst>
              </p:cNvPr>
              <p:cNvCxnSpPr/>
              <p:nvPr/>
            </p:nvCxnSpPr>
            <p:spPr>
              <a:xfrm>
                <a:off x="-600" y="427806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3F43B3FD-0097-40C7-9941-5A2239A1EABC}"/>
                  </a:ext>
                </a:extLst>
              </p:cNvPr>
              <p:cNvCxnSpPr/>
              <p:nvPr/>
            </p:nvCxnSpPr>
            <p:spPr>
              <a:xfrm>
                <a:off x="-600" y="45919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EB2A468-BFAD-4233-9F19-EBE47FF1923F}"/>
                  </a:ext>
                </a:extLst>
              </p:cNvPr>
              <p:cNvCxnSpPr/>
              <p:nvPr/>
            </p:nvCxnSpPr>
            <p:spPr>
              <a:xfrm>
                <a:off x="-600" y="490573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33AAC96-E1FC-495C-A6E8-168CDBD97901}"/>
                  </a:ext>
                </a:extLst>
              </p:cNvPr>
              <p:cNvCxnSpPr/>
              <p:nvPr/>
            </p:nvCxnSpPr>
            <p:spPr>
              <a:xfrm>
                <a:off x="-600" y="52195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0DBFE4F2-6C5F-42E7-916A-CCA69AF10EE6}"/>
                  </a:ext>
                </a:extLst>
              </p:cNvPr>
              <p:cNvCxnSpPr/>
              <p:nvPr/>
            </p:nvCxnSpPr>
            <p:spPr>
              <a:xfrm>
                <a:off x="-600" y="553340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EDF33F9-69CD-4C35-9B68-D3EBBEDC1B6A}"/>
                  </a:ext>
                </a:extLst>
              </p:cNvPr>
              <p:cNvCxnSpPr/>
              <p:nvPr/>
            </p:nvCxnSpPr>
            <p:spPr>
              <a:xfrm>
                <a:off x="-600" y="58472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A65E0F91-5BCD-4477-8CDE-9542D38C4F74}"/>
                  </a:ext>
                </a:extLst>
              </p:cNvPr>
              <p:cNvCxnSpPr/>
              <p:nvPr/>
            </p:nvCxnSpPr>
            <p:spPr>
              <a:xfrm>
                <a:off x="-600" y="61610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sp>
          <p:nvSpPr>
            <p:cNvPr id="98" name="Slide edges">
              <a:extLst>
                <a:ext uri="{FF2B5EF4-FFF2-40B4-BE49-F238E27FC236}">
                  <a16:creationId xmlns:a16="http://schemas.microsoft.com/office/drawing/2014/main" id="{15FCBA46-26EF-427F-81E3-C95CDC372263}"/>
                </a:ext>
              </a:extLst>
            </p:cNvPr>
            <p:cNvSpPr>
              <a:spLocks/>
            </p:cNvSpPr>
            <p:nvPr userDrawn="1"/>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99" name="Footnote measure">
              <a:extLst>
                <a:ext uri="{FF2B5EF4-FFF2-40B4-BE49-F238E27FC236}">
                  <a16:creationId xmlns:a16="http://schemas.microsoft.com/office/drawing/2014/main" id="{0C7E5733-1560-46DB-9A72-6F11D4A7A545}"/>
                </a:ext>
              </a:extLst>
            </p:cNvPr>
            <p:cNvSpPr>
              <a:spLocks noChangeArrowheads="1"/>
            </p:cNvSpPr>
            <p:nvPr userDrawn="1"/>
          </p:nvSpPr>
          <p:spPr bwMode="auto">
            <a:xfrm>
              <a:off x="513548" y="6161086"/>
              <a:ext cx="11259866" cy="39885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00" name="Whitespace measure">
              <a:extLst>
                <a:ext uri="{FF2B5EF4-FFF2-40B4-BE49-F238E27FC236}">
                  <a16:creationId xmlns:a16="http://schemas.microsoft.com/office/drawing/2014/main" id="{1F289F77-E682-4052-B6F7-82055E9034AB}"/>
                </a:ext>
              </a:extLst>
            </p:cNvPr>
            <p:cNvSpPr>
              <a:spLocks noChangeArrowheads="1"/>
            </p:cNvSpPr>
            <p:nvPr userDrawn="1"/>
          </p:nvSpPr>
          <p:spPr bwMode="auto">
            <a:xfrm>
              <a:off x="513548" y="1498012"/>
              <a:ext cx="11259865"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grpSp>
          <p:nvGrpSpPr>
            <p:cNvPr id="101" name="Gutter space">
              <a:extLst>
                <a:ext uri="{FF2B5EF4-FFF2-40B4-BE49-F238E27FC236}">
                  <a16:creationId xmlns:a16="http://schemas.microsoft.com/office/drawing/2014/main" id="{6F0D3408-9537-4E44-BC5C-8850E2009942}"/>
                </a:ext>
              </a:extLst>
            </p:cNvPr>
            <p:cNvGrpSpPr/>
            <p:nvPr userDrawn="1"/>
          </p:nvGrpSpPr>
          <p:grpSpPr>
            <a:xfrm>
              <a:off x="1180497" y="191863"/>
              <a:ext cx="9925966" cy="5969223"/>
              <a:chOff x="1277000" y="623550"/>
              <a:chExt cx="9638000" cy="5537047"/>
            </a:xfrm>
          </p:grpSpPr>
          <p:sp>
            <p:nvSpPr>
              <p:cNvPr id="110" name="Rectangle 34">
                <a:extLst>
                  <a:ext uri="{FF2B5EF4-FFF2-40B4-BE49-F238E27FC236}">
                    <a16:creationId xmlns:a16="http://schemas.microsoft.com/office/drawing/2014/main" id="{4D945401-7038-4A62-972E-C34A15EE79FC}"/>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11" name="Rectangle 35">
                <a:extLst>
                  <a:ext uri="{FF2B5EF4-FFF2-40B4-BE49-F238E27FC236}">
                    <a16:creationId xmlns:a16="http://schemas.microsoft.com/office/drawing/2014/main" id="{CF78D13E-FBEE-4D87-B17F-3C8100E2504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12" name="Rectangle 36">
                <a:extLst>
                  <a:ext uri="{FF2B5EF4-FFF2-40B4-BE49-F238E27FC236}">
                    <a16:creationId xmlns:a16="http://schemas.microsoft.com/office/drawing/2014/main" id="{DBA14EE3-5B8B-4518-AD80-C82DE034DCF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13" name="Rectangle 37">
                <a:extLst>
                  <a:ext uri="{FF2B5EF4-FFF2-40B4-BE49-F238E27FC236}">
                    <a16:creationId xmlns:a16="http://schemas.microsoft.com/office/drawing/2014/main" id="{F386394F-ACBE-4EC0-9E45-175A3EC1D2F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14" name="Rectangle 38">
                <a:extLst>
                  <a:ext uri="{FF2B5EF4-FFF2-40B4-BE49-F238E27FC236}">
                    <a16:creationId xmlns:a16="http://schemas.microsoft.com/office/drawing/2014/main" id="{ADF3E4BD-5569-4C8E-AC5D-B1C4327D647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15" name="Rectangle 39">
                <a:extLst>
                  <a:ext uri="{FF2B5EF4-FFF2-40B4-BE49-F238E27FC236}">
                    <a16:creationId xmlns:a16="http://schemas.microsoft.com/office/drawing/2014/main" id="{3D9B6E96-837B-493E-9C56-E356A96D825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16" name="Rectangle 40">
                <a:extLst>
                  <a:ext uri="{FF2B5EF4-FFF2-40B4-BE49-F238E27FC236}">
                    <a16:creationId xmlns:a16="http://schemas.microsoft.com/office/drawing/2014/main" id="{571071F9-45D1-49D8-A3C1-39F5D2DA9FE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17" name="Rectangle 41">
                <a:extLst>
                  <a:ext uri="{FF2B5EF4-FFF2-40B4-BE49-F238E27FC236}">
                    <a16:creationId xmlns:a16="http://schemas.microsoft.com/office/drawing/2014/main" id="{3A7B0DAA-D755-487F-96AF-6FE0E76B121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18" name="Rectangle 42">
                <a:extLst>
                  <a:ext uri="{FF2B5EF4-FFF2-40B4-BE49-F238E27FC236}">
                    <a16:creationId xmlns:a16="http://schemas.microsoft.com/office/drawing/2014/main" id="{3AEE0141-A27B-421F-B160-C1AA4C2A8D2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19" name="Rectangle 43">
                <a:extLst>
                  <a:ext uri="{FF2B5EF4-FFF2-40B4-BE49-F238E27FC236}">
                    <a16:creationId xmlns:a16="http://schemas.microsoft.com/office/drawing/2014/main" id="{65FF9EB4-BF3D-4283-8D7D-D2776F5FA3E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20" name="Rectangle 44">
                <a:extLst>
                  <a:ext uri="{FF2B5EF4-FFF2-40B4-BE49-F238E27FC236}">
                    <a16:creationId xmlns:a16="http://schemas.microsoft.com/office/drawing/2014/main" id="{FE33D568-64BE-4871-B4F2-F86844B6B5B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grpSp>
        <p:grpSp>
          <p:nvGrpSpPr>
            <p:cNvPr id="102" name="Five column measure">
              <a:extLst>
                <a:ext uri="{FF2B5EF4-FFF2-40B4-BE49-F238E27FC236}">
                  <a16:creationId xmlns:a16="http://schemas.microsoft.com/office/drawing/2014/main" id="{26C51934-2BCE-43E4-962E-617D324C06A0}"/>
                </a:ext>
              </a:extLst>
            </p:cNvPr>
            <p:cNvGrpSpPr/>
            <p:nvPr userDrawn="1"/>
          </p:nvGrpSpPr>
          <p:grpSpPr>
            <a:xfrm>
              <a:off x="513548" y="5964397"/>
              <a:ext cx="11259864" cy="79536"/>
              <a:chOff x="629400" y="5975122"/>
              <a:chExt cx="10933200" cy="79536"/>
            </a:xfrm>
          </p:grpSpPr>
          <p:sp>
            <p:nvSpPr>
              <p:cNvPr id="105" name="Rectangle 5">
                <a:extLst>
                  <a:ext uri="{FF2B5EF4-FFF2-40B4-BE49-F238E27FC236}">
                    <a16:creationId xmlns:a16="http://schemas.microsoft.com/office/drawing/2014/main" id="{EFD05215-6CA1-4524-9164-27F5837B819C}"/>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06" name="Rectangle 7">
                <a:extLst>
                  <a:ext uri="{FF2B5EF4-FFF2-40B4-BE49-F238E27FC236}">
                    <a16:creationId xmlns:a16="http://schemas.microsoft.com/office/drawing/2014/main" id="{058A31AF-A307-43E8-966F-07D172149CC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07" name="Rectangle 9">
                <a:extLst>
                  <a:ext uri="{FF2B5EF4-FFF2-40B4-BE49-F238E27FC236}">
                    <a16:creationId xmlns:a16="http://schemas.microsoft.com/office/drawing/2014/main" id="{C47CEDE4-F42C-4960-A4C2-94907A9A817D}"/>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08" name="Rectangle 11">
                <a:extLst>
                  <a:ext uri="{FF2B5EF4-FFF2-40B4-BE49-F238E27FC236}">
                    <a16:creationId xmlns:a16="http://schemas.microsoft.com/office/drawing/2014/main" id="{ABE799E7-A01F-416B-85EB-FF14F4FC5665}"/>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09" name="Rectangle 13">
                <a:extLst>
                  <a:ext uri="{FF2B5EF4-FFF2-40B4-BE49-F238E27FC236}">
                    <a16:creationId xmlns:a16="http://schemas.microsoft.com/office/drawing/2014/main" id="{766974FB-1D38-43CF-A059-4967D66649B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grpSp>
        <p:sp>
          <p:nvSpPr>
            <p:cNvPr id="103" name="ee4pFootnotesSam">
              <a:extLst>
                <a:ext uri="{FF2B5EF4-FFF2-40B4-BE49-F238E27FC236}">
                  <a16:creationId xmlns:a16="http://schemas.microsoft.com/office/drawing/2014/main" id="{C5909B19-6C82-4601-B6F7-FE96AE942B63}"/>
                </a:ext>
              </a:extLst>
            </p:cNvPr>
            <p:cNvSpPr>
              <a:spLocks noChangeArrowheads="1"/>
            </p:cNvSpPr>
            <p:nvPr userDrawn="1"/>
          </p:nvSpPr>
          <p:spPr bwMode="auto">
            <a:xfrm>
              <a:off x="534939" y="6144442"/>
              <a:ext cx="9125975"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defTabSz="457179">
                <a:lnSpc>
                  <a:spcPct val="90000"/>
                </a:lnSpc>
              </a:pPr>
              <a:r>
                <a:rPr lang="en-US" sz="1000">
                  <a:solidFill>
                    <a:prstClr val="white">
                      <a:lumMod val="50000"/>
                    </a:prstClr>
                  </a:solidFill>
                  <a:latin typeface="+mn-lt"/>
                  <a:ea typeface="+mn-ea"/>
                  <a:cs typeface="+mn-cs"/>
                </a:rPr>
                <a:t>1. xxxx  2. xxxx  3. xxxx</a:t>
              </a:r>
            </a:p>
            <a:p>
              <a:pPr defTabSz="457179">
                <a:lnSpc>
                  <a:spcPct val="90000"/>
                </a:lnSpc>
              </a:pPr>
              <a:r>
                <a:rPr lang="en-US" sz="1000">
                  <a:solidFill>
                    <a:prstClr val="white">
                      <a:lumMod val="50000"/>
                    </a:prstClr>
                  </a:solidFill>
                  <a:latin typeface="+mn-lt"/>
                  <a:ea typeface="+mn-ea"/>
                  <a:cs typeface="+mn-cs"/>
                </a:rPr>
                <a:t>Note: List footnotes in numerical order. Footnote numbers are not bracketed. Use 10pt font. Do not put a period at the end of the note or the source</a:t>
              </a:r>
            </a:p>
            <a:p>
              <a:pPr defTabSz="457179">
                <a:lnSpc>
                  <a:spcPct val="90000"/>
                </a:lnSpc>
              </a:pPr>
              <a:r>
                <a:rPr lang="en-US" sz="1000">
                  <a:solidFill>
                    <a:prstClr val="white">
                      <a:lumMod val="50000"/>
                    </a:prstClr>
                  </a:solidFill>
                  <a:latin typeface="+mn-lt"/>
                  <a:ea typeface="+mn-ea"/>
                  <a:cs typeface="+mn-cs"/>
                </a:rPr>
                <a:t>Source: Include a source for every chart that you use. Separate sources with a semicolon; BCG-related sources go at the end</a:t>
              </a:r>
            </a:p>
          </p:txBody>
        </p:sp>
        <p:sp>
          <p:nvSpPr>
            <p:cNvPr id="104" name="Live area">
              <a:extLst>
                <a:ext uri="{FF2B5EF4-FFF2-40B4-BE49-F238E27FC236}">
                  <a16:creationId xmlns:a16="http://schemas.microsoft.com/office/drawing/2014/main" id="{03ABADE5-C2DC-46E1-8B6D-DBF53EE7D451}"/>
                </a:ext>
              </a:extLst>
            </p:cNvPr>
            <p:cNvSpPr/>
            <p:nvPr userDrawn="1"/>
          </p:nvSpPr>
          <p:spPr>
            <a:xfrm>
              <a:off x="513548" y="2081212"/>
              <a:ext cx="11259867" cy="4079874"/>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grpSp>
    </p:spTree>
    <p:extLst>
      <p:ext uri="{BB962C8B-B14F-4D97-AF65-F5344CB8AC3E}">
        <p14:creationId xmlns:p14="http://schemas.microsoft.com/office/powerpoint/2010/main" val="221504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rgbClr val="1F467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3078761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0" name="Subtitle 2">
            <a:extLst>
              <a:ext uri="{FF2B5EF4-FFF2-40B4-BE49-F238E27FC236}">
                <a16:creationId xmlns:a16="http://schemas.microsoft.com/office/drawing/2014/main" id="{94B367C2-42FA-4BB9-9934-E0D86C36B508}"/>
              </a:ext>
            </a:extLst>
          </p:cNvPr>
          <p:cNvSpPr>
            <a:spLocks noGrp="1"/>
          </p:cNvSpPr>
          <p:nvPr>
            <p:ph type="subTitle" idx="1" hasCustomPrompt="1"/>
          </p:nvPr>
        </p:nvSpPr>
        <p:spPr>
          <a:xfrm>
            <a:off x="441325" y="5722207"/>
            <a:ext cx="2835687" cy="307777"/>
          </a:xfrm>
        </p:spPr>
        <p:txBody>
          <a:bodyPr anchor="t" anchorCtr="0"/>
          <a:lstStyle>
            <a:lvl1pPr marL="0" indent="0" algn="l">
              <a:buNone/>
              <a:defRPr sz="20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GB"/>
              <a:t>Date goes here</a:t>
            </a:r>
            <a:endParaRPr lang="en-US"/>
          </a:p>
        </p:txBody>
      </p:sp>
      <p:sp>
        <p:nvSpPr>
          <p:cNvPr id="11" name="Text Placeholder 2">
            <a:extLst>
              <a:ext uri="{FF2B5EF4-FFF2-40B4-BE49-F238E27FC236}">
                <a16:creationId xmlns:a16="http://schemas.microsoft.com/office/drawing/2014/main" id="{7ED56106-0FE6-4611-8084-FACE1032A4BA}"/>
              </a:ext>
            </a:extLst>
          </p:cNvPr>
          <p:cNvSpPr>
            <a:spLocks noGrp="1"/>
          </p:cNvSpPr>
          <p:nvPr>
            <p:ph type="body" idx="10" hasCustomPrompt="1"/>
          </p:nvPr>
        </p:nvSpPr>
        <p:spPr>
          <a:xfrm>
            <a:off x="443191" y="6039049"/>
            <a:ext cx="5529592" cy="307777"/>
          </a:xfrm>
        </p:spPr>
        <p:txBody>
          <a:bodyPr anchor="t" anchorCtr="0"/>
          <a:lstStyle>
            <a:lvl1pPr marL="0" indent="0">
              <a:buNone/>
              <a:defRPr sz="2000" b="1">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Location goes here</a:t>
            </a:r>
          </a:p>
        </p:txBody>
      </p:sp>
      <p:pic>
        <p:nvPicPr>
          <p:cNvPr id="13" name="Picture 12">
            <a:extLst>
              <a:ext uri="{FF2B5EF4-FFF2-40B4-BE49-F238E27FC236}">
                <a16:creationId xmlns:a16="http://schemas.microsoft.com/office/drawing/2014/main" id="{90171304-95B1-4931-AC11-212B7F34C485}"/>
              </a:ext>
            </a:extLst>
          </p:cNvPr>
          <p:cNvPicPr>
            <a:picLocks noChangeAspect="1"/>
          </p:cNvPicPr>
          <p:nvPr userDrawn="1"/>
        </p:nvPicPr>
        <p:blipFill>
          <a:blip r:embed="rId6">
            <a:alphaModFix/>
          </a:blip>
          <a:stretch>
            <a:fillRect/>
          </a:stretch>
        </p:blipFill>
        <p:spPr>
          <a:xfrm>
            <a:off x="308008" y="372645"/>
            <a:ext cx="3067017" cy="862430"/>
          </a:xfrm>
          <a:prstGeom prst="rect">
            <a:avLst/>
          </a:prstGeom>
        </p:spPr>
      </p:pic>
      <p:sp>
        <p:nvSpPr>
          <p:cNvPr id="18" name="Title 4">
            <a:extLst>
              <a:ext uri="{FF2B5EF4-FFF2-40B4-BE49-F238E27FC236}">
                <a16:creationId xmlns:a16="http://schemas.microsoft.com/office/drawing/2014/main" id="{1D0BD9B2-206F-4B58-927B-F7FFB44AB1F8}"/>
              </a:ext>
            </a:extLst>
          </p:cNvPr>
          <p:cNvSpPr>
            <a:spLocks noGrp="1"/>
          </p:cNvSpPr>
          <p:nvPr>
            <p:ph type="title" hasCustomPrompt="1"/>
          </p:nvPr>
        </p:nvSpPr>
        <p:spPr>
          <a:xfrm>
            <a:off x="406514" y="2708508"/>
            <a:ext cx="6215743" cy="615553"/>
          </a:xfrm>
        </p:spPr>
        <p:txBody>
          <a:bodyPr vert="horz" lIns="0" tIns="0" rIns="0" bIns="0" anchor="ctr"/>
          <a:lstStyle>
            <a:lvl1pPr>
              <a:defRPr sz="4800" cap="all" baseline="0">
                <a:solidFill>
                  <a:schemeClr val="bg1"/>
                </a:solidFill>
                <a:latin typeface="+mj-lt"/>
                <a:ea typeface="+mj-ea"/>
                <a:cs typeface="+mj-cs"/>
              </a:defRPr>
            </a:lvl1pPr>
          </a:lstStyle>
          <a:p>
            <a:r>
              <a:rPr lang="en-US"/>
              <a:t>Click to add title</a:t>
            </a:r>
          </a:p>
        </p:txBody>
      </p:sp>
      <p:pic>
        <p:nvPicPr>
          <p:cNvPr id="2" name="Picture 1">
            <a:extLst>
              <a:ext uri="{FF2B5EF4-FFF2-40B4-BE49-F238E27FC236}">
                <a16:creationId xmlns:a16="http://schemas.microsoft.com/office/drawing/2014/main" id="{F908FC3D-5F5A-A42E-8958-BCB98344A14F}"/>
              </a:ext>
            </a:extLst>
          </p:cNvPr>
          <p:cNvPicPr>
            <a:picLocks noChangeAspect="1"/>
          </p:cNvPicPr>
          <p:nvPr userDrawn="1"/>
        </p:nvPicPr>
        <p:blipFill>
          <a:blip r:embed="rId7"/>
          <a:stretch>
            <a:fillRect/>
          </a:stretch>
        </p:blipFill>
        <p:spPr>
          <a:xfrm>
            <a:off x="5905500" y="0"/>
            <a:ext cx="6286500" cy="6858000"/>
          </a:xfrm>
          <a:prstGeom prst="rect">
            <a:avLst/>
          </a:prstGeom>
        </p:spPr>
      </p:pic>
    </p:spTree>
    <p:extLst>
      <p:ext uri="{BB962C8B-B14F-4D97-AF65-F5344CB8AC3E}">
        <p14:creationId xmlns:p14="http://schemas.microsoft.com/office/powerpoint/2010/main" val="4152011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Title Slide_1">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1634275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0" name="Subtitle 2">
            <a:extLst>
              <a:ext uri="{FF2B5EF4-FFF2-40B4-BE49-F238E27FC236}">
                <a16:creationId xmlns:a16="http://schemas.microsoft.com/office/drawing/2014/main" id="{94B367C2-42FA-4BB9-9934-E0D86C36B508}"/>
              </a:ext>
            </a:extLst>
          </p:cNvPr>
          <p:cNvSpPr>
            <a:spLocks noGrp="1"/>
          </p:cNvSpPr>
          <p:nvPr>
            <p:ph type="subTitle" idx="1" hasCustomPrompt="1"/>
          </p:nvPr>
        </p:nvSpPr>
        <p:spPr>
          <a:xfrm>
            <a:off x="441325" y="5722207"/>
            <a:ext cx="2835687" cy="307777"/>
          </a:xfrm>
        </p:spPr>
        <p:txBody>
          <a:bodyPr anchor="t" anchorCtr="0"/>
          <a:lstStyle>
            <a:lvl1pPr marL="0" indent="0" algn="l">
              <a:buNone/>
              <a:defRPr sz="20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GB"/>
              <a:t>Date goes here</a:t>
            </a:r>
            <a:endParaRPr lang="en-US"/>
          </a:p>
        </p:txBody>
      </p:sp>
      <p:sp>
        <p:nvSpPr>
          <p:cNvPr id="11" name="Text Placeholder 2">
            <a:extLst>
              <a:ext uri="{FF2B5EF4-FFF2-40B4-BE49-F238E27FC236}">
                <a16:creationId xmlns:a16="http://schemas.microsoft.com/office/drawing/2014/main" id="{7ED56106-0FE6-4611-8084-FACE1032A4BA}"/>
              </a:ext>
            </a:extLst>
          </p:cNvPr>
          <p:cNvSpPr>
            <a:spLocks noGrp="1"/>
          </p:cNvSpPr>
          <p:nvPr>
            <p:ph type="body" idx="10" hasCustomPrompt="1"/>
          </p:nvPr>
        </p:nvSpPr>
        <p:spPr>
          <a:xfrm>
            <a:off x="443191" y="6039049"/>
            <a:ext cx="5529592" cy="307777"/>
          </a:xfrm>
        </p:spPr>
        <p:txBody>
          <a:bodyPr anchor="t" anchorCtr="0"/>
          <a:lstStyle>
            <a:lvl1pPr marL="0" indent="0">
              <a:buNone/>
              <a:defRPr sz="2000" b="1">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Location goes here</a:t>
            </a:r>
          </a:p>
        </p:txBody>
      </p:sp>
      <p:pic>
        <p:nvPicPr>
          <p:cNvPr id="13" name="Picture 12">
            <a:extLst>
              <a:ext uri="{FF2B5EF4-FFF2-40B4-BE49-F238E27FC236}">
                <a16:creationId xmlns:a16="http://schemas.microsoft.com/office/drawing/2014/main" id="{90171304-95B1-4931-AC11-212B7F34C485}"/>
              </a:ext>
            </a:extLst>
          </p:cNvPr>
          <p:cNvPicPr>
            <a:picLocks noChangeAspect="1"/>
          </p:cNvPicPr>
          <p:nvPr userDrawn="1"/>
        </p:nvPicPr>
        <p:blipFill>
          <a:blip r:embed="rId6">
            <a:alphaModFix/>
          </a:blip>
          <a:stretch>
            <a:fillRect/>
          </a:stretch>
        </p:blipFill>
        <p:spPr>
          <a:xfrm>
            <a:off x="308008" y="372645"/>
            <a:ext cx="3067017" cy="862430"/>
          </a:xfrm>
          <a:prstGeom prst="rect">
            <a:avLst/>
          </a:prstGeom>
        </p:spPr>
      </p:pic>
      <p:sp>
        <p:nvSpPr>
          <p:cNvPr id="18" name="Title 4">
            <a:extLst>
              <a:ext uri="{FF2B5EF4-FFF2-40B4-BE49-F238E27FC236}">
                <a16:creationId xmlns:a16="http://schemas.microsoft.com/office/drawing/2014/main" id="{1D0BD9B2-206F-4B58-927B-F7FFB44AB1F8}"/>
              </a:ext>
            </a:extLst>
          </p:cNvPr>
          <p:cNvSpPr>
            <a:spLocks noGrp="1"/>
          </p:cNvSpPr>
          <p:nvPr>
            <p:ph type="title" hasCustomPrompt="1"/>
          </p:nvPr>
        </p:nvSpPr>
        <p:spPr>
          <a:xfrm>
            <a:off x="406514" y="2708508"/>
            <a:ext cx="6215743" cy="615553"/>
          </a:xfrm>
        </p:spPr>
        <p:txBody>
          <a:bodyPr vert="horz" lIns="0" tIns="0" rIns="0" bIns="0" anchor="ctr"/>
          <a:lstStyle>
            <a:lvl1pPr>
              <a:defRPr sz="4800" cap="all" baseline="0">
                <a:solidFill>
                  <a:schemeClr val="bg1"/>
                </a:solidFill>
                <a:latin typeface="+mj-lt"/>
                <a:ea typeface="+mj-ea"/>
                <a:cs typeface="+mj-cs"/>
              </a:defRPr>
            </a:lvl1pPr>
          </a:lstStyle>
          <a:p>
            <a:r>
              <a:rPr lang="en-US"/>
              <a:t>Click to add title</a:t>
            </a:r>
          </a:p>
        </p:txBody>
      </p:sp>
      <p:pic>
        <p:nvPicPr>
          <p:cNvPr id="2" name="Picture 1">
            <a:extLst>
              <a:ext uri="{FF2B5EF4-FFF2-40B4-BE49-F238E27FC236}">
                <a16:creationId xmlns:a16="http://schemas.microsoft.com/office/drawing/2014/main" id="{F908FC3D-5F5A-A42E-8958-BCB98344A14F}"/>
              </a:ext>
            </a:extLst>
          </p:cNvPr>
          <p:cNvPicPr>
            <a:picLocks noChangeAspect="1"/>
          </p:cNvPicPr>
          <p:nvPr userDrawn="1"/>
        </p:nvPicPr>
        <p:blipFill>
          <a:blip r:embed="rId7"/>
          <a:stretch>
            <a:fillRect/>
          </a:stretch>
        </p:blipFill>
        <p:spPr>
          <a:xfrm>
            <a:off x="5905500" y="0"/>
            <a:ext cx="6286500" cy="6858000"/>
          </a:xfrm>
          <a:prstGeom prst="rect">
            <a:avLst/>
          </a:prstGeom>
        </p:spPr>
      </p:pic>
    </p:spTree>
    <p:extLst>
      <p:ext uri="{BB962C8B-B14F-4D97-AF65-F5344CB8AC3E}">
        <p14:creationId xmlns:p14="http://schemas.microsoft.com/office/powerpoint/2010/main" val="3219146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1531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Title Slide_2">
    <p:bg>
      <p:bgPr>
        <a:solidFill>
          <a:srgbClr val="206356"/>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1634275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0" name="Subtitle 2">
            <a:extLst>
              <a:ext uri="{FF2B5EF4-FFF2-40B4-BE49-F238E27FC236}">
                <a16:creationId xmlns:a16="http://schemas.microsoft.com/office/drawing/2014/main" id="{94B367C2-42FA-4BB9-9934-E0D86C36B508}"/>
              </a:ext>
            </a:extLst>
          </p:cNvPr>
          <p:cNvSpPr>
            <a:spLocks noGrp="1"/>
          </p:cNvSpPr>
          <p:nvPr>
            <p:ph type="subTitle" idx="1" hasCustomPrompt="1"/>
          </p:nvPr>
        </p:nvSpPr>
        <p:spPr>
          <a:xfrm>
            <a:off x="441325" y="5722207"/>
            <a:ext cx="2835687" cy="307777"/>
          </a:xfrm>
        </p:spPr>
        <p:txBody>
          <a:bodyPr anchor="t" anchorCtr="0"/>
          <a:lstStyle>
            <a:lvl1pPr marL="0" indent="0" algn="l">
              <a:buNone/>
              <a:defRPr sz="20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GB"/>
              <a:t>Date goes here</a:t>
            </a:r>
            <a:endParaRPr lang="en-US"/>
          </a:p>
        </p:txBody>
      </p:sp>
      <p:sp>
        <p:nvSpPr>
          <p:cNvPr id="11" name="Text Placeholder 2">
            <a:extLst>
              <a:ext uri="{FF2B5EF4-FFF2-40B4-BE49-F238E27FC236}">
                <a16:creationId xmlns:a16="http://schemas.microsoft.com/office/drawing/2014/main" id="{7ED56106-0FE6-4611-8084-FACE1032A4BA}"/>
              </a:ext>
            </a:extLst>
          </p:cNvPr>
          <p:cNvSpPr>
            <a:spLocks noGrp="1"/>
          </p:cNvSpPr>
          <p:nvPr>
            <p:ph type="body" idx="10" hasCustomPrompt="1"/>
          </p:nvPr>
        </p:nvSpPr>
        <p:spPr>
          <a:xfrm>
            <a:off x="443191" y="6039049"/>
            <a:ext cx="5529592" cy="307777"/>
          </a:xfrm>
        </p:spPr>
        <p:txBody>
          <a:bodyPr anchor="t" anchorCtr="0"/>
          <a:lstStyle>
            <a:lvl1pPr marL="0" indent="0">
              <a:buNone/>
              <a:defRPr sz="2000" b="1">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Location goes here</a:t>
            </a:r>
          </a:p>
        </p:txBody>
      </p:sp>
      <p:pic>
        <p:nvPicPr>
          <p:cNvPr id="13" name="Picture 12">
            <a:extLst>
              <a:ext uri="{FF2B5EF4-FFF2-40B4-BE49-F238E27FC236}">
                <a16:creationId xmlns:a16="http://schemas.microsoft.com/office/drawing/2014/main" id="{90171304-95B1-4931-AC11-212B7F34C485}"/>
              </a:ext>
            </a:extLst>
          </p:cNvPr>
          <p:cNvPicPr>
            <a:picLocks noChangeAspect="1"/>
          </p:cNvPicPr>
          <p:nvPr userDrawn="1"/>
        </p:nvPicPr>
        <p:blipFill>
          <a:blip r:embed="rId6">
            <a:alphaModFix/>
          </a:blip>
          <a:stretch>
            <a:fillRect/>
          </a:stretch>
        </p:blipFill>
        <p:spPr>
          <a:xfrm>
            <a:off x="308008" y="372645"/>
            <a:ext cx="3067017" cy="862430"/>
          </a:xfrm>
          <a:prstGeom prst="rect">
            <a:avLst/>
          </a:prstGeom>
        </p:spPr>
      </p:pic>
      <p:sp>
        <p:nvSpPr>
          <p:cNvPr id="18" name="Title 4">
            <a:extLst>
              <a:ext uri="{FF2B5EF4-FFF2-40B4-BE49-F238E27FC236}">
                <a16:creationId xmlns:a16="http://schemas.microsoft.com/office/drawing/2014/main" id="{1D0BD9B2-206F-4B58-927B-F7FFB44AB1F8}"/>
              </a:ext>
            </a:extLst>
          </p:cNvPr>
          <p:cNvSpPr>
            <a:spLocks noGrp="1"/>
          </p:cNvSpPr>
          <p:nvPr>
            <p:ph type="title" hasCustomPrompt="1"/>
          </p:nvPr>
        </p:nvSpPr>
        <p:spPr>
          <a:xfrm>
            <a:off x="406514" y="2708508"/>
            <a:ext cx="6215743" cy="615553"/>
          </a:xfrm>
        </p:spPr>
        <p:txBody>
          <a:bodyPr vert="horz" lIns="0" tIns="0" rIns="0" bIns="0" anchor="ctr"/>
          <a:lstStyle>
            <a:lvl1pPr>
              <a:defRPr sz="4800" cap="all" baseline="0">
                <a:solidFill>
                  <a:schemeClr val="bg1"/>
                </a:solidFill>
                <a:latin typeface="+mj-lt"/>
                <a:ea typeface="+mj-ea"/>
                <a:cs typeface="+mj-cs"/>
              </a:defRPr>
            </a:lvl1pPr>
          </a:lstStyle>
          <a:p>
            <a:r>
              <a:rPr lang="en-US"/>
              <a:t>Click to add title</a:t>
            </a:r>
          </a:p>
        </p:txBody>
      </p:sp>
      <p:pic>
        <p:nvPicPr>
          <p:cNvPr id="2" name="Picture 1">
            <a:extLst>
              <a:ext uri="{FF2B5EF4-FFF2-40B4-BE49-F238E27FC236}">
                <a16:creationId xmlns:a16="http://schemas.microsoft.com/office/drawing/2014/main" id="{F908FC3D-5F5A-A42E-8958-BCB98344A14F}"/>
              </a:ext>
            </a:extLst>
          </p:cNvPr>
          <p:cNvPicPr>
            <a:picLocks noChangeAspect="1"/>
          </p:cNvPicPr>
          <p:nvPr userDrawn="1"/>
        </p:nvPicPr>
        <p:blipFill>
          <a:blip r:embed="rId7"/>
          <a:stretch>
            <a:fillRect/>
          </a:stretch>
        </p:blipFill>
        <p:spPr>
          <a:xfrm>
            <a:off x="5905500" y="0"/>
            <a:ext cx="6286500" cy="6858000"/>
          </a:xfrm>
          <a:prstGeom prst="rect">
            <a:avLst/>
          </a:prstGeom>
        </p:spPr>
      </p:pic>
    </p:spTree>
    <p:extLst>
      <p:ext uri="{BB962C8B-B14F-4D97-AF65-F5344CB8AC3E}">
        <p14:creationId xmlns:p14="http://schemas.microsoft.com/office/powerpoint/2010/main" val="3559107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Title Slide_3">
    <p:bg>
      <p:bgPr>
        <a:solidFill>
          <a:srgbClr val="4B306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1634275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0" name="Subtitle 2">
            <a:extLst>
              <a:ext uri="{FF2B5EF4-FFF2-40B4-BE49-F238E27FC236}">
                <a16:creationId xmlns:a16="http://schemas.microsoft.com/office/drawing/2014/main" id="{94B367C2-42FA-4BB9-9934-E0D86C36B508}"/>
              </a:ext>
            </a:extLst>
          </p:cNvPr>
          <p:cNvSpPr>
            <a:spLocks noGrp="1"/>
          </p:cNvSpPr>
          <p:nvPr>
            <p:ph type="subTitle" idx="1" hasCustomPrompt="1"/>
          </p:nvPr>
        </p:nvSpPr>
        <p:spPr>
          <a:xfrm>
            <a:off x="441325" y="5722207"/>
            <a:ext cx="2835687" cy="307777"/>
          </a:xfrm>
        </p:spPr>
        <p:txBody>
          <a:bodyPr anchor="t" anchorCtr="0"/>
          <a:lstStyle>
            <a:lvl1pPr marL="0" indent="0" algn="l">
              <a:buNone/>
              <a:defRPr sz="20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GB"/>
              <a:t>Date goes here</a:t>
            </a:r>
            <a:endParaRPr lang="en-US"/>
          </a:p>
        </p:txBody>
      </p:sp>
      <p:sp>
        <p:nvSpPr>
          <p:cNvPr id="11" name="Text Placeholder 2">
            <a:extLst>
              <a:ext uri="{FF2B5EF4-FFF2-40B4-BE49-F238E27FC236}">
                <a16:creationId xmlns:a16="http://schemas.microsoft.com/office/drawing/2014/main" id="{7ED56106-0FE6-4611-8084-FACE1032A4BA}"/>
              </a:ext>
            </a:extLst>
          </p:cNvPr>
          <p:cNvSpPr>
            <a:spLocks noGrp="1"/>
          </p:cNvSpPr>
          <p:nvPr>
            <p:ph type="body" idx="10" hasCustomPrompt="1"/>
          </p:nvPr>
        </p:nvSpPr>
        <p:spPr>
          <a:xfrm>
            <a:off x="443191" y="6039049"/>
            <a:ext cx="5529592" cy="307777"/>
          </a:xfrm>
        </p:spPr>
        <p:txBody>
          <a:bodyPr anchor="t" anchorCtr="0"/>
          <a:lstStyle>
            <a:lvl1pPr marL="0" indent="0">
              <a:buNone/>
              <a:defRPr sz="2000" b="1">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Location goes here</a:t>
            </a:r>
          </a:p>
        </p:txBody>
      </p:sp>
      <p:pic>
        <p:nvPicPr>
          <p:cNvPr id="13" name="Picture 12">
            <a:extLst>
              <a:ext uri="{FF2B5EF4-FFF2-40B4-BE49-F238E27FC236}">
                <a16:creationId xmlns:a16="http://schemas.microsoft.com/office/drawing/2014/main" id="{90171304-95B1-4931-AC11-212B7F34C485}"/>
              </a:ext>
            </a:extLst>
          </p:cNvPr>
          <p:cNvPicPr>
            <a:picLocks noChangeAspect="1"/>
          </p:cNvPicPr>
          <p:nvPr userDrawn="1"/>
        </p:nvPicPr>
        <p:blipFill>
          <a:blip r:embed="rId6">
            <a:alphaModFix/>
          </a:blip>
          <a:stretch>
            <a:fillRect/>
          </a:stretch>
        </p:blipFill>
        <p:spPr>
          <a:xfrm>
            <a:off x="308008" y="372645"/>
            <a:ext cx="3067017" cy="862430"/>
          </a:xfrm>
          <a:prstGeom prst="rect">
            <a:avLst/>
          </a:prstGeom>
        </p:spPr>
      </p:pic>
      <p:sp>
        <p:nvSpPr>
          <p:cNvPr id="18" name="Title 4">
            <a:extLst>
              <a:ext uri="{FF2B5EF4-FFF2-40B4-BE49-F238E27FC236}">
                <a16:creationId xmlns:a16="http://schemas.microsoft.com/office/drawing/2014/main" id="{1D0BD9B2-206F-4B58-927B-F7FFB44AB1F8}"/>
              </a:ext>
            </a:extLst>
          </p:cNvPr>
          <p:cNvSpPr>
            <a:spLocks noGrp="1"/>
          </p:cNvSpPr>
          <p:nvPr>
            <p:ph type="title" hasCustomPrompt="1"/>
          </p:nvPr>
        </p:nvSpPr>
        <p:spPr>
          <a:xfrm>
            <a:off x="406514" y="2708508"/>
            <a:ext cx="6215743" cy="615553"/>
          </a:xfrm>
        </p:spPr>
        <p:txBody>
          <a:bodyPr vert="horz" lIns="0" tIns="0" rIns="0" bIns="0" anchor="ctr"/>
          <a:lstStyle>
            <a:lvl1pPr>
              <a:defRPr sz="4800" cap="all" baseline="0">
                <a:solidFill>
                  <a:schemeClr val="bg1"/>
                </a:solidFill>
                <a:latin typeface="+mj-lt"/>
                <a:ea typeface="+mj-ea"/>
                <a:cs typeface="+mj-cs"/>
              </a:defRPr>
            </a:lvl1pPr>
          </a:lstStyle>
          <a:p>
            <a:r>
              <a:rPr lang="en-US"/>
              <a:t>Click to add title</a:t>
            </a:r>
          </a:p>
        </p:txBody>
      </p:sp>
      <p:pic>
        <p:nvPicPr>
          <p:cNvPr id="2" name="Picture 1">
            <a:extLst>
              <a:ext uri="{FF2B5EF4-FFF2-40B4-BE49-F238E27FC236}">
                <a16:creationId xmlns:a16="http://schemas.microsoft.com/office/drawing/2014/main" id="{F908FC3D-5F5A-A42E-8958-BCB98344A14F}"/>
              </a:ext>
            </a:extLst>
          </p:cNvPr>
          <p:cNvPicPr>
            <a:picLocks noChangeAspect="1"/>
          </p:cNvPicPr>
          <p:nvPr userDrawn="1"/>
        </p:nvPicPr>
        <p:blipFill>
          <a:blip r:embed="rId7"/>
          <a:stretch>
            <a:fillRect/>
          </a:stretch>
        </p:blipFill>
        <p:spPr>
          <a:xfrm>
            <a:off x="5905500" y="0"/>
            <a:ext cx="6286500" cy="6858000"/>
          </a:xfrm>
          <a:prstGeom prst="rect">
            <a:avLst/>
          </a:prstGeom>
        </p:spPr>
      </p:pic>
    </p:spTree>
    <p:extLst>
      <p:ext uri="{BB962C8B-B14F-4D97-AF65-F5344CB8AC3E}">
        <p14:creationId xmlns:p14="http://schemas.microsoft.com/office/powerpoint/2010/main" val="1482805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45A7E37-960C-4810-8243-EF9627557178}"/>
              </a:ext>
            </a:extLst>
          </p:cNvPr>
          <p:cNvGraphicFramePr>
            <a:graphicFrameLocks noChangeAspect="1"/>
          </p:cNvGraphicFramePr>
          <p:nvPr userDrawn="1">
            <p:custDataLst>
              <p:tags r:id="rId1"/>
            </p:custDataLst>
            <p:extLst>
              <p:ext uri="{D42A27DB-BD31-4B8C-83A1-F6EECF244321}">
                <p14:modId xmlns:p14="http://schemas.microsoft.com/office/powerpoint/2010/main" val="264814147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245A7E37-960C-4810-8243-EF9627557178}"/>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10" name="Picture 9">
            <a:extLst>
              <a:ext uri="{FF2B5EF4-FFF2-40B4-BE49-F238E27FC236}">
                <a16:creationId xmlns:a16="http://schemas.microsoft.com/office/drawing/2014/main" id="{6824173D-DE83-4355-BC75-869D1793F7D5}"/>
              </a:ext>
            </a:extLst>
          </p:cNvPr>
          <p:cNvPicPr>
            <a:picLocks noChangeAspect="1"/>
          </p:cNvPicPr>
          <p:nvPr userDrawn="1"/>
        </p:nvPicPr>
        <p:blipFill rotWithShape="1">
          <a:blip r:embed="rId5" cstate="screen">
            <a:alphaModFix amt="5000"/>
            <a:extLst>
              <a:ext uri="{28A0092B-C50C-407E-A947-70E740481C1C}">
                <a14:useLocalDpi xmlns:a14="http://schemas.microsoft.com/office/drawing/2010/main"/>
              </a:ext>
            </a:extLst>
          </a:blip>
          <a:srcRect/>
          <a:stretch/>
        </p:blipFill>
        <p:spPr>
          <a:xfrm>
            <a:off x="7243506" y="0"/>
            <a:ext cx="4948494" cy="3821024"/>
          </a:xfrm>
          <a:prstGeom prst="rect">
            <a:avLst/>
          </a:prstGeom>
        </p:spPr>
      </p:pic>
      <p:cxnSp>
        <p:nvCxnSpPr>
          <p:cNvPr id="11" name="Straight Connector 10">
            <a:extLst>
              <a:ext uri="{FF2B5EF4-FFF2-40B4-BE49-F238E27FC236}">
                <a16:creationId xmlns:a16="http://schemas.microsoft.com/office/drawing/2014/main" id="{F95A420B-9269-49AC-90B3-1F47D9B75892}"/>
              </a:ext>
            </a:extLst>
          </p:cNvPr>
          <p:cNvCxnSpPr>
            <a:cxnSpLocks/>
          </p:cNvCxnSpPr>
          <p:nvPr userDrawn="1"/>
        </p:nvCxnSpPr>
        <p:spPr>
          <a:xfrm>
            <a:off x="457201" y="6352539"/>
            <a:ext cx="11277600" cy="0"/>
          </a:xfrm>
          <a:prstGeom prst="line">
            <a:avLst/>
          </a:prstGeom>
          <a:noFill/>
          <a:ln w="12700" cap="flat" cmpd="sng" algn="ctr">
            <a:solidFill>
              <a:srgbClr val="1F4675"/>
            </a:solidFill>
            <a:prstDash val="solid"/>
            <a:miter lim="800000"/>
          </a:ln>
          <a:effectLst/>
        </p:spPr>
      </p:cxnSp>
      <p:pic>
        <p:nvPicPr>
          <p:cNvPr id="12" name="Picture 11">
            <a:extLst>
              <a:ext uri="{FF2B5EF4-FFF2-40B4-BE49-F238E27FC236}">
                <a16:creationId xmlns:a16="http://schemas.microsoft.com/office/drawing/2014/main" id="{61F82664-6C4E-4824-84B8-6CAFBC623FE4}"/>
              </a:ext>
            </a:extLst>
          </p:cNvPr>
          <p:cNvPicPr>
            <a:picLocks noChangeAspect="1"/>
          </p:cNvPicPr>
          <p:nvPr userDrawn="1"/>
        </p:nvPicPr>
        <p:blipFill>
          <a:blip r:embed="rId6"/>
          <a:stretch>
            <a:fillRect/>
          </a:stretch>
        </p:blipFill>
        <p:spPr>
          <a:xfrm>
            <a:off x="9634732" y="240428"/>
            <a:ext cx="2100069" cy="590529"/>
          </a:xfrm>
          <a:prstGeom prst="rect">
            <a:avLst/>
          </a:prstGeom>
        </p:spPr>
      </p:pic>
      <p:sp>
        <p:nvSpPr>
          <p:cNvPr id="2" name="Title 1">
            <a:extLst>
              <a:ext uri="{FF2B5EF4-FFF2-40B4-BE49-F238E27FC236}">
                <a16:creationId xmlns:a16="http://schemas.microsoft.com/office/drawing/2014/main" id="{870F9918-0530-4CF1-BD48-6A25CE91F819}"/>
              </a:ext>
            </a:extLst>
          </p:cNvPr>
          <p:cNvSpPr>
            <a:spLocks noGrp="1"/>
          </p:cNvSpPr>
          <p:nvPr>
            <p:ph type="title" hasCustomPrompt="1"/>
          </p:nvPr>
        </p:nvSpPr>
        <p:spPr>
          <a:xfrm>
            <a:off x="438150" y="377824"/>
            <a:ext cx="9105900" cy="365760"/>
          </a:xfrm>
        </p:spPr>
        <p:txBody>
          <a:bodyPr vert="horz"/>
          <a:lstStyle>
            <a:lvl1pPr>
              <a:defRPr sz="2400"/>
            </a:lvl1pPr>
          </a:lstStyle>
          <a:p>
            <a:r>
              <a:rPr lang="en-US"/>
              <a:t>Click to add title</a:t>
            </a:r>
          </a:p>
        </p:txBody>
      </p:sp>
      <p:sp>
        <p:nvSpPr>
          <p:cNvPr id="5" name="Text Placeholder 13">
            <a:extLst>
              <a:ext uri="{FF2B5EF4-FFF2-40B4-BE49-F238E27FC236}">
                <a16:creationId xmlns:a16="http://schemas.microsoft.com/office/drawing/2014/main" id="{9D2482BE-6D39-5EB4-571D-43D3E9E959C9}"/>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1027381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9A6A91-36BA-4AB7-84AF-F389DBFA582D}"/>
              </a:ext>
            </a:extLst>
          </p:cNvPr>
          <p:cNvGraphicFramePr>
            <a:graphicFrameLocks noChangeAspect="1"/>
          </p:cNvGraphicFramePr>
          <p:nvPr userDrawn="1">
            <p:custDataLst>
              <p:tags r:id="rId1"/>
            </p:custDataLst>
            <p:extLst>
              <p:ext uri="{D42A27DB-BD31-4B8C-83A1-F6EECF244321}">
                <p14:modId xmlns:p14="http://schemas.microsoft.com/office/powerpoint/2010/main" val="291554853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5" name="think-cell data - do not delete" hidden="1">
                        <a:extLst>
                          <a:ext uri="{FF2B5EF4-FFF2-40B4-BE49-F238E27FC236}">
                            <a16:creationId xmlns:a16="http://schemas.microsoft.com/office/drawing/2014/main" id="{859A6A91-36BA-4AB7-84AF-F389DBFA582D}"/>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4"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14" name="Picture 13">
            <a:extLst>
              <a:ext uri="{FF2B5EF4-FFF2-40B4-BE49-F238E27FC236}">
                <a16:creationId xmlns:a16="http://schemas.microsoft.com/office/drawing/2014/main" id="{1E8291D0-29CB-47F2-BEC0-B9D21177CF64}"/>
              </a:ext>
            </a:extLst>
          </p:cNvPr>
          <p:cNvPicPr>
            <a:picLocks noChangeAspect="1"/>
          </p:cNvPicPr>
          <p:nvPr userDrawn="1"/>
        </p:nvPicPr>
        <p:blipFill rotWithShape="1">
          <a:blip r:embed="rId5" cstate="screen">
            <a:alphaModFix amt="5000"/>
            <a:extLst>
              <a:ext uri="{28A0092B-C50C-407E-A947-70E740481C1C}">
                <a14:useLocalDpi xmlns:a14="http://schemas.microsoft.com/office/drawing/2010/main"/>
              </a:ext>
            </a:extLst>
          </a:blip>
          <a:srcRect/>
          <a:stretch/>
        </p:blipFill>
        <p:spPr>
          <a:xfrm>
            <a:off x="7243506" y="0"/>
            <a:ext cx="4948494" cy="3821024"/>
          </a:xfrm>
          <a:prstGeom prst="rect">
            <a:avLst/>
          </a:prstGeom>
        </p:spPr>
      </p:pic>
      <p:cxnSp>
        <p:nvCxnSpPr>
          <p:cNvPr id="15" name="Straight Connector 14">
            <a:extLst>
              <a:ext uri="{FF2B5EF4-FFF2-40B4-BE49-F238E27FC236}">
                <a16:creationId xmlns:a16="http://schemas.microsoft.com/office/drawing/2014/main" id="{AB4BC397-B7DB-494B-89A4-C77D78236E14}"/>
              </a:ext>
            </a:extLst>
          </p:cNvPr>
          <p:cNvCxnSpPr>
            <a:cxnSpLocks/>
          </p:cNvCxnSpPr>
          <p:nvPr userDrawn="1"/>
        </p:nvCxnSpPr>
        <p:spPr>
          <a:xfrm>
            <a:off x="457201" y="6352539"/>
            <a:ext cx="11277600" cy="0"/>
          </a:xfrm>
          <a:prstGeom prst="line">
            <a:avLst/>
          </a:prstGeom>
          <a:noFill/>
          <a:ln w="12700" cap="flat" cmpd="sng" algn="ctr">
            <a:solidFill>
              <a:srgbClr val="1F4675"/>
            </a:solidFill>
            <a:prstDash val="solid"/>
            <a:miter lim="800000"/>
          </a:ln>
          <a:effectLst/>
        </p:spPr>
      </p:cxnSp>
      <p:pic>
        <p:nvPicPr>
          <p:cNvPr id="16" name="Picture 15">
            <a:extLst>
              <a:ext uri="{FF2B5EF4-FFF2-40B4-BE49-F238E27FC236}">
                <a16:creationId xmlns:a16="http://schemas.microsoft.com/office/drawing/2014/main" id="{29439000-96E9-4AC0-A168-C6F65DCE4F6E}"/>
              </a:ext>
            </a:extLst>
          </p:cNvPr>
          <p:cNvPicPr>
            <a:picLocks noChangeAspect="1"/>
          </p:cNvPicPr>
          <p:nvPr userDrawn="1"/>
        </p:nvPicPr>
        <p:blipFill>
          <a:blip r:embed="rId6"/>
          <a:stretch>
            <a:fillRect/>
          </a:stretch>
        </p:blipFill>
        <p:spPr>
          <a:xfrm>
            <a:off x="9634732" y="240428"/>
            <a:ext cx="2100069" cy="590529"/>
          </a:xfrm>
          <a:prstGeom prst="rect">
            <a:avLst/>
          </a:prstGeom>
        </p:spPr>
      </p:pic>
      <p:sp>
        <p:nvSpPr>
          <p:cNvPr id="2" name="Title 1">
            <a:extLst>
              <a:ext uri="{FF2B5EF4-FFF2-40B4-BE49-F238E27FC236}">
                <a16:creationId xmlns:a16="http://schemas.microsoft.com/office/drawing/2014/main" id="{0BCC6ED5-F5F8-47A6-BA6F-C93C5A7F5901}"/>
              </a:ext>
            </a:extLst>
          </p:cNvPr>
          <p:cNvSpPr>
            <a:spLocks noGrp="1"/>
          </p:cNvSpPr>
          <p:nvPr>
            <p:ph type="title" hasCustomPrompt="1"/>
          </p:nvPr>
        </p:nvSpPr>
        <p:spPr>
          <a:xfrm>
            <a:off x="438150" y="377824"/>
            <a:ext cx="9105900" cy="365760"/>
          </a:xfrm>
        </p:spPr>
        <p:txBody>
          <a:bodyPr vert="horz"/>
          <a:lstStyle>
            <a:lvl1pPr>
              <a:defRPr sz="2400"/>
            </a:lvl1pPr>
          </a:lstStyle>
          <a:p>
            <a:r>
              <a:rPr lang="en-US"/>
              <a:t>Click to add title</a:t>
            </a:r>
          </a:p>
        </p:txBody>
      </p:sp>
      <p:sp>
        <p:nvSpPr>
          <p:cNvPr id="6" name="Content Placeholder 5">
            <a:extLst>
              <a:ext uri="{FF2B5EF4-FFF2-40B4-BE49-F238E27FC236}">
                <a16:creationId xmlns:a16="http://schemas.microsoft.com/office/drawing/2014/main" id="{2B077E60-7C71-14FD-852A-04B48A5AFFB1}"/>
              </a:ext>
            </a:extLst>
          </p:cNvPr>
          <p:cNvSpPr>
            <a:spLocks noGrp="1"/>
          </p:cNvSpPr>
          <p:nvPr>
            <p:ph sz="quarter" idx="10"/>
          </p:nvPr>
        </p:nvSpPr>
        <p:spPr>
          <a:xfrm>
            <a:off x="438150" y="1816918"/>
            <a:ext cx="11315702" cy="4079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3">
            <a:extLst>
              <a:ext uri="{FF2B5EF4-FFF2-40B4-BE49-F238E27FC236}">
                <a16:creationId xmlns:a16="http://schemas.microsoft.com/office/drawing/2014/main" id="{AC0F63B4-8115-C723-7B76-919368AE60DF}"/>
              </a:ext>
            </a:extLst>
          </p:cNvPr>
          <p:cNvSpPr>
            <a:spLocks noGrp="1"/>
          </p:cNvSpPr>
          <p:nvPr>
            <p:ph type="body" sz="quarter" idx="11"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3581356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44B6261-55D6-4C78-9354-3EAFFE0B9E71}"/>
              </a:ext>
            </a:extLst>
          </p:cNvPr>
          <p:cNvGraphicFramePr>
            <a:graphicFrameLocks noChangeAspect="1"/>
          </p:cNvGraphicFramePr>
          <p:nvPr userDrawn="1">
            <p:custDataLst>
              <p:tags r:id="rId1"/>
            </p:custDataLst>
            <p:extLst>
              <p:ext uri="{D42A27DB-BD31-4B8C-83A1-F6EECF244321}">
                <p14:modId xmlns:p14="http://schemas.microsoft.com/office/powerpoint/2010/main" val="168207309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E44B6261-55D6-4C78-9354-3EAFFE0B9E71}"/>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1"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7" name="Rectangle 6"/>
          <p:cNvSpPr/>
          <p:nvPr userDrawn="1"/>
        </p:nvSpPr>
        <p:spPr bwMode="white">
          <a:xfrm>
            <a:off x="1" y="-1308"/>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438149" y="2158987"/>
            <a:ext cx="3708187" cy="541687"/>
          </a:xfrm>
          <a:prstGeom prst="rect">
            <a:avLst/>
          </a:prstGeom>
        </p:spPr>
        <p:txBody>
          <a:bodyPr lIns="0">
            <a:noAutofit/>
          </a:bodyPr>
          <a:lstStyle>
            <a:lvl1pPr marL="0" indent="0" algn="l">
              <a:buNone/>
              <a:defRPr lang="en-US" sz="1600" b="1" i="0" kern="1200" cap="all" baseline="0" dirty="0">
                <a:solidFill>
                  <a:schemeClr val="tx1"/>
                </a:solidFill>
                <a:latin typeface="Arial" panose="020B0604020202020204" pitchFamily="34" charset="0"/>
                <a:ea typeface="+mj-ea"/>
                <a:cs typeface="Arial" panose="020B0604020202020204" pitchFamily="34" charset="0"/>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add subtitle</a:t>
            </a:r>
          </a:p>
        </p:txBody>
      </p:sp>
      <p:sp>
        <p:nvSpPr>
          <p:cNvPr id="9" name="Title 4"/>
          <p:cNvSpPr>
            <a:spLocks noGrp="1"/>
          </p:cNvSpPr>
          <p:nvPr>
            <p:ph type="title" hasCustomPrompt="1"/>
          </p:nvPr>
        </p:nvSpPr>
        <p:spPr>
          <a:xfrm>
            <a:off x="438149" y="1227049"/>
            <a:ext cx="3708187" cy="664797"/>
          </a:xfrm>
        </p:spPr>
        <p:txBody>
          <a:bodyPr vert="horz" tIns="0" rIns="0" bIns="0"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cxnSp>
        <p:nvCxnSpPr>
          <p:cNvPr id="4" name="Straight Connector 3">
            <a:extLst>
              <a:ext uri="{FF2B5EF4-FFF2-40B4-BE49-F238E27FC236}">
                <a16:creationId xmlns:a16="http://schemas.microsoft.com/office/drawing/2014/main" id="{E1AB430A-44CF-156A-1342-30300E1B0F72}"/>
              </a:ext>
            </a:extLst>
          </p:cNvPr>
          <p:cNvCxnSpPr>
            <a:cxnSpLocks/>
          </p:cNvCxnSpPr>
          <p:nvPr userDrawn="1"/>
        </p:nvCxnSpPr>
        <p:spPr>
          <a:xfrm>
            <a:off x="457201" y="6352539"/>
            <a:ext cx="11277600" cy="0"/>
          </a:xfrm>
          <a:prstGeom prst="line">
            <a:avLst/>
          </a:prstGeom>
          <a:noFill/>
          <a:ln w="12700" cap="flat" cmpd="sng" algn="ctr">
            <a:solidFill>
              <a:srgbClr val="1F4675"/>
            </a:solidFill>
            <a:prstDash val="solid"/>
            <a:miter lim="800000"/>
          </a:ln>
          <a:effectLst/>
        </p:spPr>
      </p:cxnSp>
      <p:sp>
        <p:nvSpPr>
          <p:cNvPr id="5" name="Text Placeholder 13">
            <a:extLst>
              <a:ext uri="{FF2B5EF4-FFF2-40B4-BE49-F238E27FC236}">
                <a16:creationId xmlns:a16="http://schemas.microsoft.com/office/drawing/2014/main" id="{FBB5F6CB-0314-B163-A783-ED089F9D1779}"/>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947382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5B804F-126D-4DFA-BE68-3BA2DA8B8DC5}"/>
              </a:ext>
            </a:extLst>
          </p:cNvPr>
          <p:cNvGraphicFramePr>
            <a:graphicFrameLocks noChangeAspect="1"/>
          </p:cNvGraphicFramePr>
          <p:nvPr userDrawn="1">
            <p:custDataLst>
              <p:tags r:id="rId1"/>
            </p:custDataLst>
            <p:extLst>
              <p:ext uri="{D42A27DB-BD31-4B8C-83A1-F6EECF244321}">
                <p14:modId xmlns:p14="http://schemas.microsoft.com/office/powerpoint/2010/main" val="322037573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FD5B804F-126D-4DFA-BE68-3BA2DA8B8DC5}"/>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2"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0" tIns="0" rIns="0" bIns="0" anchor="b">
            <a:noAutofit/>
          </a:bodyPr>
          <a:lstStyle>
            <a:lvl1pPr marL="0" algn="l" defTabSz="914358"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4" name="Text Placeholder 13">
            <a:extLst>
              <a:ext uri="{FF2B5EF4-FFF2-40B4-BE49-F238E27FC236}">
                <a16:creationId xmlns:a16="http://schemas.microsoft.com/office/drawing/2014/main" id="{45076CE4-EB40-AFB0-8639-EADD47F6EA9C}"/>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2716738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3D89E85-B435-4AFD-9E82-AF107271D413}"/>
              </a:ext>
            </a:extLst>
          </p:cNvPr>
          <p:cNvGraphicFramePr>
            <a:graphicFrameLocks noChangeAspect="1"/>
          </p:cNvGraphicFramePr>
          <p:nvPr userDrawn="1">
            <p:custDataLst>
              <p:tags r:id="rId1"/>
            </p:custDataLst>
            <p:extLst>
              <p:ext uri="{D42A27DB-BD31-4B8C-83A1-F6EECF244321}">
                <p14:modId xmlns:p14="http://schemas.microsoft.com/office/powerpoint/2010/main" val="150768063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23D89E85-B435-4AFD-9E82-AF107271D41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438150" y="3826800"/>
            <a:ext cx="11315702" cy="2041200"/>
          </a:xfrm>
        </p:spPr>
        <p:txBody>
          <a:bodyPr vert="horz" anchor="t">
            <a:noAutofit/>
          </a:bodyPr>
          <a:lstStyle>
            <a:lvl1pPr>
              <a:defRPr sz="5400">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438149" y="3680016"/>
            <a:ext cx="11750438"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13">
            <a:extLst>
              <a:ext uri="{FF2B5EF4-FFF2-40B4-BE49-F238E27FC236}">
                <a16:creationId xmlns:a16="http://schemas.microsoft.com/office/drawing/2014/main" id="{F63489D4-A71F-2E31-A1B6-C0E9611B0504}"/>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3058785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2D073FF-1784-4EBF-AA02-12D022BBDE20}"/>
              </a:ext>
            </a:extLst>
          </p:cNvPr>
          <p:cNvGraphicFramePr>
            <a:graphicFrameLocks noChangeAspect="1"/>
          </p:cNvGraphicFramePr>
          <p:nvPr userDrawn="1">
            <p:custDataLst>
              <p:tags r:id="rId1"/>
            </p:custDataLst>
            <p:extLst>
              <p:ext uri="{D42A27DB-BD31-4B8C-83A1-F6EECF244321}">
                <p14:modId xmlns:p14="http://schemas.microsoft.com/office/powerpoint/2010/main" val="316653812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62D073FF-1784-4EBF-AA02-12D022BBDE20}"/>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22"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02337" y="2681104"/>
            <a:ext cx="3127881" cy="1495794"/>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4" name="Slide Number Placeholder 5">
            <a:extLst>
              <a:ext uri="{FF2B5EF4-FFF2-40B4-BE49-F238E27FC236}">
                <a16:creationId xmlns:a16="http://schemas.microsoft.com/office/drawing/2014/main" id="{A2BFA2EF-8E34-4ADB-86C5-52FBF8B1B7CD}"/>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4" name="Text Placeholder 13">
            <a:extLst>
              <a:ext uri="{FF2B5EF4-FFF2-40B4-BE49-F238E27FC236}">
                <a16:creationId xmlns:a16="http://schemas.microsoft.com/office/drawing/2014/main" id="{CE90381D-E2B0-B1D0-2C88-DB18EAEEE654}"/>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338279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B49FE58-7A5D-4126-B4F4-1397614F0E03}"/>
              </a:ext>
            </a:extLst>
          </p:cNvPr>
          <p:cNvGraphicFramePr>
            <a:graphicFrameLocks noChangeAspect="1"/>
          </p:cNvGraphicFramePr>
          <p:nvPr userDrawn="1">
            <p:custDataLst>
              <p:tags r:id="rId1"/>
            </p:custDataLst>
            <p:extLst>
              <p:ext uri="{D42A27DB-BD31-4B8C-83A1-F6EECF244321}">
                <p14:modId xmlns:p14="http://schemas.microsoft.com/office/powerpoint/2010/main" val="213417761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7B49FE58-7A5D-4126-B4F4-1397614F0E0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 name="Title 1">
            <a:extLst>
              <a:ext uri="{FF2B5EF4-FFF2-40B4-BE49-F238E27FC236}">
                <a16:creationId xmlns:a16="http://schemas.microsoft.com/office/drawing/2014/main" id="{12DB0465-3032-4548-81FC-E3ACEBA639B8}"/>
              </a:ext>
            </a:extLst>
          </p:cNvPr>
          <p:cNvSpPr>
            <a:spLocks noGrp="1"/>
          </p:cNvSpPr>
          <p:nvPr>
            <p:ph type="title" hasCustomPrompt="1"/>
          </p:nvPr>
        </p:nvSpPr>
        <p:spPr>
          <a:xfrm>
            <a:off x="438151" y="377824"/>
            <a:ext cx="6218681" cy="365760"/>
          </a:xfrm>
        </p:spPr>
        <p:txBody>
          <a:bodyPr vert="horz"/>
          <a:lstStyle>
            <a:lvl1pPr>
              <a:defRPr sz="2400"/>
            </a:lvl1pPr>
          </a:lstStyle>
          <a:p>
            <a:r>
              <a:rPr lang="en-US"/>
              <a:t>Click to add title</a:t>
            </a:r>
          </a:p>
        </p:txBody>
      </p:sp>
      <p:sp>
        <p:nvSpPr>
          <p:cNvPr id="16" name="Slide Number Placeholder 5">
            <a:extLst>
              <a:ext uri="{FF2B5EF4-FFF2-40B4-BE49-F238E27FC236}">
                <a16:creationId xmlns:a16="http://schemas.microsoft.com/office/drawing/2014/main" id="{F2BF9CD3-AAF8-47A4-AB67-B650D03814E1}"/>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5" name="Text Placeholder 13">
            <a:extLst>
              <a:ext uri="{FF2B5EF4-FFF2-40B4-BE49-F238E27FC236}">
                <a16:creationId xmlns:a16="http://schemas.microsoft.com/office/drawing/2014/main" id="{7CDE3B2A-2915-0E4B-2CB8-F45F9AEB8ACD}"/>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3479574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7D48F01-4D0F-4C93-AB3D-FBD4D00BE477}"/>
              </a:ext>
            </a:extLst>
          </p:cNvPr>
          <p:cNvGraphicFramePr>
            <a:graphicFrameLocks noChangeAspect="1"/>
          </p:cNvGraphicFramePr>
          <p:nvPr userDrawn="1">
            <p:custDataLst>
              <p:tags r:id="rId1"/>
            </p:custDataLst>
            <p:extLst>
              <p:ext uri="{D42A27DB-BD31-4B8C-83A1-F6EECF244321}">
                <p14:modId xmlns:p14="http://schemas.microsoft.com/office/powerpoint/2010/main" val="137606941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27D48F01-4D0F-4C93-AB3D-FBD4D00BE477}"/>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 name="Title 1">
            <a:extLst>
              <a:ext uri="{FF2B5EF4-FFF2-40B4-BE49-F238E27FC236}">
                <a16:creationId xmlns:a16="http://schemas.microsoft.com/office/drawing/2014/main" id="{FB6502DC-249D-4404-BD0A-082296D848B1}"/>
              </a:ext>
            </a:extLst>
          </p:cNvPr>
          <p:cNvSpPr>
            <a:spLocks noGrp="1"/>
          </p:cNvSpPr>
          <p:nvPr>
            <p:ph type="title" hasCustomPrompt="1"/>
          </p:nvPr>
        </p:nvSpPr>
        <p:spPr>
          <a:xfrm>
            <a:off x="438152" y="377824"/>
            <a:ext cx="8065769" cy="365760"/>
          </a:xfrm>
        </p:spPr>
        <p:txBody>
          <a:bodyPr vert="horz"/>
          <a:lstStyle>
            <a:lvl1pPr>
              <a:defRPr sz="2400"/>
            </a:lvl1pPr>
          </a:lstStyle>
          <a:p>
            <a:r>
              <a:rPr lang="en-US"/>
              <a:t>Click to add title</a:t>
            </a:r>
          </a:p>
        </p:txBody>
      </p:sp>
      <p:sp>
        <p:nvSpPr>
          <p:cNvPr id="15" name="Slide Number Placeholder 5">
            <a:extLst>
              <a:ext uri="{FF2B5EF4-FFF2-40B4-BE49-F238E27FC236}">
                <a16:creationId xmlns:a16="http://schemas.microsoft.com/office/drawing/2014/main" id="{910B81F3-3CEF-4D6C-BB10-B5BFFDDC4412}"/>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5" name="Text Placeholder 13">
            <a:extLst>
              <a:ext uri="{FF2B5EF4-FFF2-40B4-BE49-F238E27FC236}">
                <a16:creationId xmlns:a16="http://schemas.microsoft.com/office/drawing/2014/main" id="{66CAEA4A-F100-3125-2D3E-A85B6BD167A1}"/>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2834536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Tree>
    <p:extLst>
      <p:ext uri="{BB962C8B-B14F-4D97-AF65-F5344CB8AC3E}">
        <p14:creationId xmlns:p14="http://schemas.microsoft.com/office/powerpoint/2010/main" val="243218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4B9118-2016-4FE4-87C1-E683037D2603}"/>
              </a:ext>
            </a:extLst>
          </p:cNvPr>
          <p:cNvGraphicFramePr>
            <a:graphicFrameLocks noChangeAspect="1"/>
          </p:cNvGraphicFramePr>
          <p:nvPr userDrawn="1">
            <p:custDataLst>
              <p:tags r:id="rId1"/>
            </p:custDataLst>
            <p:extLst>
              <p:ext uri="{D42A27DB-BD31-4B8C-83A1-F6EECF244321}">
                <p14:modId xmlns:p14="http://schemas.microsoft.com/office/powerpoint/2010/main" val="299553055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FB4B9118-2016-4FE4-87C1-E683037D2603}"/>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9" y="0"/>
            <a:ext cx="416951" cy="6858000"/>
          </a:xfrm>
          <a:prstGeom prst="rect">
            <a:avLst/>
          </a:prstGeom>
        </p:spPr>
      </p:pic>
      <p:sp>
        <p:nvSpPr>
          <p:cNvPr id="24" name="Title 4"/>
          <p:cNvSpPr>
            <a:spLocks noGrp="1"/>
          </p:cNvSpPr>
          <p:nvPr>
            <p:ph type="title" hasCustomPrompt="1"/>
          </p:nvPr>
        </p:nvSpPr>
        <p:spPr>
          <a:xfrm>
            <a:off x="438150" y="2681104"/>
            <a:ext cx="3092068"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8"/>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3" name="Slide Number Placeholder 5">
            <a:extLst>
              <a:ext uri="{FF2B5EF4-FFF2-40B4-BE49-F238E27FC236}">
                <a16:creationId xmlns:a16="http://schemas.microsoft.com/office/drawing/2014/main" id="{B5710904-2ACC-421E-B1B1-E31C922947FA}"/>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4" name="Text Placeholder 13">
            <a:extLst>
              <a:ext uri="{FF2B5EF4-FFF2-40B4-BE49-F238E27FC236}">
                <a16:creationId xmlns:a16="http://schemas.microsoft.com/office/drawing/2014/main" id="{D4BFC8F0-38BE-9DB3-BAD7-19D469FB35D7}"/>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1155166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63A0D5-C384-474B-8C17-009374A39EA2}"/>
              </a:ext>
            </a:extLst>
          </p:cNvPr>
          <p:cNvGraphicFramePr>
            <a:graphicFrameLocks noChangeAspect="1"/>
          </p:cNvGraphicFramePr>
          <p:nvPr userDrawn="1">
            <p:custDataLst>
              <p:tags r:id="rId1"/>
            </p:custDataLst>
            <p:extLst>
              <p:ext uri="{D42A27DB-BD31-4B8C-83A1-F6EECF244321}">
                <p14:modId xmlns:p14="http://schemas.microsoft.com/office/powerpoint/2010/main" val="237513200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7A63A0D5-C384-474B-8C17-009374A39EA2}"/>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38150" y="1785601"/>
            <a:ext cx="4352587" cy="3286800"/>
          </a:xfrm>
          <a:prstGeom prst="rect">
            <a:avLst/>
          </a:prstGeom>
          <a:noFill/>
        </p:spPr>
        <p:txBody>
          <a:bodyPr vert="horz" wrap="square" lIns="0" tIns="0" rIns="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9" name="Slide Number Placeholder 5">
            <a:extLst>
              <a:ext uri="{FF2B5EF4-FFF2-40B4-BE49-F238E27FC236}">
                <a16:creationId xmlns:a16="http://schemas.microsoft.com/office/drawing/2014/main" id="{D9D5F3B8-435B-444B-BFD9-975C237E5109}"/>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4" name="Text Placeholder 13">
            <a:extLst>
              <a:ext uri="{FF2B5EF4-FFF2-40B4-BE49-F238E27FC236}">
                <a16:creationId xmlns:a16="http://schemas.microsoft.com/office/drawing/2014/main" id="{6AD48503-94B8-11C2-1E5D-A50A5A215EA1}"/>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40382690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A61C490-E005-4929-A9DE-CE4A65C2635D}"/>
              </a:ext>
            </a:extLst>
          </p:cNvPr>
          <p:cNvGraphicFramePr>
            <a:graphicFrameLocks noChangeAspect="1"/>
          </p:cNvGraphicFramePr>
          <p:nvPr userDrawn="1">
            <p:custDataLst>
              <p:tags r:id="rId1"/>
            </p:custDataLst>
            <p:extLst>
              <p:ext uri="{D42A27DB-BD31-4B8C-83A1-F6EECF244321}">
                <p14:modId xmlns:p14="http://schemas.microsoft.com/office/powerpoint/2010/main" val="82325155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DA61C490-E005-4929-A9DE-CE4A65C2635D}"/>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4"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438150" y="1785601"/>
            <a:ext cx="6211739"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8" name="Slide Number Placeholder 5">
            <a:extLst>
              <a:ext uri="{FF2B5EF4-FFF2-40B4-BE49-F238E27FC236}">
                <a16:creationId xmlns:a16="http://schemas.microsoft.com/office/drawing/2014/main" id="{70F183E2-F701-4620-A2BD-7CB65F24EFA0}"/>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4" name="Text Placeholder 13">
            <a:extLst>
              <a:ext uri="{FF2B5EF4-FFF2-40B4-BE49-F238E27FC236}">
                <a16:creationId xmlns:a16="http://schemas.microsoft.com/office/drawing/2014/main" id="{3E3709D6-582D-0E3B-CAD2-86882FFF7EBF}"/>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704511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2741508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0" name="Title 2"/>
          <p:cNvSpPr>
            <a:spLocks noGrp="1"/>
          </p:cNvSpPr>
          <p:nvPr>
            <p:ph type="title" hasCustomPrompt="1"/>
          </p:nvPr>
        </p:nvSpPr>
        <p:spPr>
          <a:xfrm>
            <a:off x="438150" y="2764203"/>
            <a:ext cx="2442825" cy="1314311"/>
          </a:xfrm>
          <a:prstGeom prst="rect">
            <a:avLst/>
          </a:prstGeom>
        </p:spPr>
        <p:txBody>
          <a:bodyPr vert="horz" anchor="ctr">
            <a:noAutofit/>
          </a:bodyPr>
          <a:lstStyle>
            <a:lvl1pPr>
              <a:defRPr sz="2400">
                <a:solidFill>
                  <a:srgbClr val="EB5A53"/>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5">
            <a:extLst>
              <a:ext uri="{FF2B5EF4-FFF2-40B4-BE49-F238E27FC236}">
                <a16:creationId xmlns:a16="http://schemas.microsoft.com/office/drawing/2014/main" id="{F90AD2F2-E1B2-49A9-A7D4-DE264C4ECB13}"/>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4" name="Text Placeholder 13">
            <a:extLst>
              <a:ext uri="{FF2B5EF4-FFF2-40B4-BE49-F238E27FC236}">
                <a16:creationId xmlns:a16="http://schemas.microsoft.com/office/drawing/2014/main" id="{EE250D12-DC85-2409-3E70-1CE5FA65FE93}"/>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4224366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44D101-F36A-46F2-8689-58C109DE208D}"/>
              </a:ext>
            </a:extLst>
          </p:cNvPr>
          <p:cNvGraphicFramePr>
            <a:graphicFrameLocks noChangeAspect="1"/>
          </p:cNvGraphicFramePr>
          <p:nvPr userDrawn="1">
            <p:custDataLst>
              <p:tags r:id="rId1"/>
            </p:custDataLst>
            <p:extLst>
              <p:ext uri="{D42A27DB-BD31-4B8C-83A1-F6EECF244321}">
                <p14:modId xmlns:p14="http://schemas.microsoft.com/office/powerpoint/2010/main" val="405907879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9B44D101-F36A-46F2-8689-58C109DE208D}"/>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100000">
                <a:srgbClr val="18375C"/>
              </a:gs>
              <a:gs pos="0">
                <a:srgbClr val="1F4675"/>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Trebuchet MS" panose="020B0603020202020204" pitchFamily="34" charset="0"/>
            </a:endParaRPr>
          </a:p>
        </p:txBody>
      </p:sp>
      <p:sp>
        <p:nvSpPr>
          <p:cNvPr id="5" name="Title 4"/>
          <p:cNvSpPr>
            <a:spLocks noGrp="1"/>
          </p:cNvSpPr>
          <p:nvPr>
            <p:ph type="title" hasCustomPrompt="1"/>
          </p:nvPr>
        </p:nvSpPr>
        <p:spPr>
          <a:xfrm>
            <a:off x="438150" y="2764203"/>
            <a:ext cx="2442825" cy="1314311"/>
          </a:xfrm>
        </p:spPr>
        <p:txBody>
          <a:bodyPr vert="horz" anchor="ctr" anchorCtr="0">
            <a:noAutofit/>
          </a:bodyPr>
          <a:lstStyle>
            <a:lvl1pPr>
              <a:defRPr sz="2400">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Slide Number Placeholder 5">
            <a:extLst>
              <a:ext uri="{FF2B5EF4-FFF2-40B4-BE49-F238E27FC236}">
                <a16:creationId xmlns:a16="http://schemas.microsoft.com/office/drawing/2014/main" id="{1CC4883E-6E79-4F62-9BA2-229D65800024}"/>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4" name="Text Placeholder 13">
            <a:extLst>
              <a:ext uri="{FF2B5EF4-FFF2-40B4-BE49-F238E27FC236}">
                <a16:creationId xmlns:a16="http://schemas.microsoft.com/office/drawing/2014/main" id="{99981300-F400-AF9A-BAAB-7DE32BC459DD}"/>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384372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9775133-AD0E-493B-9BD3-12D87EAE732C}"/>
              </a:ext>
            </a:extLst>
          </p:cNvPr>
          <p:cNvGraphicFramePr>
            <a:graphicFrameLocks noChangeAspect="1"/>
          </p:cNvGraphicFramePr>
          <p:nvPr userDrawn="1">
            <p:custDataLst>
              <p:tags r:id="rId1"/>
            </p:custDataLst>
            <p:extLst>
              <p:ext uri="{D42A27DB-BD31-4B8C-83A1-F6EECF244321}">
                <p14:modId xmlns:p14="http://schemas.microsoft.com/office/powerpoint/2010/main" val="71203009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99775133-AD0E-493B-9BD3-12D87EAE732C}"/>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9" name="Pentagon 3"/>
          <p:cNvSpPr/>
          <p:nvPr userDrawn="1"/>
        </p:nvSpPr>
        <p:spPr bwMode="white">
          <a:xfrm>
            <a:off x="2"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38149" y="1785601"/>
            <a:ext cx="4026422" cy="3286800"/>
          </a:xfrm>
          <a:prstGeom prst="rect">
            <a:avLst/>
          </a:prstGeom>
        </p:spPr>
        <p:txBody>
          <a:bodyPr vert="horz" anchor="ctr">
            <a:noAutofit/>
          </a:bodyPr>
          <a:lstStyle>
            <a:lvl1pPr>
              <a:defRPr sz="4400"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6"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BE05DC72-2242-4991-8A0D-B615541D9B2F}"/>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5" name="Text Placeholder 13">
            <a:extLst>
              <a:ext uri="{FF2B5EF4-FFF2-40B4-BE49-F238E27FC236}">
                <a16:creationId xmlns:a16="http://schemas.microsoft.com/office/drawing/2014/main" id="{102AB4F9-F647-DE0F-9194-0AC4ECA2EFE2}"/>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2136337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9EDF79E-38C5-41AB-AFD0-7331118C8FAA}"/>
              </a:ext>
            </a:extLst>
          </p:cNvPr>
          <p:cNvGraphicFramePr>
            <a:graphicFrameLocks noChangeAspect="1"/>
          </p:cNvGraphicFramePr>
          <p:nvPr userDrawn="1">
            <p:custDataLst>
              <p:tags r:id="rId1"/>
            </p:custDataLst>
            <p:extLst>
              <p:ext uri="{D42A27DB-BD31-4B8C-83A1-F6EECF244321}">
                <p14:modId xmlns:p14="http://schemas.microsoft.com/office/powerpoint/2010/main" val="409334672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69EDF79E-38C5-41AB-AFD0-7331118C8FAA}"/>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9" name="Pentagon 3"/>
          <p:cNvSpPr/>
          <p:nvPr userDrawn="1"/>
        </p:nvSpPr>
        <p:spPr bwMode="white">
          <a:xfrm>
            <a:off x="2" y="0"/>
            <a:ext cx="5426920" cy="6858000"/>
          </a:xfrm>
          <a:prstGeom prst="homePlate">
            <a:avLst>
              <a:gd name="adj" fmla="val 12939"/>
            </a:avLst>
          </a:prstGeom>
          <a:gradFill flip="none" rotWithShape="1">
            <a:gsLst>
              <a:gs pos="100000">
                <a:srgbClr val="18375C"/>
              </a:gs>
              <a:gs pos="0">
                <a:srgbClr val="1F4675"/>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Trebuchet MS" panose="020B0603020202020204" pitchFamily="34" charset="0"/>
            </a:endParaRPr>
          </a:p>
        </p:txBody>
      </p:sp>
      <p:sp>
        <p:nvSpPr>
          <p:cNvPr id="20" name="Title 1"/>
          <p:cNvSpPr>
            <a:spLocks noGrp="1"/>
          </p:cNvSpPr>
          <p:nvPr>
            <p:ph type="title" hasCustomPrompt="1"/>
          </p:nvPr>
        </p:nvSpPr>
        <p:spPr>
          <a:xfrm>
            <a:off x="438149" y="1785601"/>
            <a:ext cx="4026422"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4" name="Slide Number Placeholder 5">
            <a:extLst>
              <a:ext uri="{FF2B5EF4-FFF2-40B4-BE49-F238E27FC236}">
                <a16:creationId xmlns:a16="http://schemas.microsoft.com/office/drawing/2014/main" id="{6C2FD2A4-4BFD-45F5-89B4-24A907E9512A}"/>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4" name="Text Placeholder 13">
            <a:extLst>
              <a:ext uri="{FF2B5EF4-FFF2-40B4-BE49-F238E27FC236}">
                <a16:creationId xmlns:a16="http://schemas.microsoft.com/office/drawing/2014/main" id="{ACA2E716-C168-01B0-8EF4-4B4146BCE8F5}"/>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965834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0559EF8-830E-4E63-8271-62E1D5CBE929}"/>
              </a:ext>
            </a:extLst>
          </p:cNvPr>
          <p:cNvGraphicFramePr>
            <a:graphicFrameLocks noChangeAspect="1"/>
          </p:cNvGraphicFramePr>
          <p:nvPr userDrawn="1">
            <p:custDataLst>
              <p:tags r:id="rId1"/>
            </p:custDataLst>
            <p:extLst>
              <p:ext uri="{D42A27DB-BD31-4B8C-83A1-F6EECF244321}">
                <p14:modId xmlns:p14="http://schemas.microsoft.com/office/powerpoint/2010/main" val="325180413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90559EF8-830E-4E63-8271-62E1D5CBE929}"/>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0719FE2-2BE7-4C6A-BEA9-594488B25759}"/>
              </a:ext>
            </a:extLst>
          </p:cNvPr>
          <p:cNvSpPr>
            <a:spLocks noGrp="1"/>
          </p:cNvSpPr>
          <p:nvPr>
            <p:ph type="title" hasCustomPrompt="1"/>
          </p:nvPr>
        </p:nvSpPr>
        <p:spPr>
          <a:xfrm>
            <a:off x="438152" y="377824"/>
            <a:ext cx="4709923" cy="365760"/>
          </a:xfrm>
        </p:spPr>
        <p:txBody>
          <a:bodyPr vert="horz"/>
          <a:lstStyle>
            <a:lvl1pPr>
              <a:defRPr sz="2400"/>
            </a:lvl1pPr>
          </a:lstStyle>
          <a:p>
            <a:r>
              <a:rPr lang="en-US"/>
              <a:t>Click to add title</a:t>
            </a:r>
          </a:p>
        </p:txBody>
      </p:sp>
      <p:sp>
        <p:nvSpPr>
          <p:cNvPr id="16" name="Slide Number Placeholder 5">
            <a:extLst>
              <a:ext uri="{FF2B5EF4-FFF2-40B4-BE49-F238E27FC236}">
                <a16:creationId xmlns:a16="http://schemas.microsoft.com/office/drawing/2014/main" id="{1C60B759-DC22-4478-8341-F559C3444B5B}"/>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7" name="Text Placeholder 13">
            <a:extLst>
              <a:ext uri="{FF2B5EF4-FFF2-40B4-BE49-F238E27FC236}">
                <a16:creationId xmlns:a16="http://schemas.microsoft.com/office/drawing/2014/main" id="{A9EED981-26DA-DC8F-2F6A-E21CE8B08DAE}"/>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2570277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28AE845-8061-4562-B072-E914DBA68E54}"/>
              </a:ext>
            </a:extLst>
          </p:cNvPr>
          <p:cNvGraphicFramePr>
            <a:graphicFrameLocks noChangeAspect="1"/>
          </p:cNvGraphicFramePr>
          <p:nvPr userDrawn="1">
            <p:custDataLst>
              <p:tags r:id="rId1"/>
            </p:custDataLst>
            <p:extLst>
              <p:ext uri="{D42A27DB-BD31-4B8C-83A1-F6EECF244321}">
                <p14:modId xmlns:p14="http://schemas.microsoft.com/office/powerpoint/2010/main" val="412560515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028AE845-8061-4562-B072-E914DBA68E54}"/>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100000">
                <a:srgbClr val="18375C"/>
              </a:gs>
              <a:gs pos="0">
                <a:srgbClr val="1F4675"/>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Trebuchet MS" panose="020B0603020202020204" pitchFamily="34" charset="0"/>
            </a:endParaRPr>
          </a:p>
        </p:txBody>
      </p:sp>
      <p:sp>
        <p:nvSpPr>
          <p:cNvPr id="15"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4"/>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 name="Title 1">
            <a:extLst>
              <a:ext uri="{FF2B5EF4-FFF2-40B4-BE49-F238E27FC236}">
                <a16:creationId xmlns:a16="http://schemas.microsoft.com/office/drawing/2014/main" id="{39DD4571-BCC5-4D39-812E-70B0A135F0E0}"/>
              </a:ext>
            </a:extLst>
          </p:cNvPr>
          <p:cNvSpPr>
            <a:spLocks noGrp="1"/>
          </p:cNvSpPr>
          <p:nvPr>
            <p:ph type="title" hasCustomPrompt="1"/>
          </p:nvPr>
        </p:nvSpPr>
        <p:spPr>
          <a:xfrm>
            <a:off x="438152" y="377824"/>
            <a:ext cx="4709923" cy="365760"/>
          </a:xfrm>
        </p:spPr>
        <p:txBody>
          <a:bodyPr vert="horz"/>
          <a:lstStyle>
            <a:lvl1pPr>
              <a:defRPr sz="2400">
                <a:solidFill>
                  <a:schemeClr val="bg1"/>
                </a:solidFill>
              </a:defRPr>
            </a:lvl1pPr>
          </a:lstStyle>
          <a:p>
            <a:r>
              <a:rPr lang="en-US"/>
              <a:t>Click to add title</a:t>
            </a:r>
          </a:p>
        </p:txBody>
      </p:sp>
      <p:sp>
        <p:nvSpPr>
          <p:cNvPr id="17" name="Slide Number Placeholder 5">
            <a:extLst>
              <a:ext uri="{FF2B5EF4-FFF2-40B4-BE49-F238E27FC236}">
                <a16:creationId xmlns:a16="http://schemas.microsoft.com/office/drawing/2014/main" id="{8881060F-79FE-45B6-9739-F0575D6C911A}"/>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5" name="Text Placeholder 13">
            <a:extLst>
              <a:ext uri="{FF2B5EF4-FFF2-40B4-BE49-F238E27FC236}">
                <a16:creationId xmlns:a16="http://schemas.microsoft.com/office/drawing/2014/main" id="{ADE3AE5B-3B2E-8BA8-4FC1-BF20495BAA40}"/>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90339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5ED7DB4-A366-4C50-BDDA-C75D1F9F9B4E}"/>
              </a:ext>
            </a:extLst>
          </p:cNvPr>
          <p:cNvGraphicFramePr>
            <a:graphicFrameLocks noChangeAspect="1"/>
          </p:cNvGraphicFramePr>
          <p:nvPr userDrawn="1">
            <p:custDataLst>
              <p:tags r:id="rId1"/>
            </p:custDataLst>
            <p:extLst>
              <p:ext uri="{D42A27DB-BD31-4B8C-83A1-F6EECF244321}">
                <p14:modId xmlns:p14="http://schemas.microsoft.com/office/powerpoint/2010/main" val="20513655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75ED7DB4-A366-4C50-BDDA-C75D1F9F9B4E}"/>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76BF143-268C-47FB-8DB6-312991068D02}"/>
              </a:ext>
            </a:extLst>
          </p:cNvPr>
          <p:cNvSpPr>
            <a:spLocks noGrp="1"/>
          </p:cNvSpPr>
          <p:nvPr>
            <p:ph type="title" hasCustomPrompt="1"/>
          </p:nvPr>
        </p:nvSpPr>
        <p:spPr>
          <a:xfrm>
            <a:off x="438151" y="377824"/>
            <a:ext cx="6218681" cy="365760"/>
          </a:xfrm>
        </p:spPr>
        <p:txBody>
          <a:bodyPr vert="horz"/>
          <a:lstStyle>
            <a:lvl1pPr>
              <a:defRPr sz="2400"/>
            </a:lvl1pPr>
          </a:lstStyle>
          <a:p>
            <a:r>
              <a:rPr lang="en-US"/>
              <a:t>Click to add title</a:t>
            </a:r>
          </a:p>
        </p:txBody>
      </p:sp>
      <p:sp>
        <p:nvSpPr>
          <p:cNvPr id="15" name="Slide Number Placeholder 5">
            <a:extLst>
              <a:ext uri="{FF2B5EF4-FFF2-40B4-BE49-F238E27FC236}">
                <a16:creationId xmlns:a16="http://schemas.microsoft.com/office/drawing/2014/main" id="{A11A7D3E-5CF2-45C3-BC5E-83408296E76D}"/>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5" name="Text Placeholder 13">
            <a:extLst>
              <a:ext uri="{FF2B5EF4-FFF2-40B4-BE49-F238E27FC236}">
                <a16:creationId xmlns:a16="http://schemas.microsoft.com/office/drawing/2014/main" id="{50CC193E-6B77-3532-24AE-66D1EC1281A7}"/>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1437588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230021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C44AEA-DD8B-4F04-A052-953C4D412D4D}"/>
              </a:ext>
            </a:extLst>
          </p:cNvPr>
          <p:cNvGraphicFramePr>
            <a:graphicFrameLocks noChangeAspect="1"/>
          </p:cNvGraphicFramePr>
          <p:nvPr userDrawn="1">
            <p:custDataLst>
              <p:tags r:id="rId1"/>
            </p:custDataLst>
            <p:extLst>
              <p:ext uri="{D42A27DB-BD31-4B8C-83A1-F6EECF244321}">
                <p14:modId xmlns:p14="http://schemas.microsoft.com/office/powerpoint/2010/main" val="33554859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4" name="think-cell data - do not delete" hidden="1">
                        <a:extLst>
                          <a:ext uri="{FF2B5EF4-FFF2-40B4-BE49-F238E27FC236}">
                            <a16:creationId xmlns:a16="http://schemas.microsoft.com/office/drawing/2014/main" id="{73C44AEA-DD8B-4F04-A052-953C4D412D4D}"/>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100000">
                <a:srgbClr val="18375C"/>
              </a:gs>
              <a:gs pos="0">
                <a:srgbClr val="1F4675"/>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4"/>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2" name="Title 1">
            <a:extLst>
              <a:ext uri="{FF2B5EF4-FFF2-40B4-BE49-F238E27FC236}">
                <a16:creationId xmlns:a16="http://schemas.microsoft.com/office/drawing/2014/main" id="{D844FF42-98AF-4153-8EA1-9EA8511CDDDE}"/>
              </a:ext>
            </a:extLst>
          </p:cNvPr>
          <p:cNvSpPr>
            <a:spLocks noGrp="1"/>
          </p:cNvSpPr>
          <p:nvPr>
            <p:ph type="title" hasCustomPrompt="1"/>
          </p:nvPr>
        </p:nvSpPr>
        <p:spPr>
          <a:xfrm>
            <a:off x="438151" y="377824"/>
            <a:ext cx="6218681" cy="365760"/>
          </a:xfrm>
        </p:spPr>
        <p:txBody>
          <a:bodyPr vert="horz"/>
          <a:lstStyle>
            <a:lvl1pPr>
              <a:defRPr sz="2400">
                <a:solidFill>
                  <a:schemeClr val="bg1"/>
                </a:solidFill>
              </a:defRPr>
            </a:lvl1pPr>
          </a:lstStyle>
          <a:p>
            <a:r>
              <a:rPr lang="en-US"/>
              <a:t>Click to add title</a:t>
            </a:r>
          </a:p>
        </p:txBody>
      </p:sp>
      <p:sp>
        <p:nvSpPr>
          <p:cNvPr id="15" name="Slide Number Placeholder 5">
            <a:extLst>
              <a:ext uri="{FF2B5EF4-FFF2-40B4-BE49-F238E27FC236}">
                <a16:creationId xmlns:a16="http://schemas.microsoft.com/office/drawing/2014/main" id="{DDE2FBF4-744E-4B9C-BBFC-D8E95693F5A4}"/>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3" name="Footer Placeholder 2">
            <a:extLst>
              <a:ext uri="{FF2B5EF4-FFF2-40B4-BE49-F238E27FC236}">
                <a16:creationId xmlns:a16="http://schemas.microsoft.com/office/drawing/2014/main" id="{6621B7A8-5709-78AF-71BE-414575C35830}"/>
              </a:ext>
            </a:extLst>
          </p:cNvPr>
          <p:cNvSpPr>
            <a:spLocks noGrp="1"/>
          </p:cNvSpPr>
          <p:nvPr>
            <p:ph type="ftr" sz="quarter" idx="3"/>
          </p:nvPr>
        </p:nvSpPr>
        <p:spPr>
          <a:xfrm>
            <a:off x="450850" y="6443762"/>
            <a:ext cx="5645150" cy="153888"/>
          </a:xfrm>
          <a:prstGeom prst="rect">
            <a:avLst/>
          </a:prstGeom>
        </p:spPr>
        <p:txBody>
          <a:bodyPr lIns="0" tIns="0" rIns="0" bIns="0" anchor="ctr"/>
          <a:lstStyle>
            <a:lvl1pPr>
              <a:defRPr sz="1000">
                <a:solidFill>
                  <a:schemeClr val="bg1"/>
                </a:solidFill>
              </a:defRPr>
            </a:lvl1pPr>
          </a:lstStyle>
          <a:p>
            <a:r>
              <a:rPr lang="en-US"/>
              <a:t>Slide Presentation Name | Date</a:t>
            </a:r>
          </a:p>
        </p:txBody>
      </p:sp>
    </p:spTree>
    <p:extLst>
      <p:ext uri="{BB962C8B-B14F-4D97-AF65-F5344CB8AC3E}">
        <p14:creationId xmlns:p14="http://schemas.microsoft.com/office/powerpoint/2010/main" val="121571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94F5D18-821F-4314-8F06-E53653162B3E}"/>
              </a:ext>
            </a:extLst>
          </p:cNvPr>
          <p:cNvGraphicFramePr>
            <a:graphicFrameLocks noChangeAspect="1"/>
          </p:cNvGraphicFramePr>
          <p:nvPr userDrawn="1">
            <p:custDataLst>
              <p:tags r:id="rId1"/>
            </p:custDataLst>
            <p:extLst>
              <p:ext uri="{D42A27DB-BD31-4B8C-83A1-F6EECF244321}">
                <p14:modId xmlns:p14="http://schemas.microsoft.com/office/powerpoint/2010/main" val="72454651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694F5D18-821F-4314-8F06-E53653162B3E}"/>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1" name="Title 1"/>
          <p:cNvSpPr>
            <a:spLocks noGrp="1"/>
          </p:cNvSpPr>
          <p:nvPr>
            <p:ph type="title" hasCustomPrompt="1"/>
          </p:nvPr>
        </p:nvSpPr>
        <p:spPr>
          <a:xfrm>
            <a:off x="438150" y="3826333"/>
            <a:ext cx="11315702" cy="1606550"/>
          </a:xfrm>
        </p:spPr>
        <p:txBody>
          <a:bodyPr vert="horz" anchor="b">
            <a:noAutofit/>
          </a:bodyPr>
          <a:lstStyle>
            <a:lvl1pPr marL="0" algn="l" defTabSz="914358"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3" name="Slide Number Placeholder 5">
            <a:extLst>
              <a:ext uri="{FF2B5EF4-FFF2-40B4-BE49-F238E27FC236}">
                <a16:creationId xmlns:a16="http://schemas.microsoft.com/office/drawing/2014/main" id="{3B446126-8E95-40DF-BD02-C2032725BEAC}"/>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cxnSp>
        <p:nvCxnSpPr>
          <p:cNvPr id="4" name="Straight Connector 3">
            <a:extLst>
              <a:ext uri="{FF2B5EF4-FFF2-40B4-BE49-F238E27FC236}">
                <a16:creationId xmlns:a16="http://schemas.microsoft.com/office/drawing/2014/main" id="{AC39C985-7F00-CB61-7979-D71218A3DB71}"/>
              </a:ext>
            </a:extLst>
          </p:cNvPr>
          <p:cNvCxnSpPr>
            <a:cxnSpLocks/>
          </p:cNvCxnSpPr>
          <p:nvPr userDrawn="1"/>
        </p:nvCxnSpPr>
        <p:spPr>
          <a:xfrm>
            <a:off x="457201" y="6352539"/>
            <a:ext cx="11277600" cy="0"/>
          </a:xfrm>
          <a:prstGeom prst="line">
            <a:avLst/>
          </a:prstGeom>
          <a:noFill/>
          <a:ln w="12700" cap="flat" cmpd="sng" algn="ctr">
            <a:solidFill>
              <a:schemeClr val="bg1"/>
            </a:solidFill>
            <a:prstDash val="solid"/>
            <a:miter lim="800000"/>
          </a:ln>
          <a:effectLst/>
        </p:spPr>
      </p:cxnSp>
      <p:sp>
        <p:nvSpPr>
          <p:cNvPr id="5" name="Text Placeholder 13">
            <a:extLst>
              <a:ext uri="{FF2B5EF4-FFF2-40B4-BE49-F238E27FC236}">
                <a16:creationId xmlns:a16="http://schemas.microsoft.com/office/drawing/2014/main" id="{09BB7D55-597D-4FC5-A962-57F7B1B4161D}"/>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061787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C21E95A-A13F-470A-9367-0A759874A4D8}"/>
              </a:ext>
            </a:extLst>
          </p:cNvPr>
          <p:cNvGraphicFramePr>
            <a:graphicFrameLocks noChangeAspect="1"/>
          </p:cNvGraphicFramePr>
          <p:nvPr userDrawn="1">
            <p:custDataLst>
              <p:tags r:id="rId1"/>
            </p:custDataLst>
            <p:extLst>
              <p:ext uri="{D42A27DB-BD31-4B8C-83A1-F6EECF244321}">
                <p14:modId xmlns:p14="http://schemas.microsoft.com/office/powerpoint/2010/main" val="50131321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9C21E95A-A13F-470A-9367-0A759874A4D8}"/>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1"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6" name="Rectangle 5"/>
          <p:cNvSpPr/>
          <p:nvPr userDrawn="1"/>
        </p:nvSpPr>
        <p:spPr bwMode="white">
          <a:xfrm>
            <a:off x="438149" y="625475"/>
            <a:ext cx="932688" cy="932688"/>
          </a:xfrm>
          <a:prstGeom prst="rect">
            <a:avLst/>
          </a:prstGeom>
          <a:noFill/>
          <a:ln>
            <a:solidFill>
              <a:srgbClr val="F4A6A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tx2"/>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38150" y="3826333"/>
            <a:ext cx="11315702" cy="1606550"/>
          </a:xfrm>
          <a:prstGeom prst="rect">
            <a:avLst/>
          </a:prstGeom>
        </p:spPr>
        <p:txBody>
          <a:bodyPr vert="horz" anchor="b">
            <a:noAutofit/>
          </a:bodyPr>
          <a:lstStyle>
            <a:lvl1pPr marL="0" algn="l" defTabSz="914358"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big statement text</a:t>
            </a:r>
          </a:p>
        </p:txBody>
      </p:sp>
      <p:sp>
        <p:nvSpPr>
          <p:cNvPr id="4" name="Text Placeholder 13">
            <a:extLst>
              <a:ext uri="{FF2B5EF4-FFF2-40B4-BE49-F238E27FC236}">
                <a16:creationId xmlns:a16="http://schemas.microsoft.com/office/drawing/2014/main" id="{B5090F7F-B28C-0A1E-7CD8-776C07BB4C7A}"/>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1881311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7507358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34" tIns="45717" rIns="91434" bIns="45717" numCol="1" anchor="t" anchorCtr="0" compatLnSpc="1">
            <a:prstTxWarp prst="textNoShape">
              <a:avLst/>
            </a:prstTxWarp>
            <a:noAutofit/>
          </a:bodyPr>
          <a:lstStyle/>
          <a:p>
            <a:endParaRPr lang="en-US" sz="1800">
              <a:latin typeface="+mn-lt"/>
              <a:ea typeface="+mn-ea"/>
              <a:cs typeface="+mn-cs"/>
              <a:sym typeface="Trebuchet MS" panose="020B0603020202020204" pitchFamily="34" charset="0"/>
            </a:endParaRPr>
          </a:p>
        </p:txBody>
      </p:sp>
      <p:sp>
        <p:nvSpPr>
          <p:cNvPr id="9" name="Slide Number Placeholder 5">
            <a:extLst>
              <a:ext uri="{FF2B5EF4-FFF2-40B4-BE49-F238E27FC236}">
                <a16:creationId xmlns:a16="http://schemas.microsoft.com/office/drawing/2014/main" id="{DE29971B-C831-4489-93E6-478441579D08}"/>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5" name="Text Placeholder 13">
            <a:extLst>
              <a:ext uri="{FF2B5EF4-FFF2-40B4-BE49-F238E27FC236}">
                <a16:creationId xmlns:a16="http://schemas.microsoft.com/office/drawing/2014/main" id="{3160A2AC-03B3-6F1E-13E9-9779576A41D6}"/>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722353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2051D1D-BEE7-4786-8DA1-2FC0E178C76F}"/>
              </a:ext>
            </a:extLst>
          </p:cNvPr>
          <p:cNvGraphicFramePr>
            <a:graphicFrameLocks noChangeAspect="1"/>
          </p:cNvGraphicFramePr>
          <p:nvPr userDrawn="1">
            <p:custDataLst>
              <p:tags r:id="rId1"/>
            </p:custDataLst>
            <p:extLst>
              <p:ext uri="{D42A27DB-BD31-4B8C-83A1-F6EECF244321}">
                <p14:modId xmlns:p14="http://schemas.microsoft.com/office/powerpoint/2010/main" val="330981348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6" name="think-cell data - do not delete" hidden="1">
                        <a:extLst>
                          <a:ext uri="{FF2B5EF4-FFF2-40B4-BE49-F238E27FC236}">
                            <a16:creationId xmlns:a16="http://schemas.microsoft.com/office/drawing/2014/main" id="{92051D1D-BEE7-4786-8DA1-2FC0E178C76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1"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 name="Title 1">
            <a:extLst>
              <a:ext uri="{FF2B5EF4-FFF2-40B4-BE49-F238E27FC236}">
                <a16:creationId xmlns:a16="http://schemas.microsoft.com/office/drawing/2014/main" id="{4C3B81F5-FB83-4612-BF89-5CB42E1B99D1}"/>
              </a:ext>
            </a:extLst>
          </p:cNvPr>
          <p:cNvSpPr>
            <a:spLocks noGrp="1"/>
          </p:cNvSpPr>
          <p:nvPr>
            <p:ph type="title" hasCustomPrompt="1"/>
          </p:nvPr>
        </p:nvSpPr>
        <p:spPr>
          <a:xfrm>
            <a:off x="438150" y="377824"/>
            <a:ext cx="9105900" cy="365760"/>
          </a:xfrm>
        </p:spPr>
        <p:txBody>
          <a:bodyPr vert="horz"/>
          <a:lstStyle>
            <a:lvl1pPr>
              <a:defRPr sz="2400">
                <a:solidFill>
                  <a:schemeClr val="bg1"/>
                </a:solidFill>
              </a:defRPr>
            </a:lvl1pPr>
          </a:lstStyle>
          <a:p>
            <a:r>
              <a:rPr lang="en-US"/>
              <a:t>Click to add title</a:t>
            </a:r>
          </a:p>
        </p:txBody>
      </p:sp>
      <p:sp>
        <p:nvSpPr>
          <p:cNvPr id="13" name="Slide Number Placeholder 5">
            <a:extLst>
              <a:ext uri="{FF2B5EF4-FFF2-40B4-BE49-F238E27FC236}">
                <a16:creationId xmlns:a16="http://schemas.microsoft.com/office/drawing/2014/main" id="{4F4528C0-DBFF-423D-A8B1-92F2460B79B3}"/>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cxnSp>
        <p:nvCxnSpPr>
          <p:cNvPr id="4" name="Straight Connector 3">
            <a:extLst>
              <a:ext uri="{FF2B5EF4-FFF2-40B4-BE49-F238E27FC236}">
                <a16:creationId xmlns:a16="http://schemas.microsoft.com/office/drawing/2014/main" id="{AD36708D-2B8C-1283-2A46-F40B7B66B120}"/>
              </a:ext>
            </a:extLst>
          </p:cNvPr>
          <p:cNvCxnSpPr>
            <a:cxnSpLocks/>
          </p:cNvCxnSpPr>
          <p:nvPr userDrawn="1"/>
        </p:nvCxnSpPr>
        <p:spPr>
          <a:xfrm>
            <a:off x="457201" y="6352539"/>
            <a:ext cx="11277600" cy="0"/>
          </a:xfrm>
          <a:prstGeom prst="line">
            <a:avLst/>
          </a:prstGeom>
          <a:noFill/>
          <a:ln w="12700" cap="flat" cmpd="sng" algn="ctr">
            <a:solidFill>
              <a:schemeClr val="bg1"/>
            </a:solidFill>
            <a:prstDash val="solid"/>
            <a:miter lim="800000"/>
          </a:ln>
          <a:effectLst/>
        </p:spPr>
      </p:cxnSp>
      <p:sp>
        <p:nvSpPr>
          <p:cNvPr id="5" name="Text Placeholder 13">
            <a:extLst>
              <a:ext uri="{FF2B5EF4-FFF2-40B4-BE49-F238E27FC236}">
                <a16:creationId xmlns:a16="http://schemas.microsoft.com/office/drawing/2014/main" id="{6D7C478F-DF42-F4DB-0A71-E8A31111581D}"/>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744573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1F43D39-3A8B-4C3A-9673-F4F2A8A21138}"/>
              </a:ext>
            </a:extLst>
          </p:cNvPr>
          <p:cNvGraphicFramePr>
            <a:graphicFrameLocks noChangeAspect="1"/>
          </p:cNvGraphicFramePr>
          <p:nvPr userDrawn="1">
            <p:custDataLst>
              <p:tags r:id="rId1"/>
            </p:custDataLst>
            <p:extLst>
              <p:ext uri="{D42A27DB-BD31-4B8C-83A1-F6EECF244321}">
                <p14:modId xmlns:p14="http://schemas.microsoft.com/office/powerpoint/2010/main" val="424380049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2" name="think-cell data - do not delete" hidden="1">
                        <a:extLst>
                          <a:ext uri="{FF2B5EF4-FFF2-40B4-BE49-F238E27FC236}">
                            <a16:creationId xmlns:a16="http://schemas.microsoft.com/office/drawing/2014/main" id="{11F43D39-3A8B-4C3A-9673-F4F2A8A21138}"/>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38150" y="2609192"/>
            <a:ext cx="2990851" cy="1699248"/>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C70200A8-0FA9-4A68-9FD2-EF146C1FEF02}"/>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4" name="Text Placeholder 13">
            <a:extLst>
              <a:ext uri="{FF2B5EF4-FFF2-40B4-BE49-F238E27FC236}">
                <a16:creationId xmlns:a16="http://schemas.microsoft.com/office/drawing/2014/main" id="{717E2A5F-493A-FED6-8105-0B5972BE9292}"/>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3586877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Blank green">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E8F8E46-39E0-4984-8C63-BC8DBB7344A6}"/>
              </a:ext>
            </a:extLst>
          </p:cNvPr>
          <p:cNvGraphicFramePr>
            <a:graphicFrameLocks noChangeAspect="1"/>
          </p:cNvGraphicFramePr>
          <p:nvPr userDrawn="1">
            <p:custDataLst>
              <p:tags r:id="rId1"/>
            </p:custDataLst>
            <p:extLst>
              <p:ext uri="{D42A27DB-BD31-4B8C-83A1-F6EECF244321}">
                <p14:modId xmlns:p14="http://schemas.microsoft.com/office/powerpoint/2010/main" val="348236008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2" name="think-cell data - do not delete" hidden="1">
                        <a:extLst>
                          <a:ext uri="{FF2B5EF4-FFF2-40B4-BE49-F238E27FC236}">
                            <a16:creationId xmlns:a16="http://schemas.microsoft.com/office/drawing/2014/main" id="{9E8F8E46-39E0-4984-8C63-BC8DBB7344A6}"/>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8" name="Slide Number Placeholder 5">
            <a:extLst>
              <a:ext uri="{FF2B5EF4-FFF2-40B4-BE49-F238E27FC236}">
                <a16:creationId xmlns:a16="http://schemas.microsoft.com/office/drawing/2014/main" id="{D40CA630-A326-4A96-918D-7AECEDC4C9FB}"/>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cxnSp>
        <p:nvCxnSpPr>
          <p:cNvPr id="4" name="Straight Connector 3">
            <a:extLst>
              <a:ext uri="{FF2B5EF4-FFF2-40B4-BE49-F238E27FC236}">
                <a16:creationId xmlns:a16="http://schemas.microsoft.com/office/drawing/2014/main" id="{CEC84A7E-9DC2-496D-9293-C680C9804B41}"/>
              </a:ext>
            </a:extLst>
          </p:cNvPr>
          <p:cNvCxnSpPr>
            <a:cxnSpLocks/>
          </p:cNvCxnSpPr>
          <p:nvPr userDrawn="1"/>
        </p:nvCxnSpPr>
        <p:spPr>
          <a:xfrm>
            <a:off x="457201" y="6352539"/>
            <a:ext cx="11277600" cy="0"/>
          </a:xfrm>
          <a:prstGeom prst="line">
            <a:avLst/>
          </a:prstGeom>
          <a:noFill/>
          <a:ln w="12700" cap="flat" cmpd="sng" algn="ctr">
            <a:solidFill>
              <a:schemeClr val="bg1"/>
            </a:solidFill>
            <a:prstDash val="solid"/>
            <a:miter lim="800000"/>
          </a:ln>
          <a:effectLst/>
        </p:spPr>
      </p:cxnSp>
      <p:sp>
        <p:nvSpPr>
          <p:cNvPr id="5" name="Text Placeholder 13">
            <a:extLst>
              <a:ext uri="{FF2B5EF4-FFF2-40B4-BE49-F238E27FC236}">
                <a16:creationId xmlns:a16="http://schemas.microsoft.com/office/drawing/2014/main" id="{DA8E6AEA-C179-5930-8130-F74C92953C6C}"/>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29384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709737-6929-4DB9-BB7D-3E5E97BDAB5F}"/>
              </a:ext>
            </a:extLst>
          </p:cNvPr>
          <p:cNvGraphicFramePr>
            <a:graphicFrameLocks noChangeAspect="1"/>
          </p:cNvGraphicFramePr>
          <p:nvPr userDrawn="1">
            <p:custDataLst>
              <p:tags r:id="rId1"/>
            </p:custDataLst>
            <p:extLst>
              <p:ext uri="{D42A27DB-BD31-4B8C-83A1-F6EECF244321}">
                <p14:modId xmlns:p14="http://schemas.microsoft.com/office/powerpoint/2010/main" val="341039910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2" name="think-cell data - do not delete" hidden="1">
                        <a:extLst>
                          <a:ext uri="{FF2B5EF4-FFF2-40B4-BE49-F238E27FC236}">
                            <a16:creationId xmlns:a16="http://schemas.microsoft.com/office/drawing/2014/main" id="{1F709737-6929-4DB9-BB7D-3E5E97BDAB5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5"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4" name="Text Placeholder 13">
            <a:extLst>
              <a:ext uri="{FF2B5EF4-FFF2-40B4-BE49-F238E27FC236}">
                <a16:creationId xmlns:a16="http://schemas.microsoft.com/office/drawing/2014/main" id="{7B4421DE-03F6-FC9D-83EB-E0BEA2FA90CA}"/>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147163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DDBD6C9-06A5-4163-AC97-1EAF055BFE6F}"/>
              </a:ext>
            </a:extLst>
          </p:cNvPr>
          <p:cNvGraphicFramePr>
            <a:graphicFrameLocks noChangeAspect="1"/>
          </p:cNvGraphicFramePr>
          <p:nvPr userDrawn="1">
            <p:custDataLst>
              <p:tags r:id="rId1"/>
            </p:custDataLst>
            <p:extLst>
              <p:ext uri="{D42A27DB-BD31-4B8C-83A1-F6EECF244321}">
                <p14:modId xmlns:p14="http://schemas.microsoft.com/office/powerpoint/2010/main" val="249438624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2" name="think-cell data - do not delete" hidden="1">
                        <a:extLst>
                          <a:ext uri="{FF2B5EF4-FFF2-40B4-BE49-F238E27FC236}">
                            <a16:creationId xmlns:a16="http://schemas.microsoft.com/office/drawing/2014/main" id="{1DDBD6C9-06A5-4163-AC97-1EAF055BFE6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0"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cxnSp>
        <p:nvCxnSpPr>
          <p:cNvPr id="13" name="Straight Connector 12">
            <a:extLst>
              <a:ext uri="{FF2B5EF4-FFF2-40B4-BE49-F238E27FC236}">
                <a16:creationId xmlns:a16="http://schemas.microsoft.com/office/drawing/2014/main" id="{689ADE0C-2E37-4759-BF7F-9E684F6E0E26}"/>
              </a:ext>
            </a:extLst>
          </p:cNvPr>
          <p:cNvCxnSpPr/>
          <p:nvPr userDrawn="1"/>
        </p:nvCxnSpPr>
        <p:spPr>
          <a:xfrm>
            <a:off x="4674471"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85BCCB5B-C494-45CD-A353-E2C4A5319DD0}"/>
              </a:ext>
            </a:extLst>
          </p:cNvPr>
          <p:cNvSpPr>
            <a:spLocks noGrp="1"/>
          </p:cNvSpPr>
          <p:nvPr>
            <p:ph type="body" sz="quarter" idx="11" hasCustomPrompt="1"/>
          </p:nvPr>
        </p:nvSpPr>
        <p:spPr>
          <a:xfrm>
            <a:off x="5564344" y="1630186"/>
            <a:ext cx="6209072" cy="3392129"/>
          </a:xfrm>
        </p:spPr>
        <p:txBody>
          <a:bodyPr/>
          <a:lstStyle>
            <a:lvl1pPr>
              <a:defRPr sz="900">
                <a:latin typeface="+mn-lt"/>
                <a:ea typeface="+mn-ea"/>
                <a:cs typeface="+mn-cs"/>
              </a:defRPr>
            </a:lvl1pPr>
            <a:lvl2pPr>
              <a:defRPr sz="900"/>
            </a:lvl2pPr>
            <a:lvl3pPr>
              <a:defRPr sz="900"/>
            </a:lvl3pPr>
            <a:lvl4pPr>
              <a:defRPr sz="900"/>
            </a:lvl4pPr>
            <a:lvl5pPr>
              <a:defRPr sz="900"/>
            </a:lvl5pPr>
          </a:lstStyle>
          <a:p>
            <a:pPr lvl="0"/>
            <a:r>
              <a:rPr lang="en-US"/>
              <a:t>Text</a:t>
            </a:r>
          </a:p>
        </p:txBody>
      </p:sp>
      <p:sp>
        <p:nvSpPr>
          <p:cNvPr id="8" name="Title 6">
            <a:extLst>
              <a:ext uri="{FF2B5EF4-FFF2-40B4-BE49-F238E27FC236}">
                <a16:creationId xmlns:a16="http://schemas.microsoft.com/office/drawing/2014/main" id="{809074DA-66EE-4272-B8FB-8D98BE069F3C}"/>
              </a:ext>
            </a:extLst>
          </p:cNvPr>
          <p:cNvSpPr txBox="1">
            <a:spLocks/>
          </p:cNvSpPr>
          <p:nvPr userDrawn="1"/>
        </p:nvSpPr>
        <p:spPr>
          <a:xfrm>
            <a:off x="438149" y="2993852"/>
            <a:ext cx="3892537" cy="6647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800"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sp>
        <p:nvSpPr>
          <p:cNvPr id="4" name="Text Placeholder 13">
            <a:extLst>
              <a:ext uri="{FF2B5EF4-FFF2-40B4-BE49-F238E27FC236}">
                <a16:creationId xmlns:a16="http://schemas.microsoft.com/office/drawing/2014/main" id="{CD9EE6C6-8966-1416-596D-C0792C95B1DF}"/>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175113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rgbClr val="1F467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2123657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Title 3">
            <a:extLst>
              <a:ext uri="{FF2B5EF4-FFF2-40B4-BE49-F238E27FC236}">
                <a16:creationId xmlns:a16="http://schemas.microsoft.com/office/drawing/2014/main" id="{E20F9E45-C231-4DAC-B3F9-E9EDA4A0E82D}"/>
              </a:ext>
            </a:extLst>
          </p:cNvPr>
          <p:cNvSpPr txBox="1">
            <a:spLocks/>
          </p:cNvSpPr>
          <p:nvPr userDrawn="1"/>
        </p:nvSpPr>
        <p:spPr>
          <a:xfrm>
            <a:off x="331661" y="3385615"/>
            <a:ext cx="5560939" cy="1046440"/>
          </a:xfrm>
          <a:prstGeom prst="rect">
            <a:avLst/>
          </a:prstGeom>
        </p:spPr>
        <p:txBody>
          <a:bodyPr vert="horz" wrap="square" lIns="0" tIns="0" rIns="0" bIns="0" rtlCol="0" anchor="ctr" anchorCtr="0">
            <a:spAutoFit/>
          </a:bodyPr>
          <a:lstStyle>
            <a:lvl1pPr algn="l" defTabSz="914400" rtl="0" eaLnBrk="1" latinLnBrk="0" hangingPunct="1">
              <a:lnSpc>
                <a:spcPct val="100000"/>
              </a:lnSpc>
              <a:spcBef>
                <a:spcPct val="0"/>
              </a:spcBef>
              <a:buNone/>
              <a:defRPr sz="4800" b="0" i="0" kern="1200" cap="all"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358" rtl="0" eaLnBrk="1" fontAlgn="auto" latinLnBrk="0" hangingPunct="1">
              <a:lnSpc>
                <a:spcPct val="100000"/>
              </a:lnSpc>
              <a:spcBef>
                <a:spcPct val="0"/>
              </a:spcBef>
              <a:spcAft>
                <a:spcPts val="0"/>
              </a:spcAft>
              <a:buClrTx/>
              <a:buSzTx/>
              <a:buFontTx/>
              <a:buNone/>
              <a:tabLst/>
              <a:defRPr/>
            </a:pPr>
            <a:r>
              <a:rPr kumimoji="0" lang="en-US" sz="2800" b="1" i="0" u="none" strike="noStrike" kern="1200" cap="all"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Thank you</a:t>
            </a:r>
            <a:br>
              <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rPr>
            </a:br>
            <a:br>
              <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rPr>
            </a:br>
            <a:endParaRPr kumimoji="0" lang="en-US" sz="2000" b="1" i="0" u="none" strike="noStrike" kern="1200" cap="all" spc="0" normalizeH="0" baseline="0" noProof="0">
              <a:ln>
                <a:noFill/>
              </a:ln>
              <a:solidFill>
                <a:srgbClr val="FFD300"/>
              </a:solidFill>
              <a:effectLst/>
              <a:uLnTx/>
              <a:uFillTx/>
              <a:latin typeface="Arial" panose="020B0604020202020204" pitchFamily="34" charset="0"/>
              <a:ea typeface="+mj-ea"/>
              <a:cs typeface="Arial" panose="020B0604020202020204" pitchFamily="34" charset="0"/>
            </a:endParaRPr>
          </a:p>
        </p:txBody>
      </p:sp>
      <p:pic>
        <p:nvPicPr>
          <p:cNvPr id="3" name="Picture 2">
            <a:extLst>
              <a:ext uri="{FF2B5EF4-FFF2-40B4-BE49-F238E27FC236}">
                <a16:creationId xmlns:a16="http://schemas.microsoft.com/office/drawing/2014/main" id="{AB462201-8261-E5A3-C415-5904D37E69F6}"/>
              </a:ext>
            </a:extLst>
          </p:cNvPr>
          <p:cNvPicPr>
            <a:picLocks noChangeAspect="1"/>
          </p:cNvPicPr>
          <p:nvPr userDrawn="1"/>
        </p:nvPicPr>
        <p:blipFill>
          <a:blip r:embed="rId5">
            <a:alphaModFix/>
          </a:blip>
          <a:stretch>
            <a:fillRect/>
          </a:stretch>
        </p:blipFill>
        <p:spPr>
          <a:xfrm>
            <a:off x="308008" y="372645"/>
            <a:ext cx="3067017" cy="862430"/>
          </a:xfrm>
          <a:prstGeom prst="rect">
            <a:avLst/>
          </a:prstGeom>
        </p:spPr>
      </p:pic>
      <p:pic>
        <p:nvPicPr>
          <p:cNvPr id="4" name="Picture 3">
            <a:extLst>
              <a:ext uri="{FF2B5EF4-FFF2-40B4-BE49-F238E27FC236}">
                <a16:creationId xmlns:a16="http://schemas.microsoft.com/office/drawing/2014/main" id="{49ED3FB8-10F1-1858-EA2E-DDA89CBF12EC}"/>
              </a:ext>
            </a:extLst>
          </p:cNvPr>
          <p:cNvPicPr>
            <a:picLocks noChangeAspect="1"/>
          </p:cNvPicPr>
          <p:nvPr userDrawn="1"/>
        </p:nvPicPr>
        <p:blipFill>
          <a:blip r:embed="rId6"/>
          <a:stretch>
            <a:fillRect/>
          </a:stretch>
        </p:blipFill>
        <p:spPr>
          <a:xfrm>
            <a:off x="5905500" y="0"/>
            <a:ext cx="6286500" cy="6858000"/>
          </a:xfrm>
          <a:prstGeom prst="rect">
            <a:avLst/>
          </a:prstGeom>
        </p:spPr>
      </p:pic>
    </p:spTree>
    <p:extLst>
      <p:ext uri="{BB962C8B-B14F-4D97-AF65-F5344CB8AC3E}">
        <p14:creationId xmlns:p14="http://schemas.microsoft.com/office/powerpoint/2010/main" val="1856583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raphic Main">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06396" y="6482886"/>
            <a:ext cx="7575715" cy="111982"/>
          </a:xfrm>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a:xfrm>
            <a:off x="10788408" y="6482886"/>
            <a:ext cx="897196" cy="111982"/>
          </a:xfrm>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06396" y="459732"/>
            <a:ext cx="7789138" cy="403133"/>
          </a:xfrm>
        </p:spPr>
        <p:txBody>
          <a:bodyPr lIns="0" tIns="0" rIns="0" bIns="0" anchor="t" anchorCtr="0"/>
          <a:lstStyle/>
          <a:p>
            <a:r>
              <a:rPr lang="en-GB"/>
              <a:t>Click to edit Master title style</a:t>
            </a:r>
          </a:p>
        </p:txBody>
      </p:sp>
    </p:spTree>
    <p:extLst>
      <p:ext uri="{BB962C8B-B14F-4D97-AF65-F5344CB8AC3E}">
        <p14:creationId xmlns:p14="http://schemas.microsoft.com/office/powerpoint/2010/main" val="1559591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0829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834BE7-3A32-4EBB-93E8-6C6F7D274A1E}"/>
              </a:ext>
            </a:extLst>
          </p:cNvPr>
          <p:cNvGraphicFramePr>
            <a:graphicFrameLocks noChangeAspect="1"/>
          </p:cNvGraphicFramePr>
          <p:nvPr userDrawn="1">
            <p:custDataLst>
              <p:tags r:id="rId1"/>
            </p:custDataLst>
            <p:extLst>
              <p:ext uri="{D42A27DB-BD31-4B8C-83A1-F6EECF244321}">
                <p14:modId xmlns:p14="http://schemas.microsoft.com/office/powerpoint/2010/main" val="381634820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75834BE7-3A32-4EBB-93E8-6C6F7D274A1E}"/>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2" name="Date Placeholder 1"/>
          <p:cNvSpPr>
            <a:spLocks noGrp="1"/>
          </p:cNvSpPr>
          <p:nvPr userDrawn="1">
            <p:ph type="dt" sz="half" idx="10"/>
          </p:nvPr>
        </p:nvSpPr>
        <p:spPr>
          <a:xfrm>
            <a:off x="9677400" y="6405037"/>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grpSp>
        <p:nvGrpSpPr>
          <p:cNvPr id="7" name="Group 6">
            <a:extLst>
              <a:ext uri="{FF2B5EF4-FFF2-40B4-BE49-F238E27FC236}">
                <a16:creationId xmlns:a16="http://schemas.microsoft.com/office/drawing/2014/main" id="{731D7378-AA5D-4293-A989-9E68B204E08A}"/>
              </a:ext>
            </a:extLst>
          </p:cNvPr>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1"/>
                </a:solidFill>
                <a:latin typeface="+mn-lt"/>
                <a:ea typeface="+mn-ea"/>
                <a:cs typeface="+mn-cs"/>
              </a:endParaRPr>
            </a:p>
          </p:txBody>
        </p:sp>
        <p:grpSp>
          <p:nvGrpSpPr>
            <p:cNvPr id="6" name="Group 5">
              <a:extLst>
                <a:ext uri="{FF2B5EF4-FFF2-40B4-BE49-F238E27FC236}">
                  <a16:creationId xmlns:a16="http://schemas.microsoft.com/office/drawing/2014/main" id="{54959DEC-C10A-42A8-9A36-17D0ADE61AE2}"/>
                </a:ext>
              </a:extLst>
            </p:cNvPr>
            <p:cNvGrpSpPr/>
            <p:nvPr userDrawn="1"/>
          </p:nvGrpSpPr>
          <p:grpSpPr>
            <a:xfrm>
              <a:off x="-600" y="191863"/>
              <a:ext cx="12193200" cy="5969223"/>
              <a:chOff x="-600" y="191863"/>
              <a:chExt cx="12193200" cy="5969223"/>
            </a:xfrm>
          </p:grpSpPr>
          <p:cxnSp>
            <p:nvCxnSpPr>
              <p:cNvPr id="170" name="Straight Connector 169"/>
              <p:cNvCxnSpPr/>
              <p:nvPr/>
            </p:nvCxnSpPr>
            <p:spPr>
              <a:xfrm>
                <a:off x="-600" y="19186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600" y="8449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600" y="117147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600" y="149801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600" y="178961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600" y="208121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600" y="5184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600" y="239504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600" y="270888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600" y="30227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600" y="333655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600" y="365039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600" y="396422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600" y="427806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600" y="45919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600" y="490573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600" y="52195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600" y="553340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600" y="58472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600" y="61610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sp>
          <p:nvSpPr>
            <p:cNvPr id="148" name="Slide edges"/>
            <p:cNvSpPr>
              <a:spLocks/>
            </p:cNvSpPr>
            <p:nvPr userDrawn="1"/>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userDrawn="1"/>
          </p:nvSpPr>
          <p:spPr bwMode="auto">
            <a:xfrm>
              <a:off x="513548" y="6161086"/>
              <a:ext cx="11259866" cy="39885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50" name="Whitespace measure"/>
            <p:cNvSpPr>
              <a:spLocks noChangeArrowheads="1"/>
            </p:cNvSpPr>
            <p:nvPr userDrawn="1"/>
          </p:nvSpPr>
          <p:spPr bwMode="auto">
            <a:xfrm>
              <a:off x="513548" y="1498012"/>
              <a:ext cx="11259865"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grpSp>
          <p:nvGrpSpPr>
            <p:cNvPr id="147" name="Gutter space"/>
            <p:cNvGrpSpPr/>
            <p:nvPr userDrawn="1"/>
          </p:nvGrpSpPr>
          <p:grpSpPr>
            <a:xfrm>
              <a:off x="1180497" y="191863"/>
              <a:ext cx="9925966" cy="5969223"/>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grpSp>
        <p:grpSp>
          <p:nvGrpSpPr>
            <p:cNvPr id="151" name="Five column measure"/>
            <p:cNvGrpSpPr/>
            <p:nvPr userDrawn="1"/>
          </p:nvGrpSpPr>
          <p:grpSpPr>
            <a:xfrm>
              <a:off x="513548" y="5964397"/>
              <a:ext cx="11259864"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a typeface="+mn-ea"/>
                  <a:cs typeface="+mn-cs"/>
                </a:endParaRPr>
              </a:p>
            </p:txBody>
          </p:sp>
        </p:grpSp>
        <p:sp>
          <p:nvSpPr>
            <p:cNvPr id="52" name="ee4pFootnotesSam">
              <a:extLst>
                <a:ext uri="{FF2B5EF4-FFF2-40B4-BE49-F238E27FC236}">
                  <a16:creationId xmlns:a16="http://schemas.microsoft.com/office/drawing/2014/main" id="{2AC914D1-C1B4-4041-9B73-8422A11279B1}"/>
                </a:ext>
              </a:extLst>
            </p:cNvPr>
            <p:cNvSpPr>
              <a:spLocks noChangeArrowheads="1"/>
            </p:cNvSpPr>
            <p:nvPr userDrawn="1"/>
          </p:nvSpPr>
          <p:spPr bwMode="auto">
            <a:xfrm>
              <a:off x="534939" y="6144442"/>
              <a:ext cx="9125975"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defTabSz="457179">
                <a:lnSpc>
                  <a:spcPct val="90000"/>
                </a:lnSpc>
              </a:pPr>
              <a:r>
                <a:rPr lang="en-US" sz="1000">
                  <a:solidFill>
                    <a:prstClr val="white">
                      <a:lumMod val="50000"/>
                    </a:prstClr>
                  </a:solidFill>
                  <a:latin typeface="+mn-lt"/>
                  <a:ea typeface="+mn-ea"/>
                  <a:cs typeface="+mn-cs"/>
                </a:rPr>
                <a:t>1. xxxx  2. xxxx  3. xxxx</a:t>
              </a:r>
            </a:p>
            <a:p>
              <a:pPr defTabSz="457179">
                <a:lnSpc>
                  <a:spcPct val="90000"/>
                </a:lnSpc>
              </a:pPr>
              <a:r>
                <a:rPr lang="en-US" sz="1000">
                  <a:solidFill>
                    <a:prstClr val="white">
                      <a:lumMod val="50000"/>
                    </a:prstClr>
                  </a:solidFill>
                  <a:latin typeface="+mn-lt"/>
                  <a:ea typeface="+mn-ea"/>
                  <a:cs typeface="+mn-cs"/>
                </a:rPr>
                <a:t>Note: List footnotes in numerical order. Footnote numbers are not bracketed. Use 10pt font. Do not put a period at the end of the note or the source</a:t>
              </a:r>
            </a:p>
            <a:p>
              <a:pPr defTabSz="457179">
                <a:lnSpc>
                  <a:spcPct val="90000"/>
                </a:lnSpc>
              </a:pPr>
              <a:r>
                <a:rPr lang="en-US" sz="1000">
                  <a:solidFill>
                    <a:prstClr val="white">
                      <a:lumMod val="50000"/>
                    </a:prstClr>
                  </a:solidFill>
                  <a:latin typeface="+mn-lt"/>
                  <a:ea typeface="+mn-ea"/>
                  <a:cs typeface="+mn-cs"/>
                </a:rPr>
                <a:t>Source: Include a source for every chart that you use. Separate sources with a semicolon; BCG-related sources go at the end</a:t>
              </a:r>
            </a:p>
          </p:txBody>
        </p:sp>
        <p:sp>
          <p:nvSpPr>
            <p:cNvPr id="152" name="Live area"/>
            <p:cNvSpPr/>
            <p:nvPr userDrawn="1"/>
          </p:nvSpPr>
          <p:spPr>
            <a:xfrm>
              <a:off x="513548" y="2081212"/>
              <a:ext cx="11259867" cy="4079874"/>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grpSp>
    </p:spTree>
    <p:extLst>
      <p:ext uri="{BB962C8B-B14F-4D97-AF65-F5344CB8AC3E}">
        <p14:creationId xmlns:p14="http://schemas.microsoft.com/office/powerpoint/2010/main" val="51743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3525049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67" tIns="179988" rIns="182867" bIns="182867"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9"/>
            <a:ext cx="3448800" cy="3493008"/>
          </a:xfrm>
          <a:prstGeom prst="rect">
            <a:avLst/>
          </a:prstGeom>
          <a:noFill/>
          <a:ln>
            <a:solidFill>
              <a:schemeClr val="bg1"/>
            </a:solidFill>
          </a:ln>
        </p:spPr>
        <p:txBody>
          <a:bodyPr wrap="square" lIns="611957" tIns="467967"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761297" y="1115416"/>
            <a:ext cx="3185488" cy="881780"/>
          </a:xfrm>
          <a:prstGeom prst="rect">
            <a:avLst/>
          </a:prstGeom>
          <a:noFill/>
        </p:spPr>
        <p:txBody>
          <a:bodyPr wrap="none" rtlCol="0">
            <a:spAutoFit/>
          </a:bodyPr>
          <a:lstStyle/>
          <a:p>
            <a:pPr algn="ctr" fontAlgn="auto">
              <a:lnSpc>
                <a:spcPct val="95000"/>
              </a:lnSpc>
              <a:spcBef>
                <a:spcPts val="0"/>
              </a:spcBef>
              <a:spcAft>
                <a:spcPts val="0"/>
              </a:spcAft>
            </a:pPr>
            <a:r>
              <a:rPr lang="en-US" sz="5400" b="1" cap="all" baseline="0">
                <a:solidFill>
                  <a:schemeClr val="bg1"/>
                </a:solidFill>
                <a:latin typeface="+mn-lt"/>
                <a:ea typeface="+mn-ea"/>
                <a:cs typeface="+mn-cs"/>
              </a:rPr>
              <a:t>Agenda</a:t>
            </a:r>
          </a:p>
        </p:txBody>
      </p:sp>
      <p:sp>
        <p:nvSpPr>
          <p:cNvPr id="14" name="Slide Number Placeholder 5">
            <a:extLst>
              <a:ext uri="{FF2B5EF4-FFF2-40B4-BE49-F238E27FC236}">
                <a16:creationId xmlns:a16="http://schemas.microsoft.com/office/drawing/2014/main" id="{7DFC5885-AA1E-4878-BA03-E7DF2B8828F7}"/>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5" name="Text Placeholder 13">
            <a:extLst>
              <a:ext uri="{FF2B5EF4-FFF2-40B4-BE49-F238E27FC236}">
                <a16:creationId xmlns:a16="http://schemas.microsoft.com/office/drawing/2014/main" id="{73EF3D28-2267-27F7-A058-598BBE51032B}"/>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959635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6421441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7" name="Slide Number Placeholder 5">
            <a:extLst>
              <a:ext uri="{FF2B5EF4-FFF2-40B4-BE49-F238E27FC236}">
                <a16:creationId xmlns:a16="http://schemas.microsoft.com/office/drawing/2014/main" id="{752FE581-398C-4AB4-9732-F7E093E6440D}"/>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4" name="Text Placeholder 13">
            <a:extLst>
              <a:ext uri="{FF2B5EF4-FFF2-40B4-BE49-F238E27FC236}">
                <a16:creationId xmlns:a16="http://schemas.microsoft.com/office/drawing/2014/main" id="{D20A9B65-9473-27C8-E0DE-EF58ECE822A7}"/>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4186862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874711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438150" y="622800"/>
            <a:ext cx="738184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0" b="1" cap="all" baseline="0">
                <a:solidFill>
                  <a:schemeClr val="bg1"/>
                </a:solidFill>
                <a:latin typeface="+mn-lt"/>
                <a:ea typeface="+mn-ea"/>
                <a:cs typeface="+mn-cs"/>
              </a:rPr>
              <a:t>Agenda</a:t>
            </a:r>
          </a:p>
        </p:txBody>
      </p:sp>
      <p:cxnSp>
        <p:nvCxnSpPr>
          <p:cNvPr id="13" name="Straight Connector 12"/>
          <p:cNvCxnSpPr/>
          <p:nvPr userDrawn="1"/>
        </p:nvCxnSpPr>
        <p:spPr bwMode="white">
          <a:xfrm>
            <a:off x="438150" y="1206000"/>
            <a:ext cx="11757053"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4632B5AE-B56D-4C5B-9955-20D4244C1371}"/>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4" name="Text Placeholder 13">
            <a:extLst>
              <a:ext uri="{FF2B5EF4-FFF2-40B4-BE49-F238E27FC236}">
                <a16:creationId xmlns:a16="http://schemas.microsoft.com/office/drawing/2014/main" id="{D5D7ECA7-530B-F72F-9C6F-792D6017F6FC}"/>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1226872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521910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9" y="0"/>
            <a:ext cx="416951" cy="6858000"/>
          </a:xfrm>
          <a:prstGeom prst="rect">
            <a:avLst/>
          </a:prstGeom>
        </p:spPr>
      </p:pic>
      <p:sp>
        <p:nvSpPr>
          <p:cNvPr id="13" name="Rectangle 12"/>
          <p:cNvSpPr/>
          <p:nvPr userDrawn="1"/>
        </p:nvSpPr>
        <p:spPr bwMode="white">
          <a:xfrm>
            <a:off x="4080764" y="-1308"/>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7" name="TextBox 16"/>
          <p:cNvSpPr txBox="1"/>
          <p:nvPr userDrawn="1"/>
        </p:nvSpPr>
        <p:spPr>
          <a:xfrm>
            <a:off x="438149" y="3290502"/>
            <a:ext cx="1898651" cy="276999"/>
          </a:xfrm>
          <a:prstGeom prst="rect">
            <a:avLst/>
          </a:prstGeom>
          <a:noFill/>
        </p:spPr>
        <p:txBody>
          <a:bodyPr wrap="square" lIns="0" tIns="0" rIns="0" bIns="0" rtlCol="0" anchor="t">
            <a:spAutoFit/>
          </a:bodyPr>
          <a:lstStyle/>
          <a:p>
            <a:pPr>
              <a:lnSpc>
                <a:spcPct val="90000"/>
              </a:lnSpc>
              <a:spcAft>
                <a:spcPts val="600"/>
              </a:spcAft>
            </a:pPr>
            <a:r>
              <a:rPr lang="en-US" sz="2000" b="1" cap="all" baseline="0">
                <a:solidFill>
                  <a:schemeClr val="bg1"/>
                </a:solidFill>
                <a:latin typeface="+mn-lt"/>
                <a:ea typeface="+mn-ea"/>
                <a:cs typeface="+mn-cs"/>
              </a:rPr>
              <a:t>Agenda</a:t>
            </a:r>
          </a:p>
        </p:txBody>
      </p:sp>
      <p:sp>
        <p:nvSpPr>
          <p:cNvPr id="12" name="Slide Number Placeholder 5">
            <a:extLst>
              <a:ext uri="{FF2B5EF4-FFF2-40B4-BE49-F238E27FC236}">
                <a16:creationId xmlns:a16="http://schemas.microsoft.com/office/drawing/2014/main" id="{E1C322F8-FAA3-494E-A362-DD09F9E1DE6D}"/>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4" name="Text Placeholder 13">
            <a:extLst>
              <a:ext uri="{FF2B5EF4-FFF2-40B4-BE49-F238E27FC236}">
                <a16:creationId xmlns:a16="http://schemas.microsoft.com/office/drawing/2014/main" id="{DEBFF0C1-0789-A83E-7621-9756ECE15E8F}"/>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1984359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7390768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67" tIns="179988" rIns="182867" bIns="182867"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chemeClr val="tx2"/>
            </a:solidFill>
          </a:ln>
        </p:spPr>
        <p:txBody>
          <a:bodyPr wrap="square" lIns="611957" tIns="467967"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761297" y="1115416"/>
            <a:ext cx="3185488"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400" b="1" cap="all" baseline="0">
                <a:solidFill>
                  <a:schemeClr val="tx2"/>
                </a:solidFill>
                <a:latin typeface="+mn-lt"/>
                <a:ea typeface="+mn-ea"/>
                <a:cs typeface="+mn-cs"/>
              </a:rPr>
              <a:t>Agenda</a:t>
            </a:r>
          </a:p>
        </p:txBody>
      </p:sp>
      <p:sp>
        <p:nvSpPr>
          <p:cNvPr id="4" name="Text Placeholder 13">
            <a:extLst>
              <a:ext uri="{FF2B5EF4-FFF2-40B4-BE49-F238E27FC236}">
                <a16:creationId xmlns:a16="http://schemas.microsoft.com/office/drawing/2014/main" id="{20983226-92E1-BF6B-5F3C-FB7B0F1D71AB}"/>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3286290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7134826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4" name="Text Placeholder 13">
            <a:extLst>
              <a:ext uri="{FF2B5EF4-FFF2-40B4-BE49-F238E27FC236}">
                <a16:creationId xmlns:a16="http://schemas.microsoft.com/office/drawing/2014/main" id="{1872FF2A-DF0E-CBF2-E494-6BED799AC3E2}"/>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1115173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3149657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7" name="Title 1"/>
          <p:cNvSpPr txBox="1">
            <a:spLocks/>
          </p:cNvSpPr>
          <p:nvPr userDrawn="1"/>
        </p:nvSpPr>
        <p:spPr>
          <a:xfrm>
            <a:off x="438150" y="622800"/>
            <a:ext cx="738184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0" b="1">
                <a:solidFill>
                  <a:schemeClr val="tx2"/>
                </a:solidFill>
                <a:latin typeface="+mn-lt"/>
                <a:ea typeface="+mn-ea"/>
                <a:cs typeface="+mn-cs"/>
              </a:rPr>
              <a:t>Agenda</a:t>
            </a:r>
          </a:p>
        </p:txBody>
      </p:sp>
      <p:cxnSp>
        <p:nvCxnSpPr>
          <p:cNvPr id="9" name="Straight Connector 8"/>
          <p:cNvCxnSpPr/>
          <p:nvPr userDrawn="1"/>
        </p:nvCxnSpPr>
        <p:spPr bwMode="white">
          <a:xfrm>
            <a:off x="438150" y="1206000"/>
            <a:ext cx="11757053"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13">
            <a:extLst>
              <a:ext uri="{FF2B5EF4-FFF2-40B4-BE49-F238E27FC236}">
                <a16:creationId xmlns:a16="http://schemas.microsoft.com/office/drawing/2014/main" id="{DC5BCE33-FD3A-F990-3478-52D2F3D5E397}"/>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1439750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038491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9" y="0"/>
            <a:ext cx="416951" cy="6858000"/>
          </a:xfrm>
          <a:prstGeom prst="rect">
            <a:avLst/>
          </a:prstGeom>
        </p:spPr>
      </p:pic>
      <p:sp>
        <p:nvSpPr>
          <p:cNvPr id="26" name="Rectangle 25"/>
          <p:cNvSpPr/>
          <p:nvPr userDrawn="1"/>
        </p:nvSpPr>
        <p:spPr bwMode="ltGray">
          <a:xfrm>
            <a:off x="4080764" y="-1308"/>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8" name="TextBox 7">
            <a:extLst>
              <a:ext uri="{FF2B5EF4-FFF2-40B4-BE49-F238E27FC236}">
                <a16:creationId xmlns:a16="http://schemas.microsoft.com/office/drawing/2014/main" id="{3D4617A7-1E42-4E49-AB94-9413ECD7A915}"/>
              </a:ext>
            </a:extLst>
          </p:cNvPr>
          <p:cNvSpPr txBox="1"/>
          <p:nvPr userDrawn="1"/>
        </p:nvSpPr>
        <p:spPr>
          <a:xfrm>
            <a:off x="438149" y="3290501"/>
            <a:ext cx="1898651" cy="332399"/>
          </a:xfrm>
          <a:prstGeom prst="rect">
            <a:avLst/>
          </a:prstGeom>
          <a:noFill/>
        </p:spPr>
        <p:txBody>
          <a:bodyPr wrap="square" lIns="0" tIns="0" rIns="0" bIns="0" rtlCol="0" anchor="t">
            <a:spAutoFit/>
          </a:bodyPr>
          <a:lstStyle/>
          <a:p>
            <a:pPr>
              <a:lnSpc>
                <a:spcPct val="90000"/>
              </a:lnSpc>
              <a:spcAft>
                <a:spcPts val="600"/>
              </a:spcAft>
            </a:pPr>
            <a:r>
              <a:rPr lang="en-US" sz="2400" b="1" cap="all" baseline="0">
                <a:solidFill>
                  <a:schemeClr val="bg1"/>
                </a:solidFill>
                <a:latin typeface="+mn-lt"/>
                <a:ea typeface="+mn-ea"/>
                <a:cs typeface="+mn-cs"/>
              </a:rPr>
              <a:t>Agenda</a:t>
            </a:r>
          </a:p>
        </p:txBody>
      </p:sp>
      <p:sp>
        <p:nvSpPr>
          <p:cNvPr id="10" name="Slide Number Placeholder 5">
            <a:extLst>
              <a:ext uri="{FF2B5EF4-FFF2-40B4-BE49-F238E27FC236}">
                <a16:creationId xmlns:a16="http://schemas.microsoft.com/office/drawing/2014/main" id="{A1F2748C-9ADB-4C03-B5B2-3136AEC81A1B}"/>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4" name="Text Placeholder 13">
            <a:extLst>
              <a:ext uri="{FF2B5EF4-FFF2-40B4-BE49-F238E27FC236}">
                <a16:creationId xmlns:a16="http://schemas.microsoft.com/office/drawing/2014/main" id="{AEB28A9F-C739-00A9-3863-925228DB8B41}"/>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256631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F4675"/>
            </a:gs>
            <a:gs pos="100000">
              <a:srgbClr val="1837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64371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4"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4FE78502-E9A2-45BB-A4B8-4EDD030D0A2F}"/>
              </a:ext>
            </a:extLst>
          </p:cNvPr>
          <p:cNvSpPr txBox="1"/>
          <p:nvPr userDrawn="1"/>
        </p:nvSpPr>
        <p:spPr>
          <a:xfrm>
            <a:off x="438150" y="2609192"/>
            <a:ext cx="2990851" cy="1699248"/>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Trebuchet MS" panose="020B0603020202020204" pitchFamily="34" charset="0"/>
              </a:rPr>
              <a:t>Table of contents</a:t>
            </a:r>
          </a:p>
        </p:txBody>
      </p:sp>
      <p:sp>
        <p:nvSpPr>
          <p:cNvPr id="14" name="Slide Number Placeholder 5">
            <a:extLst>
              <a:ext uri="{FF2B5EF4-FFF2-40B4-BE49-F238E27FC236}">
                <a16:creationId xmlns:a16="http://schemas.microsoft.com/office/drawing/2014/main" id="{20F05612-F2FA-4FB2-BFCE-AA569D74048B}"/>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solidFill>
                  <a:schemeClr val="bg1"/>
                </a:solidFill>
              </a:rPr>
              <a:pPr marL="0" lvl="0" indent="0">
                <a:buSzPts val="1000"/>
              </a:pPr>
              <a:t>‹#›</a:t>
            </a:fld>
            <a:endParaRPr kumimoji="0" lang="en-US" sz="1000" u="none" strike="noStrike" cap="none" spc="0">
              <a:solidFill>
                <a:schemeClr val="bg1"/>
              </a:solidFill>
            </a:endParaRPr>
          </a:p>
        </p:txBody>
      </p:sp>
      <p:sp>
        <p:nvSpPr>
          <p:cNvPr id="4" name="Text Placeholder 13">
            <a:extLst>
              <a:ext uri="{FF2B5EF4-FFF2-40B4-BE49-F238E27FC236}">
                <a16:creationId xmlns:a16="http://schemas.microsoft.com/office/drawing/2014/main" id="{FFF73DAD-B91E-EA53-202D-95F218A2B161}"/>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237250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05143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ssion Agenda opt 1">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20412015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40" name="Picture 39">
            <a:extLst>
              <a:ext uri="{FF2B5EF4-FFF2-40B4-BE49-F238E27FC236}">
                <a16:creationId xmlns:a16="http://schemas.microsoft.com/office/drawing/2014/main" id="{5719AF05-B256-B526-3E82-6A221CB4B6A6}"/>
              </a:ext>
            </a:extLst>
          </p:cNvPr>
          <p:cNvPicPr>
            <a:picLocks noChangeAspect="1"/>
          </p:cNvPicPr>
          <p:nvPr userDrawn="1"/>
        </p:nvPicPr>
        <p:blipFill>
          <a:blip r:embed="rId5"/>
          <a:stretch>
            <a:fillRect/>
          </a:stretch>
        </p:blipFill>
        <p:spPr>
          <a:xfrm>
            <a:off x="1" y="1"/>
            <a:ext cx="4133851" cy="6858001"/>
          </a:xfrm>
          <a:prstGeom prst="rect">
            <a:avLst/>
          </a:prstGeom>
        </p:spPr>
      </p:pic>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bg1"/>
                </a:solidFill>
              </a:defRPr>
            </a:lvl1pPr>
          </a:lstStyle>
          <a:p>
            <a:r>
              <a:rPr lang="en-GB"/>
              <a:t>Click to edit Master title style</a:t>
            </a:r>
            <a:endParaRPr lang="en-US"/>
          </a:p>
        </p:txBody>
      </p:sp>
      <p:pic>
        <p:nvPicPr>
          <p:cNvPr id="44" name="Picture 43">
            <a:extLst>
              <a:ext uri="{FF2B5EF4-FFF2-40B4-BE49-F238E27FC236}">
                <a16:creationId xmlns:a16="http://schemas.microsoft.com/office/drawing/2014/main" id="{BA65D875-56F2-443E-ACA8-013B181B0DC8}"/>
              </a:ext>
            </a:extLst>
          </p:cNvPr>
          <p:cNvPicPr>
            <a:picLocks noChangeAspect="1"/>
          </p:cNvPicPr>
          <p:nvPr userDrawn="1"/>
        </p:nvPicPr>
        <p:blipFill>
          <a:blip r:embed="rId6">
            <a:alphaModFix/>
          </a:blip>
          <a:stretch>
            <a:fillRect/>
          </a:stretch>
        </p:blipFill>
        <p:spPr>
          <a:xfrm>
            <a:off x="9634558" y="239295"/>
            <a:ext cx="2100243" cy="590578"/>
          </a:xfrm>
          <a:prstGeom prst="rect">
            <a:avLst/>
          </a:prstGeom>
        </p:spPr>
      </p:pic>
      <p:sp>
        <p:nvSpPr>
          <p:cNvPr id="4" name="Text Placeholder 13">
            <a:extLst>
              <a:ext uri="{FF2B5EF4-FFF2-40B4-BE49-F238E27FC236}">
                <a16:creationId xmlns:a16="http://schemas.microsoft.com/office/drawing/2014/main" id="{6AB7A6DF-940C-AFF0-8494-24F1F0FDBA91}"/>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97503217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Session Agenda opt 1">
    <p:bg>
      <p:bgPr>
        <a:solidFill>
          <a:srgbClr val="20635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20412015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40" name="Picture 39">
            <a:extLst>
              <a:ext uri="{FF2B5EF4-FFF2-40B4-BE49-F238E27FC236}">
                <a16:creationId xmlns:a16="http://schemas.microsoft.com/office/drawing/2014/main" id="{5719AF05-B256-B526-3E82-6A221CB4B6A6}"/>
              </a:ext>
            </a:extLst>
          </p:cNvPr>
          <p:cNvPicPr>
            <a:picLocks noChangeAspect="1"/>
          </p:cNvPicPr>
          <p:nvPr userDrawn="1"/>
        </p:nvPicPr>
        <p:blipFill>
          <a:blip r:embed="rId5"/>
          <a:stretch>
            <a:fillRect/>
          </a:stretch>
        </p:blipFill>
        <p:spPr>
          <a:xfrm>
            <a:off x="1" y="1"/>
            <a:ext cx="4133851" cy="6858001"/>
          </a:xfrm>
          <a:prstGeom prst="rect">
            <a:avLst/>
          </a:prstGeom>
        </p:spPr>
      </p:pic>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bg1"/>
                </a:solidFill>
              </a:defRPr>
            </a:lvl1pPr>
          </a:lstStyle>
          <a:p>
            <a:r>
              <a:rPr lang="en-GB"/>
              <a:t>Click to edit Master title style</a:t>
            </a:r>
            <a:endParaRPr lang="en-US"/>
          </a:p>
        </p:txBody>
      </p:sp>
      <p:pic>
        <p:nvPicPr>
          <p:cNvPr id="44" name="Picture 43">
            <a:extLst>
              <a:ext uri="{FF2B5EF4-FFF2-40B4-BE49-F238E27FC236}">
                <a16:creationId xmlns:a16="http://schemas.microsoft.com/office/drawing/2014/main" id="{BA65D875-56F2-443E-ACA8-013B181B0DC8}"/>
              </a:ext>
            </a:extLst>
          </p:cNvPr>
          <p:cNvPicPr>
            <a:picLocks noChangeAspect="1"/>
          </p:cNvPicPr>
          <p:nvPr userDrawn="1"/>
        </p:nvPicPr>
        <p:blipFill>
          <a:blip r:embed="rId6">
            <a:alphaModFix/>
          </a:blip>
          <a:stretch>
            <a:fillRect/>
          </a:stretch>
        </p:blipFill>
        <p:spPr>
          <a:xfrm>
            <a:off x="9634558" y="239295"/>
            <a:ext cx="2100243" cy="590578"/>
          </a:xfrm>
          <a:prstGeom prst="rect">
            <a:avLst/>
          </a:prstGeom>
        </p:spPr>
      </p:pic>
      <p:sp>
        <p:nvSpPr>
          <p:cNvPr id="4" name="Text Placeholder 13">
            <a:extLst>
              <a:ext uri="{FF2B5EF4-FFF2-40B4-BE49-F238E27FC236}">
                <a16:creationId xmlns:a16="http://schemas.microsoft.com/office/drawing/2014/main" id="{236D6D5C-8BDA-4274-0392-967AB4DAF960}"/>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158333364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Session Agenda opt 1">
    <p:bg>
      <p:bgPr>
        <a:solidFill>
          <a:schemeClr val="accent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20412015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40" name="Picture 39">
            <a:extLst>
              <a:ext uri="{FF2B5EF4-FFF2-40B4-BE49-F238E27FC236}">
                <a16:creationId xmlns:a16="http://schemas.microsoft.com/office/drawing/2014/main" id="{5719AF05-B256-B526-3E82-6A221CB4B6A6}"/>
              </a:ext>
            </a:extLst>
          </p:cNvPr>
          <p:cNvPicPr>
            <a:picLocks noChangeAspect="1"/>
          </p:cNvPicPr>
          <p:nvPr userDrawn="1"/>
        </p:nvPicPr>
        <p:blipFill>
          <a:blip r:embed="rId5"/>
          <a:stretch>
            <a:fillRect/>
          </a:stretch>
        </p:blipFill>
        <p:spPr>
          <a:xfrm>
            <a:off x="1" y="1"/>
            <a:ext cx="4133851" cy="6858001"/>
          </a:xfrm>
          <a:prstGeom prst="rect">
            <a:avLst/>
          </a:prstGeom>
        </p:spPr>
      </p:pic>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bg1"/>
                </a:solidFill>
              </a:defRPr>
            </a:lvl1pPr>
          </a:lstStyle>
          <a:p>
            <a:r>
              <a:rPr lang="en-GB"/>
              <a:t>Click to edit Master title style</a:t>
            </a:r>
            <a:endParaRPr lang="en-US"/>
          </a:p>
        </p:txBody>
      </p:sp>
      <p:pic>
        <p:nvPicPr>
          <p:cNvPr id="44" name="Picture 43">
            <a:extLst>
              <a:ext uri="{FF2B5EF4-FFF2-40B4-BE49-F238E27FC236}">
                <a16:creationId xmlns:a16="http://schemas.microsoft.com/office/drawing/2014/main" id="{BA65D875-56F2-443E-ACA8-013B181B0DC8}"/>
              </a:ext>
            </a:extLst>
          </p:cNvPr>
          <p:cNvPicPr>
            <a:picLocks noChangeAspect="1"/>
          </p:cNvPicPr>
          <p:nvPr userDrawn="1"/>
        </p:nvPicPr>
        <p:blipFill>
          <a:blip r:embed="rId6">
            <a:alphaModFix/>
          </a:blip>
          <a:stretch>
            <a:fillRect/>
          </a:stretch>
        </p:blipFill>
        <p:spPr>
          <a:xfrm>
            <a:off x="9634558" y="239295"/>
            <a:ext cx="2100243" cy="590578"/>
          </a:xfrm>
          <a:prstGeom prst="rect">
            <a:avLst/>
          </a:prstGeom>
        </p:spPr>
      </p:pic>
      <p:sp>
        <p:nvSpPr>
          <p:cNvPr id="5" name="Text Placeholder 13">
            <a:extLst>
              <a:ext uri="{FF2B5EF4-FFF2-40B4-BE49-F238E27FC236}">
                <a16:creationId xmlns:a16="http://schemas.microsoft.com/office/drawing/2014/main" id="{57725049-CD5A-6883-D38A-32C596128BB1}"/>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80789916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Session Agenda opt 1">
    <p:bg>
      <p:bgPr>
        <a:solidFill>
          <a:srgbClr val="4B3069"/>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20412015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pic>
        <p:nvPicPr>
          <p:cNvPr id="40" name="Picture 39">
            <a:extLst>
              <a:ext uri="{FF2B5EF4-FFF2-40B4-BE49-F238E27FC236}">
                <a16:creationId xmlns:a16="http://schemas.microsoft.com/office/drawing/2014/main" id="{5719AF05-B256-B526-3E82-6A221CB4B6A6}"/>
              </a:ext>
            </a:extLst>
          </p:cNvPr>
          <p:cNvPicPr>
            <a:picLocks noChangeAspect="1"/>
          </p:cNvPicPr>
          <p:nvPr userDrawn="1"/>
        </p:nvPicPr>
        <p:blipFill>
          <a:blip r:embed="rId5"/>
          <a:stretch>
            <a:fillRect/>
          </a:stretch>
        </p:blipFill>
        <p:spPr>
          <a:xfrm>
            <a:off x="1" y="1"/>
            <a:ext cx="4133851" cy="6858001"/>
          </a:xfrm>
          <a:prstGeom prst="rect">
            <a:avLst/>
          </a:prstGeom>
        </p:spPr>
      </p:pic>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bg1"/>
                </a:solidFill>
              </a:defRPr>
            </a:lvl1pPr>
          </a:lstStyle>
          <a:p>
            <a:r>
              <a:rPr lang="en-GB"/>
              <a:t>Click to edit Master title style</a:t>
            </a:r>
            <a:endParaRPr lang="en-US"/>
          </a:p>
        </p:txBody>
      </p:sp>
      <p:pic>
        <p:nvPicPr>
          <p:cNvPr id="44" name="Picture 43">
            <a:extLst>
              <a:ext uri="{FF2B5EF4-FFF2-40B4-BE49-F238E27FC236}">
                <a16:creationId xmlns:a16="http://schemas.microsoft.com/office/drawing/2014/main" id="{BA65D875-56F2-443E-ACA8-013B181B0DC8}"/>
              </a:ext>
            </a:extLst>
          </p:cNvPr>
          <p:cNvPicPr>
            <a:picLocks noChangeAspect="1"/>
          </p:cNvPicPr>
          <p:nvPr userDrawn="1"/>
        </p:nvPicPr>
        <p:blipFill>
          <a:blip r:embed="rId6">
            <a:alphaModFix/>
          </a:blip>
          <a:stretch>
            <a:fillRect/>
          </a:stretch>
        </p:blipFill>
        <p:spPr>
          <a:xfrm>
            <a:off x="9634558" y="239295"/>
            <a:ext cx="2100243" cy="590578"/>
          </a:xfrm>
          <a:prstGeom prst="rect">
            <a:avLst/>
          </a:prstGeom>
        </p:spPr>
      </p:pic>
      <p:sp>
        <p:nvSpPr>
          <p:cNvPr id="5" name="Text Placeholder 13">
            <a:extLst>
              <a:ext uri="{FF2B5EF4-FFF2-40B4-BE49-F238E27FC236}">
                <a16:creationId xmlns:a16="http://schemas.microsoft.com/office/drawing/2014/main" id="{E1810D7D-118C-BD54-AF85-9EDF9C5A2656}"/>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95337643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4_Session Agenda opt 1">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20412015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bg1"/>
                </a:solidFill>
              </a:defRPr>
            </a:lvl1pPr>
          </a:lstStyle>
          <a:p>
            <a:r>
              <a:rPr lang="en-GB"/>
              <a:t>Click to edit Master title style</a:t>
            </a:r>
            <a:endParaRPr lang="en-US"/>
          </a:p>
        </p:txBody>
      </p:sp>
      <p:pic>
        <p:nvPicPr>
          <p:cNvPr id="44" name="Picture 43">
            <a:extLst>
              <a:ext uri="{FF2B5EF4-FFF2-40B4-BE49-F238E27FC236}">
                <a16:creationId xmlns:a16="http://schemas.microsoft.com/office/drawing/2014/main" id="{BA65D875-56F2-443E-ACA8-013B181B0DC8}"/>
              </a:ext>
            </a:extLst>
          </p:cNvPr>
          <p:cNvPicPr>
            <a:picLocks noChangeAspect="1"/>
          </p:cNvPicPr>
          <p:nvPr userDrawn="1"/>
        </p:nvPicPr>
        <p:blipFill>
          <a:blip r:embed="rId5">
            <a:alphaModFix/>
          </a:blip>
          <a:stretch>
            <a:fillRect/>
          </a:stretch>
        </p:blipFill>
        <p:spPr>
          <a:xfrm>
            <a:off x="9634558" y="239295"/>
            <a:ext cx="2100243" cy="590578"/>
          </a:xfrm>
          <a:prstGeom prst="rect">
            <a:avLst/>
          </a:prstGeom>
        </p:spPr>
      </p:pic>
      <p:pic>
        <p:nvPicPr>
          <p:cNvPr id="2" name="Picture 1">
            <a:extLst>
              <a:ext uri="{FF2B5EF4-FFF2-40B4-BE49-F238E27FC236}">
                <a16:creationId xmlns:a16="http://schemas.microsoft.com/office/drawing/2014/main" id="{CCAE32E4-8647-1713-AAFF-7BA019CFB3E7}"/>
              </a:ext>
            </a:extLst>
          </p:cNvPr>
          <p:cNvPicPr>
            <a:picLocks noChangeAspect="1"/>
          </p:cNvPicPr>
          <p:nvPr userDrawn="1"/>
        </p:nvPicPr>
        <p:blipFill>
          <a:blip r:embed="rId6"/>
          <a:stretch>
            <a:fillRect/>
          </a:stretch>
        </p:blipFill>
        <p:spPr>
          <a:xfrm>
            <a:off x="1203338" y="3426216"/>
            <a:ext cx="9786460" cy="3433846"/>
          </a:xfrm>
          <a:prstGeom prst="rect">
            <a:avLst/>
          </a:prstGeom>
        </p:spPr>
      </p:pic>
      <p:sp>
        <p:nvSpPr>
          <p:cNvPr id="6" name="Text Placeholder 13">
            <a:extLst>
              <a:ext uri="{FF2B5EF4-FFF2-40B4-BE49-F238E27FC236}">
                <a16:creationId xmlns:a16="http://schemas.microsoft.com/office/drawing/2014/main" id="{86C0AEAF-4E35-ACCE-EAD4-9E4E44FF598B}"/>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102339990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5_Session Agenda opt 1">
    <p:bg>
      <p:bgPr>
        <a:solidFill>
          <a:srgbClr val="20635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20412015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bg1"/>
                </a:solidFill>
              </a:defRPr>
            </a:lvl1pPr>
          </a:lstStyle>
          <a:p>
            <a:r>
              <a:rPr lang="en-GB"/>
              <a:t>Click to edit Master title style</a:t>
            </a:r>
            <a:endParaRPr lang="en-US"/>
          </a:p>
        </p:txBody>
      </p:sp>
      <p:pic>
        <p:nvPicPr>
          <p:cNvPr id="44" name="Picture 43">
            <a:extLst>
              <a:ext uri="{FF2B5EF4-FFF2-40B4-BE49-F238E27FC236}">
                <a16:creationId xmlns:a16="http://schemas.microsoft.com/office/drawing/2014/main" id="{BA65D875-56F2-443E-ACA8-013B181B0DC8}"/>
              </a:ext>
            </a:extLst>
          </p:cNvPr>
          <p:cNvPicPr>
            <a:picLocks noChangeAspect="1"/>
          </p:cNvPicPr>
          <p:nvPr userDrawn="1"/>
        </p:nvPicPr>
        <p:blipFill>
          <a:blip r:embed="rId5">
            <a:alphaModFix/>
          </a:blip>
          <a:stretch>
            <a:fillRect/>
          </a:stretch>
        </p:blipFill>
        <p:spPr>
          <a:xfrm>
            <a:off x="9634558" y="239295"/>
            <a:ext cx="2100243" cy="590578"/>
          </a:xfrm>
          <a:prstGeom prst="rect">
            <a:avLst/>
          </a:prstGeom>
        </p:spPr>
      </p:pic>
      <p:pic>
        <p:nvPicPr>
          <p:cNvPr id="2" name="Picture 1">
            <a:extLst>
              <a:ext uri="{FF2B5EF4-FFF2-40B4-BE49-F238E27FC236}">
                <a16:creationId xmlns:a16="http://schemas.microsoft.com/office/drawing/2014/main" id="{CCAE32E4-8647-1713-AAFF-7BA019CFB3E7}"/>
              </a:ext>
            </a:extLst>
          </p:cNvPr>
          <p:cNvPicPr>
            <a:picLocks noChangeAspect="1"/>
          </p:cNvPicPr>
          <p:nvPr userDrawn="1"/>
        </p:nvPicPr>
        <p:blipFill>
          <a:blip r:embed="rId6"/>
          <a:stretch>
            <a:fillRect/>
          </a:stretch>
        </p:blipFill>
        <p:spPr>
          <a:xfrm>
            <a:off x="1203338" y="3426216"/>
            <a:ext cx="9786460" cy="3433846"/>
          </a:xfrm>
          <a:prstGeom prst="rect">
            <a:avLst/>
          </a:prstGeom>
        </p:spPr>
      </p:pic>
      <p:sp>
        <p:nvSpPr>
          <p:cNvPr id="6" name="Text Placeholder 13">
            <a:extLst>
              <a:ext uri="{FF2B5EF4-FFF2-40B4-BE49-F238E27FC236}">
                <a16:creationId xmlns:a16="http://schemas.microsoft.com/office/drawing/2014/main" id="{66AF17B3-54E9-0E26-CAF9-BA01D74EF145}"/>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01717403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6_Session Agenda opt 1">
    <p:bg>
      <p:bgPr>
        <a:solidFill>
          <a:schemeClr val="accent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20412015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bg1"/>
                </a:solidFill>
              </a:defRPr>
            </a:lvl1pPr>
          </a:lstStyle>
          <a:p>
            <a:r>
              <a:rPr lang="en-GB"/>
              <a:t>Click to edit Master title style</a:t>
            </a:r>
            <a:endParaRPr lang="en-US"/>
          </a:p>
        </p:txBody>
      </p:sp>
      <p:pic>
        <p:nvPicPr>
          <p:cNvPr id="44" name="Picture 43">
            <a:extLst>
              <a:ext uri="{FF2B5EF4-FFF2-40B4-BE49-F238E27FC236}">
                <a16:creationId xmlns:a16="http://schemas.microsoft.com/office/drawing/2014/main" id="{BA65D875-56F2-443E-ACA8-013B181B0DC8}"/>
              </a:ext>
            </a:extLst>
          </p:cNvPr>
          <p:cNvPicPr>
            <a:picLocks noChangeAspect="1"/>
          </p:cNvPicPr>
          <p:nvPr userDrawn="1"/>
        </p:nvPicPr>
        <p:blipFill>
          <a:blip r:embed="rId5">
            <a:alphaModFix/>
          </a:blip>
          <a:stretch>
            <a:fillRect/>
          </a:stretch>
        </p:blipFill>
        <p:spPr>
          <a:xfrm>
            <a:off x="9634558" y="239295"/>
            <a:ext cx="2100243" cy="590578"/>
          </a:xfrm>
          <a:prstGeom prst="rect">
            <a:avLst/>
          </a:prstGeom>
        </p:spPr>
      </p:pic>
      <p:pic>
        <p:nvPicPr>
          <p:cNvPr id="2" name="Picture 1">
            <a:extLst>
              <a:ext uri="{FF2B5EF4-FFF2-40B4-BE49-F238E27FC236}">
                <a16:creationId xmlns:a16="http://schemas.microsoft.com/office/drawing/2014/main" id="{CCAE32E4-8647-1713-AAFF-7BA019CFB3E7}"/>
              </a:ext>
            </a:extLst>
          </p:cNvPr>
          <p:cNvPicPr>
            <a:picLocks noChangeAspect="1"/>
          </p:cNvPicPr>
          <p:nvPr userDrawn="1"/>
        </p:nvPicPr>
        <p:blipFill>
          <a:blip r:embed="rId6"/>
          <a:stretch>
            <a:fillRect/>
          </a:stretch>
        </p:blipFill>
        <p:spPr>
          <a:xfrm>
            <a:off x="1203338" y="3426216"/>
            <a:ext cx="9786460" cy="3433846"/>
          </a:xfrm>
          <a:prstGeom prst="rect">
            <a:avLst/>
          </a:prstGeom>
        </p:spPr>
      </p:pic>
      <p:sp>
        <p:nvSpPr>
          <p:cNvPr id="5" name="Text Placeholder 13">
            <a:extLst>
              <a:ext uri="{FF2B5EF4-FFF2-40B4-BE49-F238E27FC236}">
                <a16:creationId xmlns:a16="http://schemas.microsoft.com/office/drawing/2014/main" id="{0AC9DE9E-6AC9-909B-ECEA-F100016F26A1}"/>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9779718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7_Session Agenda opt 1">
    <p:bg>
      <p:bgPr>
        <a:solidFill>
          <a:srgbClr val="4B3069"/>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20412015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bg1"/>
                </a:solidFill>
              </a:defRPr>
            </a:lvl1pPr>
          </a:lstStyle>
          <a:p>
            <a:r>
              <a:rPr lang="en-GB"/>
              <a:t>Click to edit Master title style</a:t>
            </a:r>
            <a:endParaRPr lang="en-US"/>
          </a:p>
        </p:txBody>
      </p:sp>
      <p:pic>
        <p:nvPicPr>
          <p:cNvPr id="44" name="Picture 43">
            <a:extLst>
              <a:ext uri="{FF2B5EF4-FFF2-40B4-BE49-F238E27FC236}">
                <a16:creationId xmlns:a16="http://schemas.microsoft.com/office/drawing/2014/main" id="{BA65D875-56F2-443E-ACA8-013B181B0DC8}"/>
              </a:ext>
            </a:extLst>
          </p:cNvPr>
          <p:cNvPicPr>
            <a:picLocks noChangeAspect="1"/>
          </p:cNvPicPr>
          <p:nvPr userDrawn="1"/>
        </p:nvPicPr>
        <p:blipFill>
          <a:blip r:embed="rId5">
            <a:alphaModFix/>
          </a:blip>
          <a:stretch>
            <a:fillRect/>
          </a:stretch>
        </p:blipFill>
        <p:spPr>
          <a:xfrm>
            <a:off x="9634558" y="239295"/>
            <a:ext cx="2100243" cy="590578"/>
          </a:xfrm>
          <a:prstGeom prst="rect">
            <a:avLst/>
          </a:prstGeom>
        </p:spPr>
      </p:pic>
      <p:pic>
        <p:nvPicPr>
          <p:cNvPr id="2" name="Picture 1">
            <a:extLst>
              <a:ext uri="{FF2B5EF4-FFF2-40B4-BE49-F238E27FC236}">
                <a16:creationId xmlns:a16="http://schemas.microsoft.com/office/drawing/2014/main" id="{CCAE32E4-8647-1713-AAFF-7BA019CFB3E7}"/>
              </a:ext>
            </a:extLst>
          </p:cNvPr>
          <p:cNvPicPr>
            <a:picLocks noChangeAspect="1"/>
          </p:cNvPicPr>
          <p:nvPr userDrawn="1"/>
        </p:nvPicPr>
        <p:blipFill>
          <a:blip r:embed="rId6"/>
          <a:stretch>
            <a:fillRect/>
          </a:stretch>
        </p:blipFill>
        <p:spPr>
          <a:xfrm>
            <a:off x="1203338" y="3426216"/>
            <a:ext cx="9786460" cy="3433846"/>
          </a:xfrm>
          <a:prstGeom prst="rect">
            <a:avLst/>
          </a:prstGeom>
        </p:spPr>
      </p:pic>
      <p:sp>
        <p:nvSpPr>
          <p:cNvPr id="5" name="Text Placeholder 13">
            <a:extLst>
              <a:ext uri="{FF2B5EF4-FFF2-40B4-BE49-F238E27FC236}">
                <a16:creationId xmlns:a16="http://schemas.microsoft.com/office/drawing/2014/main" id="{631758FB-C7B6-C37D-EB1F-AD19E295BAE5}"/>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51072210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8_Session Agenda opt 1">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345429113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tx2"/>
                </a:solidFill>
              </a:defRPr>
            </a:lvl1pPr>
          </a:lstStyle>
          <a:p>
            <a:r>
              <a:rPr lang="en-GB"/>
              <a:t>Click to edit Master title style</a:t>
            </a:r>
            <a:endParaRPr lang="en-US"/>
          </a:p>
        </p:txBody>
      </p:sp>
      <p:pic>
        <p:nvPicPr>
          <p:cNvPr id="2" name="Picture 1">
            <a:extLst>
              <a:ext uri="{FF2B5EF4-FFF2-40B4-BE49-F238E27FC236}">
                <a16:creationId xmlns:a16="http://schemas.microsoft.com/office/drawing/2014/main" id="{CCAE32E4-8647-1713-AAFF-7BA019CFB3E7}"/>
              </a:ext>
            </a:extLst>
          </p:cNvPr>
          <p:cNvPicPr>
            <a:picLocks noChangeAspect="1"/>
          </p:cNvPicPr>
          <p:nvPr userDrawn="1"/>
        </p:nvPicPr>
        <p:blipFill>
          <a:blip r:embed="rId5"/>
          <a:stretch>
            <a:fillRect/>
          </a:stretch>
        </p:blipFill>
        <p:spPr>
          <a:xfrm>
            <a:off x="1203338" y="3426216"/>
            <a:ext cx="9786460" cy="3433846"/>
          </a:xfrm>
          <a:prstGeom prst="rect">
            <a:avLst/>
          </a:prstGeom>
        </p:spPr>
      </p:pic>
      <p:sp>
        <p:nvSpPr>
          <p:cNvPr id="5" name="Text Placeholder 2">
            <a:extLst>
              <a:ext uri="{FF2B5EF4-FFF2-40B4-BE49-F238E27FC236}">
                <a16:creationId xmlns:a16="http://schemas.microsoft.com/office/drawing/2014/main" id="{C88FA0B7-ED1E-3C41-533F-80EEABD5356E}"/>
              </a:ext>
            </a:extLst>
          </p:cNvPr>
          <p:cNvSpPr>
            <a:spLocks noGrp="1"/>
          </p:cNvSpPr>
          <p:nvPr>
            <p:ph type="body" idx="18" hasCustomPrompt="1"/>
          </p:nvPr>
        </p:nvSpPr>
        <p:spPr>
          <a:xfrm>
            <a:off x="-59349" y="1042936"/>
            <a:ext cx="1932599" cy="1932040"/>
          </a:xfrm>
          <a:blipFill dpi="0" rotWithShape="1">
            <a:blip r:embed="rId6">
              <a:alphaModFix amt="2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6"/>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a:t>
            </a:r>
          </a:p>
        </p:txBody>
      </p:sp>
      <p:pic>
        <p:nvPicPr>
          <p:cNvPr id="6" name="Picture 5">
            <a:extLst>
              <a:ext uri="{FF2B5EF4-FFF2-40B4-BE49-F238E27FC236}">
                <a16:creationId xmlns:a16="http://schemas.microsoft.com/office/drawing/2014/main" id="{4A74CC74-40DA-BAD5-B6BF-ADEF92F0BF87}"/>
              </a:ext>
            </a:extLst>
          </p:cNvPr>
          <p:cNvPicPr>
            <a:picLocks noChangeAspect="1"/>
          </p:cNvPicPr>
          <p:nvPr userDrawn="1"/>
        </p:nvPicPr>
        <p:blipFill>
          <a:blip r:embed="rId7">
            <a:alphaModFix amt="5000"/>
          </a:blip>
          <a:stretch>
            <a:fillRect/>
          </a:stretch>
        </p:blipFill>
        <p:spPr>
          <a:xfrm>
            <a:off x="1667810" y="4422025"/>
            <a:ext cx="8857129" cy="2436534"/>
          </a:xfrm>
          <a:prstGeom prst="rect">
            <a:avLst/>
          </a:prstGeom>
        </p:spPr>
      </p:pic>
      <p:sp>
        <p:nvSpPr>
          <p:cNvPr id="8" name="Text Placeholder 2">
            <a:extLst>
              <a:ext uri="{FF2B5EF4-FFF2-40B4-BE49-F238E27FC236}">
                <a16:creationId xmlns:a16="http://schemas.microsoft.com/office/drawing/2014/main" id="{AEF843E2-9F12-F617-9942-60A48D41D24E}"/>
              </a:ext>
            </a:extLst>
          </p:cNvPr>
          <p:cNvSpPr>
            <a:spLocks noGrp="1"/>
          </p:cNvSpPr>
          <p:nvPr>
            <p:ph type="body" idx="16" hasCustomPrompt="1"/>
          </p:nvPr>
        </p:nvSpPr>
        <p:spPr>
          <a:xfrm>
            <a:off x="1162049"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tx2"/>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9" name="Text Placeholder 2">
            <a:extLst>
              <a:ext uri="{FF2B5EF4-FFF2-40B4-BE49-F238E27FC236}">
                <a16:creationId xmlns:a16="http://schemas.microsoft.com/office/drawing/2014/main" id="{8E88AAC9-E377-12D3-7DA8-15E3037028EB}"/>
              </a:ext>
            </a:extLst>
          </p:cNvPr>
          <p:cNvSpPr>
            <a:spLocks noGrp="1"/>
          </p:cNvSpPr>
          <p:nvPr>
            <p:ph type="body" idx="25" hasCustomPrompt="1"/>
          </p:nvPr>
        </p:nvSpPr>
        <p:spPr>
          <a:xfrm>
            <a:off x="7220323" y="1042936"/>
            <a:ext cx="1932599" cy="1932040"/>
          </a:xfrm>
          <a:blipFill dpi="0" rotWithShape="1">
            <a:blip r:embed="rId6">
              <a:alphaModFix amt="2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6"/>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a:t>
            </a:r>
          </a:p>
        </p:txBody>
      </p:sp>
      <p:sp>
        <p:nvSpPr>
          <p:cNvPr id="10" name="Text Placeholder 2">
            <a:extLst>
              <a:ext uri="{FF2B5EF4-FFF2-40B4-BE49-F238E27FC236}">
                <a16:creationId xmlns:a16="http://schemas.microsoft.com/office/drawing/2014/main" id="{0F5AFE4A-F68E-482D-9466-B57D6506744F}"/>
              </a:ext>
            </a:extLst>
          </p:cNvPr>
          <p:cNvSpPr>
            <a:spLocks noGrp="1"/>
          </p:cNvSpPr>
          <p:nvPr>
            <p:ph type="body" idx="28" hasCustomPrompt="1"/>
          </p:nvPr>
        </p:nvSpPr>
        <p:spPr>
          <a:xfrm>
            <a:off x="1566478" y="3241800"/>
            <a:ext cx="1932599" cy="1932040"/>
          </a:xfrm>
          <a:blipFill dpi="0" rotWithShape="1">
            <a:blip r:embed="rId6">
              <a:alphaModFix amt="2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6"/>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a:t>
            </a:r>
          </a:p>
        </p:txBody>
      </p:sp>
      <p:sp>
        <p:nvSpPr>
          <p:cNvPr id="11" name="Text Placeholder 2">
            <a:extLst>
              <a:ext uri="{FF2B5EF4-FFF2-40B4-BE49-F238E27FC236}">
                <a16:creationId xmlns:a16="http://schemas.microsoft.com/office/drawing/2014/main" id="{D972A27B-5FE9-5123-62C7-9C8C9C1D57F2}"/>
              </a:ext>
            </a:extLst>
          </p:cNvPr>
          <p:cNvSpPr>
            <a:spLocks noGrp="1"/>
          </p:cNvSpPr>
          <p:nvPr>
            <p:ph type="body" idx="30" hasCustomPrompt="1"/>
          </p:nvPr>
        </p:nvSpPr>
        <p:spPr>
          <a:xfrm>
            <a:off x="2787876"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tx2"/>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12" name="Text Placeholder 2">
            <a:extLst>
              <a:ext uri="{FF2B5EF4-FFF2-40B4-BE49-F238E27FC236}">
                <a16:creationId xmlns:a16="http://schemas.microsoft.com/office/drawing/2014/main" id="{5A1BC2BA-E6B4-90A0-C022-78F37C4E6FFD}"/>
              </a:ext>
            </a:extLst>
          </p:cNvPr>
          <p:cNvSpPr>
            <a:spLocks noGrp="1"/>
          </p:cNvSpPr>
          <p:nvPr>
            <p:ph type="body" idx="31" hasCustomPrompt="1"/>
          </p:nvPr>
        </p:nvSpPr>
        <p:spPr>
          <a:xfrm>
            <a:off x="5907989" y="3241800"/>
            <a:ext cx="1932599" cy="1932040"/>
          </a:xfrm>
          <a:blipFill dpi="0" rotWithShape="1">
            <a:blip r:embed="rId6">
              <a:alphaModFix amt="2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6"/>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a:t>
            </a:r>
          </a:p>
        </p:txBody>
      </p:sp>
      <p:sp>
        <p:nvSpPr>
          <p:cNvPr id="13" name="Text Placeholder 2">
            <a:extLst>
              <a:ext uri="{FF2B5EF4-FFF2-40B4-BE49-F238E27FC236}">
                <a16:creationId xmlns:a16="http://schemas.microsoft.com/office/drawing/2014/main" id="{C1FA68B7-2EF4-D236-0A6E-06B23F2F0052}"/>
              </a:ext>
            </a:extLst>
          </p:cNvPr>
          <p:cNvSpPr>
            <a:spLocks noGrp="1"/>
          </p:cNvSpPr>
          <p:nvPr>
            <p:ph type="body" idx="33" hasCustomPrompt="1"/>
          </p:nvPr>
        </p:nvSpPr>
        <p:spPr>
          <a:xfrm>
            <a:off x="7129387"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tx2"/>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14" name="Text Placeholder 2">
            <a:extLst>
              <a:ext uri="{FF2B5EF4-FFF2-40B4-BE49-F238E27FC236}">
                <a16:creationId xmlns:a16="http://schemas.microsoft.com/office/drawing/2014/main" id="{23564644-4A77-F1C0-E507-494EC73074B0}"/>
              </a:ext>
            </a:extLst>
          </p:cNvPr>
          <p:cNvSpPr>
            <a:spLocks noGrp="1"/>
          </p:cNvSpPr>
          <p:nvPr>
            <p:ph type="body" idx="22" hasCustomPrompt="1"/>
          </p:nvPr>
        </p:nvSpPr>
        <p:spPr>
          <a:xfrm>
            <a:off x="3580487" y="1042936"/>
            <a:ext cx="1932599" cy="1932040"/>
          </a:xfrm>
          <a:blipFill dpi="0" rotWithShape="1">
            <a:blip r:embed="rId6">
              <a:alphaModFix amt="20000"/>
            </a:blip>
            <a:srcRect/>
            <a:stretch>
              <a:fillRect/>
            </a:stretch>
          </a:blipFill>
        </p:spPr>
        <p:txBody>
          <a:bodyPr anchor="ctr" anchorCtr="0">
            <a:noAutofit/>
          </a:bodyPr>
          <a:lstStyle>
            <a:lvl1pPr marL="0" indent="0" algn="ctr">
              <a:spcBef>
                <a:spcPts val="0"/>
              </a:spcBef>
              <a:spcAft>
                <a:spcPts val="0"/>
              </a:spcAft>
              <a:buClr>
                <a:schemeClr val="accent3"/>
              </a:buClr>
              <a:buFont typeface="Arial" panose="020B0604020202020204" pitchFamily="34" charset="0"/>
              <a:buNone/>
              <a:defRPr sz="3200" b="1" cap="none" baseline="0">
                <a:solidFill>
                  <a:schemeClr val="accent6"/>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a:t>
            </a:r>
          </a:p>
        </p:txBody>
      </p:sp>
      <p:sp>
        <p:nvSpPr>
          <p:cNvPr id="15" name="Text Placeholder 2">
            <a:extLst>
              <a:ext uri="{FF2B5EF4-FFF2-40B4-BE49-F238E27FC236}">
                <a16:creationId xmlns:a16="http://schemas.microsoft.com/office/drawing/2014/main" id="{D1944BC7-FE29-16AC-E44D-38DCED357A7B}"/>
              </a:ext>
            </a:extLst>
          </p:cNvPr>
          <p:cNvSpPr>
            <a:spLocks noGrp="1"/>
          </p:cNvSpPr>
          <p:nvPr>
            <p:ph type="body" idx="24" hasCustomPrompt="1"/>
          </p:nvPr>
        </p:nvSpPr>
        <p:spPr>
          <a:xfrm>
            <a:off x="4801885"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tx2"/>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pic>
        <p:nvPicPr>
          <p:cNvPr id="18" name="Picture 17">
            <a:extLst>
              <a:ext uri="{FF2B5EF4-FFF2-40B4-BE49-F238E27FC236}">
                <a16:creationId xmlns:a16="http://schemas.microsoft.com/office/drawing/2014/main" id="{2CAC1316-EBC4-11D2-3794-79A3BAAA5540}"/>
              </a:ext>
            </a:extLst>
          </p:cNvPr>
          <p:cNvPicPr>
            <a:picLocks noChangeAspect="1"/>
          </p:cNvPicPr>
          <p:nvPr userDrawn="1"/>
        </p:nvPicPr>
        <p:blipFill>
          <a:blip r:embed="rId8"/>
          <a:stretch>
            <a:fillRect/>
          </a:stretch>
        </p:blipFill>
        <p:spPr>
          <a:xfrm>
            <a:off x="1" y="3460750"/>
            <a:ext cx="1468603" cy="3397250"/>
          </a:xfrm>
          <a:prstGeom prst="rect">
            <a:avLst/>
          </a:prstGeom>
        </p:spPr>
      </p:pic>
      <p:cxnSp>
        <p:nvCxnSpPr>
          <p:cNvPr id="19" name="Straight Connector 18">
            <a:extLst>
              <a:ext uri="{FF2B5EF4-FFF2-40B4-BE49-F238E27FC236}">
                <a16:creationId xmlns:a16="http://schemas.microsoft.com/office/drawing/2014/main" id="{92977183-F7D1-BD6E-BBCD-B38E2B3B2ABB}"/>
              </a:ext>
            </a:extLst>
          </p:cNvPr>
          <p:cNvCxnSpPr>
            <a:cxnSpLocks/>
          </p:cNvCxnSpPr>
          <p:nvPr userDrawn="1"/>
        </p:nvCxnSpPr>
        <p:spPr>
          <a:xfrm>
            <a:off x="438150" y="6323328"/>
            <a:ext cx="1130935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6BF266A5-A39A-AA50-EA72-BAB275D5FAB0}"/>
              </a:ext>
            </a:extLst>
          </p:cNvPr>
          <p:cNvSpPr>
            <a:spLocks noGrp="1"/>
          </p:cNvSpPr>
          <p:nvPr>
            <p:ph type="body" idx="34" hasCustomPrompt="1"/>
          </p:nvPr>
        </p:nvSpPr>
        <p:spPr>
          <a:xfrm>
            <a:off x="8562900"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tx2"/>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pic>
        <p:nvPicPr>
          <p:cNvPr id="21" name="Picture 20">
            <a:extLst>
              <a:ext uri="{FF2B5EF4-FFF2-40B4-BE49-F238E27FC236}">
                <a16:creationId xmlns:a16="http://schemas.microsoft.com/office/drawing/2014/main" id="{FF50322B-BC80-AD1C-A087-4850CEBACB15}"/>
              </a:ext>
            </a:extLst>
          </p:cNvPr>
          <p:cNvPicPr>
            <a:picLocks noChangeAspect="1"/>
          </p:cNvPicPr>
          <p:nvPr userDrawn="1"/>
        </p:nvPicPr>
        <p:blipFill>
          <a:blip r:embed="rId9"/>
          <a:stretch>
            <a:fillRect/>
          </a:stretch>
        </p:blipFill>
        <p:spPr>
          <a:xfrm>
            <a:off x="9634732" y="240428"/>
            <a:ext cx="2100069" cy="590529"/>
          </a:xfrm>
          <a:prstGeom prst="rect">
            <a:avLst/>
          </a:prstGeom>
        </p:spPr>
      </p:pic>
      <p:sp>
        <p:nvSpPr>
          <p:cNvPr id="23" name="Text Placeholder 13">
            <a:extLst>
              <a:ext uri="{FF2B5EF4-FFF2-40B4-BE49-F238E27FC236}">
                <a16:creationId xmlns:a16="http://schemas.microsoft.com/office/drawing/2014/main" id="{1293A530-9227-A6A1-C0E0-0E770459C52D}"/>
              </a:ext>
            </a:extLst>
          </p:cNvPr>
          <p:cNvSpPr>
            <a:spLocks noGrp="1"/>
          </p:cNvSpPr>
          <p:nvPr>
            <p:ph type="body" sz="quarter" idx="10" hasCustomPrompt="1"/>
          </p:nvPr>
        </p:nvSpPr>
        <p:spPr>
          <a:xfrm>
            <a:off x="450850" y="6443762"/>
            <a:ext cx="5645150" cy="153888"/>
          </a:xfrm>
        </p:spPr>
        <p:txBody>
          <a:bodyPr anchor="ctr"/>
          <a:lstStyle>
            <a:lvl1pPr>
              <a:buNone/>
              <a:defRPr sz="1000">
                <a:solidFill>
                  <a:schemeClr val="tx2"/>
                </a:solidFill>
              </a:defRPr>
            </a:lvl1pPr>
          </a:lstStyle>
          <a:p>
            <a:pPr lvl="0"/>
            <a:r>
              <a:rPr lang="en-US"/>
              <a:t>Slide Presentation Name | Date</a:t>
            </a:r>
          </a:p>
        </p:txBody>
      </p:sp>
    </p:spTree>
    <p:extLst>
      <p:ext uri="{BB962C8B-B14F-4D97-AF65-F5344CB8AC3E}">
        <p14:creationId xmlns:p14="http://schemas.microsoft.com/office/powerpoint/2010/main" val="70766640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9_Session Agenda opt 1">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41840348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57201" y="6352539"/>
            <a:ext cx="11277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bg1"/>
                </a:solidFill>
              </a:defRPr>
            </a:lvl1pPr>
          </a:lstStyle>
          <a:p>
            <a:r>
              <a:rPr lang="en-GB"/>
              <a:t>Click to edit Master title style</a:t>
            </a:r>
            <a:endParaRPr lang="en-US"/>
          </a:p>
        </p:txBody>
      </p:sp>
      <p:sp>
        <p:nvSpPr>
          <p:cNvPr id="5" name="Text Placeholder 2">
            <a:extLst>
              <a:ext uri="{FF2B5EF4-FFF2-40B4-BE49-F238E27FC236}">
                <a16:creationId xmlns:a16="http://schemas.microsoft.com/office/drawing/2014/main" id="{C88FA0B7-ED1E-3C41-533F-80EEABD5356E}"/>
              </a:ext>
            </a:extLst>
          </p:cNvPr>
          <p:cNvSpPr>
            <a:spLocks noGrp="1"/>
          </p:cNvSpPr>
          <p:nvPr>
            <p:ph type="body" idx="18" hasCustomPrompt="1"/>
          </p:nvPr>
        </p:nvSpPr>
        <p:spPr>
          <a:xfrm>
            <a:off x="-59349" y="1042936"/>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dirty="0">
                <a:solidFill>
                  <a:schemeClr val="accent3"/>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8" name="Text Placeholder 2">
            <a:extLst>
              <a:ext uri="{FF2B5EF4-FFF2-40B4-BE49-F238E27FC236}">
                <a16:creationId xmlns:a16="http://schemas.microsoft.com/office/drawing/2014/main" id="{AEF843E2-9F12-F617-9942-60A48D41D24E}"/>
              </a:ext>
            </a:extLst>
          </p:cNvPr>
          <p:cNvSpPr>
            <a:spLocks noGrp="1"/>
          </p:cNvSpPr>
          <p:nvPr>
            <p:ph type="body" idx="16" hasCustomPrompt="1"/>
          </p:nvPr>
        </p:nvSpPr>
        <p:spPr>
          <a:xfrm>
            <a:off x="1162049"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9" name="Text Placeholder 2">
            <a:extLst>
              <a:ext uri="{FF2B5EF4-FFF2-40B4-BE49-F238E27FC236}">
                <a16:creationId xmlns:a16="http://schemas.microsoft.com/office/drawing/2014/main" id="{8E88AAC9-E377-12D3-7DA8-15E3037028EB}"/>
              </a:ext>
            </a:extLst>
          </p:cNvPr>
          <p:cNvSpPr>
            <a:spLocks noGrp="1"/>
          </p:cNvSpPr>
          <p:nvPr>
            <p:ph type="body" idx="25" hasCustomPrompt="1"/>
          </p:nvPr>
        </p:nvSpPr>
        <p:spPr>
          <a:xfrm>
            <a:off x="7220323" y="1042936"/>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a:solidFill>
                  <a:schemeClr val="accent3"/>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0" name="Text Placeholder 2">
            <a:extLst>
              <a:ext uri="{FF2B5EF4-FFF2-40B4-BE49-F238E27FC236}">
                <a16:creationId xmlns:a16="http://schemas.microsoft.com/office/drawing/2014/main" id="{0F5AFE4A-F68E-482D-9466-B57D6506744F}"/>
              </a:ext>
            </a:extLst>
          </p:cNvPr>
          <p:cNvSpPr>
            <a:spLocks noGrp="1"/>
          </p:cNvSpPr>
          <p:nvPr>
            <p:ph type="body" idx="28" hasCustomPrompt="1"/>
          </p:nvPr>
        </p:nvSpPr>
        <p:spPr>
          <a:xfrm>
            <a:off x="1566478" y="3241800"/>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dirty="0">
                <a:solidFill>
                  <a:schemeClr val="accent3"/>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1" name="Text Placeholder 2">
            <a:extLst>
              <a:ext uri="{FF2B5EF4-FFF2-40B4-BE49-F238E27FC236}">
                <a16:creationId xmlns:a16="http://schemas.microsoft.com/office/drawing/2014/main" id="{D972A27B-5FE9-5123-62C7-9C8C9C1D57F2}"/>
              </a:ext>
            </a:extLst>
          </p:cNvPr>
          <p:cNvSpPr>
            <a:spLocks noGrp="1"/>
          </p:cNvSpPr>
          <p:nvPr>
            <p:ph type="body" idx="30" hasCustomPrompt="1"/>
          </p:nvPr>
        </p:nvSpPr>
        <p:spPr>
          <a:xfrm>
            <a:off x="2787876"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12" name="Text Placeholder 2">
            <a:extLst>
              <a:ext uri="{FF2B5EF4-FFF2-40B4-BE49-F238E27FC236}">
                <a16:creationId xmlns:a16="http://schemas.microsoft.com/office/drawing/2014/main" id="{5A1BC2BA-E6B4-90A0-C022-78F37C4E6FFD}"/>
              </a:ext>
            </a:extLst>
          </p:cNvPr>
          <p:cNvSpPr>
            <a:spLocks noGrp="1"/>
          </p:cNvSpPr>
          <p:nvPr>
            <p:ph type="body" idx="31" hasCustomPrompt="1"/>
          </p:nvPr>
        </p:nvSpPr>
        <p:spPr>
          <a:xfrm>
            <a:off x="5907989" y="3241800"/>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a:solidFill>
                  <a:schemeClr val="accent3"/>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3" name="Text Placeholder 2">
            <a:extLst>
              <a:ext uri="{FF2B5EF4-FFF2-40B4-BE49-F238E27FC236}">
                <a16:creationId xmlns:a16="http://schemas.microsoft.com/office/drawing/2014/main" id="{C1FA68B7-2EF4-D236-0A6E-06B23F2F0052}"/>
              </a:ext>
            </a:extLst>
          </p:cNvPr>
          <p:cNvSpPr>
            <a:spLocks noGrp="1"/>
          </p:cNvSpPr>
          <p:nvPr>
            <p:ph type="body" idx="33" hasCustomPrompt="1"/>
          </p:nvPr>
        </p:nvSpPr>
        <p:spPr>
          <a:xfrm>
            <a:off x="7129387"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14" name="Text Placeholder 2">
            <a:extLst>
              <a:ext uri="{FF2B5EF4-FFF2-40B4-BE49-F238E27FC236}">
                <a16:creationId xmlns:a16="http://schemas.microsoft.com/office/drawing/2014/main" id="{23564644-4A77-F1C0-E507-494EC73074B0}"/>
              </a:ext>
            </a:extLst>
          </p:cNvPr>
          <p:cNvSpPr>
            <a:spLocks noGrp="1"/>
          </p:cNvSpPr>
          <p:nvPr>
            <p:ph type="body" idx="22" hasCustomPrompt="1"/>
          </p:nvPr>
        </p:nvSpPr>
        <p:spPr>
          <a:xfrm>
            <a:off x="3580487" y="1042936"/>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dirty="0">
                <a:solidFill>
                  <a:schemeClr val="accent3"/>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5" name="Text Placeholder 2">
            <a:extLst>
              <a:ext uri="{FF2B5EF4-FFF2-40B4-BE49-F238E27FC236}">
                <a16:creationId xmlns:a16="http://schemas.microsoft.com/office/drawing/2014/main" id="{D1944BC7-FE29-16AC-E44D-38DCED357A7B}"/>
              </a:ext>
            </a:extLst>
          </p:cNvPr>
          <p:cNvSpPr>
            <a:spLocks noGrp="1"/>
          </p:cNvSpPr>
          <p:nvPr>
            <p:ph type="body" idx="24" hasCustomPrompt="1"/>
          </p:nvPr>
        </p:nvSpPr>
        <p:spPr>
          <a:xfrm>
            <a:off x="4801885"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cxnSp>
        <p:nvCxnSpPr>
          <p:cNvPr id="19" name="Straight Connector 18">
            <a:extLst>
              <a:ext uri="{FF2B5EF4-FFF2-40B4-BE49-F238E27FC236}">
                <a16:creationId xmlns:a16="http://schemas.microsoft.com/office/drawing/2014/main" id="{92977183-F7D1-BD6E-BBCD-B38E2B3B2ABB}"/>
              </a:ext>
            </a:extLst>
          </p:cNvPr>
          <p:cNvCxnSpPr>
            <a:cxnSpLocks/>
          </p:cNvCxnSpPr>
          <p:nvPr userDrawn="1"/>
        </p:nvCxnSpPr>
        <p:spPr>
          <a:xfrm>
            <a:off x="609600" y="6323328"/>
            <a:ext cx="112776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6BF266A5-A39A-AA50-EA72-BAB275D5FAB0}"/>
              </a:ext>
            </a:extLst>
          </p:cNvPr>
          <p:cNvSpPr>
            <a:spLocks noGrp="1"/>
          </p:cNvSpPr>
          <p:nvPr>
            <p:ph type="body" idx="34" hasCustomPrompt="1"/>
          </p:nvPr>
        </p:nvSpPr>
        <p:spPr>
          <a:xfrm>
            <a:off x="8562900"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pic>
        <p:nvPicPr>
          <p:cNvPr id="4" name="Picture 3">
            <a:extLst>
              <a:ext uri="{FF2B5EF4-FFF2-40B4-BE49-F238E27FC236}">
                <a16:creationId xmlns:a16="http://schemas.microsoft.com/office/drawing/2014/main" id="{7EA7C225-4FBF-0E0F-6791-23EE2D65E4B9}"/>
              </a:ext>
            </a:extLst>
          </p:cNvPr>
          <p:cNvPicPr>
            <a:picLocks noChangeAspect="1"/>
          </p:cNvPicPr>
          <p:nvPr userDrawn="1"/>
        </p:nvPicPr>
        <p:blipFill>
          <a:blip r:embed="rId6">
            <a:alphaModFix amt="30000"/>
          </a:blip>
          <a:stretch>
            <a:fillRect/>
          </a:stretch>
        </p:blipFill>
        <p:spPr>
          <a:xfrm>
            <a:off x="1" y="3460750"/>
            <a:ext cx="1468603" cy="3397250"/>
          </a:xfrm>
          <a:prstGeom prst="rect">
            <a:avLst/>
          </a:prstGeom>
        </p:spPr>
      </p:pic>
      <p:pic>
        <p:nvPicPr>
          <p:cNvPr id="7" name="Picture 6">
            <a:extLst>
              <a:ext uri="{FF2B5EF4-FFF2-40B4-BE49-F238E27FC236}">
                <a16:creationId xmlns:a16="http://schemas.microsoft.com/office/drawing/2014/main" id="{EA0042E5-4208-A061-3987-E105DFA60E2F}"/>
              </a:ext>
            </a:extLst>
          </p:cNvPr>
          <p:cNvPicPr>
            <a:picLocks noChangeAspect="1"/>
          </p:cNvPicPr>
          <p:nvPr userDrawn="1"/>
        </p:nvPicPr>
        <p:blipFill>
          <a:blip r:embed="rId7">
            <a:alphaModFix amt="5000"/>
          </a:blip>
          <a:stretch>
            <a:fillRect/>
          </a:stretch>
        </p:blipFill>
        <p:spPr>
          <a:xfrm>
            <a:off x="1667810" y="4422025"/>
            <a:ext cx="8857129" cy="2436534"/>
          </a:xfrm>
          <a:prstGeom prst="rect">
            <a:avLst/>
          </a:prstGeom>
        </p:spPr>
      </p:pic>
      <p:pic>
        <p:nvPicPr>
          <p:cNvPr id="21" name="Picture 20">
            <a:extLst>
              <a:ext uri="{FF2B5EF4-FFF2-40B4-BE49-F238E27FC236}">
                <a16:creationId xmlns:a16="http://schemas.microsoft.com/office/drawing/2014/main" id="{F87E258A-BEA4-937B-E9C7-E48505C2D938}"/>
              </a:ext>
            </a:extLst>
          </p:cNvPr>
          <p:cNvPicPr>
            <a:picLocks noChangeAspect="1"/>
          </p:cNvPicPr>
          <p:nvPr userDrawn="1"/>
        </p:nvPicPr>
        <p:blipFill>
          <a:blip r:embed="rId8">
            <a:alphaModFix amt="10000"/>
          </a:blip>
          <a:stretch>
            <a:fillRect/>
          </a:stretch>
        </p:blipFill>
        <p:spPr>
          <a:xfrm>
            <a:off x="8985956" y="2868256"/>
            <a:ext cx="3206044" cy="3989744"/>
          </a:xfrm>
          <a:prstGeom prst="rect">
            <a:avLst/>
          </a:prstGeom>
        </p:spPr>
      </p:pic>
      <p:pic>
        <p:nvPicPr>
          <p:cNvPr id="23" name="Picture 22">
            <a:extLst>
              <a:ext uri="{FF2B5EF4-FFF2-40B4-BE49-F238E27FC236}">
                <a16:creationId xmlns:a16="http://schemas.microsoft.com/office/drawing/2014/main" id="{96DB2525-93A1-DC34-6FCB-C7146FA3DF98}"/>
              </a:ext>
            </a:extLst>
          </p:cNvPr>
          <p:cNvPicPr>
            <a:picLocks noChangeAspect="1"/>
          </p:cNvPicPr>
          <p:nvPr userDrawn="1"/>
        </p:nvPicPr>
        <p:blipFill>
          <a:blip r:embed="rId9">
            <a:alphaModFix/>
          </a:blip>
          <a:stretch>
            <a:fillRect/>
          </a:stretch>
        </p:blipFill>
        <p:spPr>
          <a:xfrm>
            <a:off x="9634558" y="239295"/>
            <a:ext cx="2100243" cy="590578"/>
          </a:xfrm>
          <a:prstGeom prst="rect">
            <a:avLst/>
          </a:prstGeom>
        </p:spPr>
      </p:pic>
      <p:sp>
        <p:nvSpPr>
          <p:cNvPr id="6" name="Text Placeholder 13">
            <a:extLst>
              <a:ext uri="{FF2B5EF4-FFF2-40B4-BE49-F238E27FC236}">
                <a16:creationId xmlns:a16="http://schemas.microsoft.com/office/drawing/2014/main" id="{2404B791-D7C5-70A4-ED5A-7257A0DFFA6F}"/>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83194376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44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0_Session Agenda opt 1">
    <p:bg>
      <p:bgPr>
        <a:solidFill>
          <a:srgbClr val="20635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41840348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cxnSp>
        <p:nvCxnSpPr>
          <p:cNvPr id="17" name="Straight Connector 16">
            <a:extLst>
              <a:ext uri="{FF2B5EF4-FFF2-40B4-BE49-F238E27FC236}">
                <a16:creationId xmlns:a16="http://schemas.microsoft.com/office/drawing/2014/main" id="{E7EE1978-87F7-E803-D5E0-13FD824C8F41}"/>
              </a:ext>
            </a:extLst>
          </p:cNvPr>
          <p:cNvCxnSpPr>
            <a:cxnSpLocks/>
          </p:cNvCxnSpPr>
          <p:nvPr userDrawn="1"/>
        </p:nvCxnSpPr>
        <p:spPr>
          <a:xfrm>
            <a:off x="438150" y="6352539"/>
            <a:ext cx="1130935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bg1"/>
                </a:solidFill>
              </a:defRPr>
            </a:lvl1pPr>
          </a:lstStyle>
          <a:p>
            <a:r>
              <a:rPr lang="en-GB"/>
              <a:t>Click to edit Master title style</a:t>
            </a:r>
            <a:endParaRPr lang="en-US"/>
          </a:p>
        </p:txBody>
      </p:sp>
      <p:sp>
        <p:nvSpPr>
          <p:cNvPr id="5" name="Text Placeholder 2">
            <a:extLst>
              <a:ext uri="{FF2B5EF4-FFF2-40B4-BE49-F238E27FC236}">
                <a16:creationId xmlns:a16="http://schemas.microsoft.com/office/drawing/2014/main" id="{C88FA0B7-ED1E-3C41-533F-80EEABD5356E}"/>
              </a:ext>
            </a:extLst>
          </p:cNvPr>
          <p:cNvSpPr>
            <a:spLocks noGrp="1"/>
          </p:cNvSpPr>
          <p:nvPr>
            <p:ph type="body" idx="18" hasCustomPrompt="1"/>
          </p:nvPr>
        </p:nvSpPr>
        <p:spPr>
          <a:xfrm>
            <a:off x="-59349" y="1042936"/>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dirty="0">
                <a:solidFill>
                  <a:srgbClr val="59B8CD"/>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8" name="Text Placeholder 2">
            <a:extLst>
              <a:ext uri="{FF2B5EF4-FFF2-40B4-BE49-F238E27FC236}">
                <a16:creationId xmlns:a16="http://schemas.microsoft.com/office/drawing/2014/main" id="{AEF843E2-9F12-F617-9942-60A48D41D24E}"/>
              </a:ext>
            </a:extLst>
          </p:cNvPr>
          <p:cNvSpPr>
            <a:spLocks noGrp="1"/>
          </p:cNvSpPr>
          <p:nvPr>
            <p:ph type="body" idx="16" hasCustomPrompt="1"/>
          </p:nvPr>
        </p:nvSpPr>
        <p:spPr>
          <a:xfrm>
            <a:off x="1162049"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9" name="Text Placeholder 2">
            <a:extLst>
              <a:ext uri="{FF2B5EF4-FFF2-40B4-BE49-F238E27FC236}">
                <a16:creationId xmlns:a16="http://schemas.microsoft.com/office/drawing/2014/main" id="{8E88AAC9-E377-12D3-7DA8-15E3037028EB}"/>
              </a:ext>
            </a:extLst>
          </p:cNvPr>
          <p:cNvSpPr>
            <a:spLocks noGrp="1"/>
          </p:cNvSpPr>
          <p:nvPr>
            <p:ph type="body" idx="25" hasCustomPrompt="1"/>
          </p:nvPr>
        </p:nvSpPr>
        <p:spPr>
          <a:xfrm>
            <a:off x="7220323" y="1042936"/>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a:solidFill>
                  <a:srgbClr val="59B8CD"/>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0" name="Text Placeholder 2">
            <a:extLst>
              <a:ext uri="{FF2B5EF4-FFF2-40B4-BE49-F238E27FC236}">
                <a16:creationId xmlns:a16="http://schemas.microsoft.com/office/drawing/2014/main" id="{0F5AFE4A-F68E-482D-9466-B57D6506744F}"/>
              </a:ext>
            </a:extLst>
          </p:cNvPr>
          <p:cNvSpPr>
            <a:spLocks noGrp="1"/>
          </p:cNvSpPr>
          <p:nvPr>
            <p:ph type="body" idx="28" hasCustomPrompt="1"/>
          </p:nvPr>
        </p:nvSpPr>
        <p:spPr>
          <a:xfrm>
            <a:off x="1566478" y="3241800"/>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dirty="0">
                <a:solidFill>
                  <a:srgbClr val="59B8CD"/>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1" name="Text Placeholder 2">
            <a:extLst>
              <a:ext uri="{FF2B5EF4-FFF2-40B4-BE49-F238E27FC236}">
                <a16:creationId xmlns:a16="http://schemas.microsoft.com/office/drawing/2014/main" id="{D972A27B-5FE9-5123-62C7-9C8C9C1D57F2}"/>
              </a:ext>
            </a:extLst>
          </p:cNvPr>
          <p:cNvSpPr>
            <a:spLocks noGrp="1"/>
          </p:cNvSpPr>
          <p:nvPr>
            <p:ph type="body" idx="30" hasCustomPrompt="1"/>
          </p:nvPr>
        </p:nvSpPr>
        <p:spPr>
          <a:xfrm>
            <a:off x="2787876"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12" name="Text Placeholder 2">
            <a:extLst>
              <a:ext uri="{FF2B5EF4-FFF2-40B4-BE49-F238E27FC236}">
                <a16:creationId xmlns:a16="http://schemas.microsoft.com/office/drawing/2014/main" id="{5A1BC2BA-E6B4-90A0-C022-78F37C4E6FFD}"/>
              </a:ext>
            </a:extLst>
          </p:cNvPr>
          <p:cNvSpPr>
            <a:spLocks noGrp="1"/>
          </p:cNvSpPr>
          <p:nvPr>
            <p:ph type="body" idx="31" hasCustomPrompt="1"/>
          </p:nvPr>
        </p:nvSpPr>
        <p:spPr>
          <a:xfrm>
            <a:off x="5907989" y="3241800"/>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a:solidFill>
                  <a:srgbClr val="59B8CD"/>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3" name="Text Placeholder 2">
            <a:extLst>
              <a:ext uri="{FF2B5EF4-FFF2-40B4-BE49-F238E27FC236}">
                <a16:creationId xmlns:a16="http://schemas.microsoft.com/office/drawing/2014/main" id="{C1FA68B7-2EF4-D236-0A6E-06B23F2F0052}"/>
              </a:ext>
            </a:extLst>
          </p:cNvPr>
          <p:cNvSpPr>
            <a:spLocks noGrp="1"/>
          </p:cNvSpPr>
          <p:nvPr>
            <p:ph type="body" idx="33" hasCustomPrompt="1"/>
          </p:nvPr>
        </p:nvSpPr>
        <p:spPr>
          <a:xfrm>
            <a:off x="7129387"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14" name="Text Placeholder 2">
            <a:extLst>
              <a:ext uri="{FF2B5EF4-FFF2-40B4-BE49-F238E27FC236}">
                <a16:creationId xmlns:a16="http://schemas.microsoft.com/office/drawing/2014/main" id="{23564644-4A77-F1C0-E507-494EC73074B0}"/>
              </a:ext>
            </a:extLst>
          </p:cNvPr>
          <p:cNvSpPr>
            <a:spLocks noGrp="1"/>
          </p:cNvSpPr>
          <p:nvPr>
            <p:ph type="body" idx="22" hasCustomPrompt="1"/>
          </p:nvPr>
        </p:nvSpPr>
        <p:spPr>
          <a:xfrm>
            <a:off x="3580487" y="1042936"/>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dirty="0">
                <a:solidFill>
                  <a:srgbClr val="59B8CD"/>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5" name="Text Placeholder 2">
            <a:extLst>
              <a:ext uri="{FF2B5EF4-FFF2-40B4-BE49-F238E27FC236}">
                <a16:creationId xmlns:a16="http://schemas.microsoft.com/office/drawing/2014/main" id="{D1944BC7-FE29-16AC-E44D-38DCED357A7B}"/>
              </a:ext>
            </a:extLst>
          </p:cNvPr>
          <p:cNvSpPr>
            <a:spLocks noGrp="1"/>
          </p:cNvSpPr>
          <p:nvPr>
            <p:ph type="body" idx="24" hasCustomPrompt="1"/>
          </p:nvPr>
        </p:nvSpPr>
        <p:spPr>
          <a:xfrm>
            <a:off x="4801885"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20" name="Text Placeholder 2">
            <a:extLst>
              <a:ext uri="{FF2B5EF4-FFF2-40B4-BE49-F238E27FC236}">
                <a16:creationId xmlns:a16="http://schemas.microsoft.com/office/drawing/2014/main" id="{6BF266A5-A39A-AA50-EA72-BAB275D5FAB0}"/>
              </a:ext>
            </a:extLst>
          </p:cNvPr>
          <p:cNvSpPr>
            <a:spLocks noGrp="1"/>
          </p:cNvSpPr>
          <p:nvPr>
            <p:ph type="body" idx="34" hasCustomPrompt="1"/>
          </p:nvPr>
        </p:nvSpPr>
        <p:spPr>
          <a:xfrm>
            <a:off x="8562900"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pic>
        <p:nvPicPr>
          <p:cNvPr id="4" name="Picture 3">
            <a:extLst>
              <a:ext uri="{FF2B5EF4-FFF2-40B4-BE49-F238E27FC236}">
                <a16:creationId xmlns:a16="http://schemas.microsoft.com/office/drawing/2014/main" id="{7EA7C225-4FBF-0E0F-6791-23EE2D65E4B9}"/>
              </a:ext>
            </a:extLst>
          </p:cNvPr>
          <p:cNvPicPr>
            <a:picLocks noChangeAspect="1"/>
          </p:cNvPicPr>
          <p:nvPr userDrawn="1"/>
        </p:nvPicPr>
        <p:blipFill>
          <a:blip r:embed="rId6">
            <a:alphaModFix amt="30000"/>
          </a:blip>
          <a:stretch>
            <a:fillRect/>
          </a:stretch>
        </p:blipFill>
        <p:spPr>
          <a:xfrm>
            <a:off x="1" y="3460750"/>
            <a:ext cx="1468603" cy="3397250"/>
          </a:xfrm>
          <a:prstGeom prst="rect">
            <a:avLst/>
          </a:prstGeom>
        </p:spPr>
      </p:pic>
      <p:pic>
        <p:nvPicPr>
          <p:cNvPr id="7" name="Picture 6">
            <a:extLst>
              <a:ext uri="{FF2B5EF4-FFF2-40B4-BE49-F238E27FC236}">
                <a16:creationId xmlns:a16="http://schemas.microsoft.com/office/drawing/2014/main" id="{EA0042E5-4208-A061-3987-E105DFA60E2F}"/>
              </a:ext>
            </a:extLst>
          </p:cNvPr>
          <p:cNvPicPr>
            <a:picLocks noChangeAspect="1"/>
          </p:cNvPicPr>
          <p:nvPr userDrawn="1"/>
        </p:nvPicPr>
        <p:blipFill>
          <a:blip r:embed="rId7">
            <a:alphaModFix amt="5000"/>
          </a:blip>
          <a:stretch>
            <a:fillRect/>
          </a:stretch>
        </p:blipFill>
        <p:spPr>
          <a:xfrm>
            <a:off x="1667810" y="4422025"/>
            <a:ext cx="8857129" cy="2436534"/>
          </a:xfrm>
          <a:prstGeom prst="rect">
            <a:avLst/>
          </a:prstGeom>
        </p:spPr>
      </p:pic>
      <p:pic>
        <p:nvPicPr>
          <p:cNvPr id="21" name="Picture 20">
            <a:extLst>
              <a:ext uri="{FF2B5EF4-FFF2-40B4-BE49-F238E27FC236}">
                <a16:creationId xmlns:a16="http://schemas.microsoft.com/office/drawing/2014/main" id="{F87E258A-BEA4-937B-E9C7-E48505C2D938}"/>
              </a:ext>
            </a:extLst>
          </p:cNvPr>
          <p:cNvPicPr>
            <a:picLocks noChangeAspect="1"/>
          </p:cNvPicPr>
          <p:nvPr userDrawn="1"/>
        </p:nvPicPr>
        <p:blipFill>
          <a:blip r:embed="rId8">
            <a:alphaModFix amt="10000"/>
          </a:blip>
          <a:stretch>
            <a:fillRect/>
          </a:stretch>
        </p:blipFill>
        <p:spPr>
          <a:xfrm>
            <a:off x="8985956" y="2868256"/>
            <a:ext cx="3206044" cy="3989744"/>
          </a:xfrm>
          <a:prstGeom prst="rect">
            <a:avLst/>
          </a:prstGeom>
        </p:spPr>
      </p:pic>
      <p:pic>
        <p:nvPicPr>
          <p:cNvPr id="23" name="Picture 22">
            <a:extLst>
              <a:ext uri="{FF2B5EF4-FFF2-40B4-BE49-F238E27FC236}">
                <a16:creationId xmlns:a16="http://schemas.microsoft.com/office/drawing/2014/main" id="{96DB2525-93A1-DC34-6FCB-C7146FA3DF98}"/>
              </a:ext>
            </a:extLst>
          </p:cNvPr>
          <p:cNvPicPr>
            <a:picLocks noChangeAspect="1"/>
          </p:cNvPicPr>
          <p:nvPr userDrawn="1"/>
        </p:nvPicPr>
        <p:blipFill>
          <a:blip r:embed="rId9">
            <a:alphaModFix/>
          </a:blip>
          <a:stretch>
            <a:fillRect/>
          </a:stretch>
        </p:blipFill>
        <p:spPr>
          <a:xfrm>
            <a:off x="9634558" y="239295"/>
            <a:ext cx="2100243" cy="590578"/>
          </a:xfrm>
          <a:prstGeom prst="rect">
            <a:avLst/>
          </a:prstGeom>
        </p:spPr>
      </p:pic>
      <p:sp>
        <p:nvSpPr>
          <p:cNvPr id="6" name="Text Placeholder 13">
            <a:extLst>
              <a:ext uri="{FF2B5EF4-FFF2-40B4-BE49-F238E27FC236}">
                <a16:creationId xmlns:a16="http://schemas.microsoft.com/office/drawing/2014/main" id="{A04478B1-1642-1539-6CD3-12553A44D7F8}"/>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180834329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1_Session Agenda opt 1">
    <p:bg>
      <p:bgPr>
        <a:solidFill>
          <a:schemeClr val="accent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41840348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bg1"/>
                </a:solidFill>
              </a:defRPr>
            </a:lvl1pPr>
          </a:lstStyle>
          <a:p>
            <a:r>
              <a:rPr lang="en-GB"/>
              <a:t>Click to edit Master title style</a:t>
            </a:r>
            <a:endParaRPr lang="en-US"/>
          </a:p>
        </p:txBody>
      </p:sp>
      <p:sp>
        <p:nvSpPr>
          <p:cNvPr id="5" name="Text Placeholder 2">
            <a:extLst>
              <a:ext uri="{FF2B5EF4-FFF2-40B4-BE49-F238E27FC236}">
                <a16:creationId xmlns:a16="http://schemas.microsoft.com/office/drawing/2014/main" id="{C88FA0B7-ED1E-3C41-533F-80EEABD5356E}"/>
              </a:ext>
            </a:extLst>
          </p:cNvPr>
          <p:cNvSpPr>
            <a:spLocks noGrp="1"/>
          </p:cNvSpPr>
          <p:nvPr>
            <p:ph type="body" idx="18" hasCustomPrompt="1"/>
          </p:nvPr>
        </p:nvSpPr>
        <p:spPr>
          <a:xfrm>
            <a:off x="-59349" y="1042936"/>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dirty="0">
                <a:solidFill>
                  <a:schemeClr val="accent3"/>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8" name="Text Placeholder 2">
            <a:extLst>
              <a:ext uri="{FF2B5EF4-FFF2-40B4-BE49-F238E27FC236}">
                <a16:creationId xmlns:a16="http://schemas.microsoft.com/office/drawing/2014/main" id="{AEF843E2-9F12-F617-9942-60A48D41D24E}"/>
              </a:ext>
            </a:extLst>
          </p:cNvPr>
          <p:cNvSpPr>
            <a:spLocks noGrp="1"/>
          </p:cNvSpPr>
          <p:nvPr>
            <p:ph type="body" idx="16" hasCustomPrompt="1"/>
          </p:nvPr>
        </p:nvSpPr>
        <p:spPr>
          <a:xfrm>
            <a:off x="1162049"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9" name="Text Placeholder 2">
            <a:extLst>
              <a:ext uri="{FF2B5EF4-FFF2-40B4-BE49-F238E27FC236}">
                <a16:creationId xmlns:a16="http://schemas.microsoft.com/office/drawing/2014/main" id="{8E88AAC9-E377-12D3-7DA8-15E3037028EB}"/>
              </a:ext>
            </a:extLst>
          </p:cNvPr>
          <p:cNvSpPr>
            <a:spLocks noGrp="1"/>
          </p:cNvSpPr>
          <p:nvPr>
            <p:ph type="body" idx="25" hasCustomPrompt="1"/>
          </p:nvPr>
        </p:nvSpPr>
        <p:spPr>
          <a:xfrm>
            <a:off x="7220323" y="1042936"/>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a:solidFill>
                  <a:schemeClr val="accent3"/>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0" name="Text Placeholder 2">
            <a:extLst>
              <a:ext uri="{FF2B5EF4-FFF2-40B4-BE49-F238E27FC236}">
                <a16:creationId xmlns:a16="http://schemas.microsoft.com/office/drawing/2014/main" id="{0F5AFE4A-F68E-482D-9466-B57D6506744F}"/>
              </a:ext>
            </a:extLst>
          </p:cNvPr>
          <p:cNvSpPr>
            <a:spLocks noGrp="1"/>
          </p:cNvSpPr>
          <p:nvPr>
            <p:ph type="body" idx="28" hasCustomPrompt="1"/>
          </p:nvPr>
        </p:nvSpPr>
        <p:spPr>
          <a:xfrm>
            <a:off x="1566478" y="3241800"/>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dirty="0">
                <a:solidFill>
                  <a:schemeClr val="accent3"/>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1" name="Text Placeholder 2">
            <a:extLst>
              <a:ext uri="{FF2B5EF4-FFF2-40B4-BE49-F238E27FC236}">
                <a16:creationId xmlns:a16="http://schemas.microsoft.com/office/drawing/2014/main" id="{D972A27B-5FE9-5123-62C7-9C8C9C1D57F2}"/>
              </a:ext>
            </a:extLst>
          </p:cNvPr>
          <p:cNvSpPr>
            <a:spLocks noGrp="1"/>
          </p:cNvSpPr>
          <p:nvPr>
            <p:ph type="body" idx="30" hasCustomPrompt="1"/>
          </p:nvPr>
        </p:nvSpPr>
        <p:spPr>
          <a:xfrm>
            <a:off x="2787876"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12" name="Text Placeholder 2">
            <a:extLst>
              <a:ext uri="{FF2B5EF4-FFF2-40B4-BE49-F238E27FC236}">
                <a16:creationId xmlns:a16="http://schemas.microsoft.com/office/drawing/2014/main" id="{5A1BC2BA-E6B4-90A0-C022-78F37C4E6FFD}"/>
              </a:ext>
            </a:extLst>
          </p:cNvPr>
          <p:cNvSpPr>
            <a:spLocks noGrp="1"/>
          </p:cNvSpPr>
          <p:nvPr>
            <p:ph type="body" idx="31" hasCustomPrompt="1"/>
          </p:nvPr>
        </p:nvSpPr>
        <p:spPr>
          <a:xfrm>
            <a:off x="5907989" y="3241800"/>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a:solidFill>
                  <a:schemeClr val="accent3"/>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3" name="Text Placeholder 2">
            <a:extLst>
              <a:ext uri="{FF2B5EF4-FFF2-40B4-BE49-F238E27FC236}">
                <a16:creationId xmlns:a16="http://schemas.microsoft.com/office/drawing/2014/main" id="{C1FA68B7-2EF4-D236-0A6E-06B23F2F0052}"/>
              </a:ext>
            </a:extLst>
          </p:cNvPr>
          <p:cNvSpPr>
            <a:spLocks noGrp="1"/>
          </p:cNvSpPr>
          <p:nvPr>
            <p:ph type="body" idx="33" hasCustomPrompt="1"/>
          </p:nvPr>
        </p:nvSpPr>
        <p:spPr>
          <a:xfrm>
            <a:off x="7129387"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14" name="Text Placeholder 2">
            <a:extLst>
              <a:ext uri="{FF2B5EF4-FFF2-40B4-BE49-F238E27FC236}">
                <a16:creationId xmlns:a16="http://schemas.microsoft.com/office/drawing/2014/main" id="{23564644-4A77-F1C0-E507-494EC73074B0}"/>
              </a:ext>
            </a:extLst>
          </p:cNvPr>
          <p:cNvSpPr>
            <a:spLocks noGrp="1"/>
          </p:cNvSpPr>
          <p:nvPr>
            <p:ph type="body" idx="22" hasCustomPrompt="1"/>
          </p:nvPr>
        </p:nvSpPr>
        <p:spPr>
          <a:xfrm>
            <a:off x="3580487" y="1042936"/>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dirty="0">
                <a:solidFill>
                  <a:schemeClr val="accent3"/>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5" name="Text Placeholder 2">
            <a:extLst>
              <a:ext uri="{FF2B5EF4-FFF2-40B4-BE49-F238E27FC236}">
                <a16:creationId xmlns:a16="http://schemas.microsoft.com/office/drawing/2014/main" id="{D1944BC7-FE29-16AC-E44D-38DCED357A7B}"/>
              </a:ext>
            </a:extLst>
          </p:cNvPr>
          <p:cNvSpPr>
            <a:spLocks noGrp="1"/>
          </p:cNvSpPr>
          <p:nvPr>
            <p:ph type="body" idx="24" hasCustomPrompt="1"/>
          </p:nvPr>
        </p:nvSpPr>
        <p:spPr>
          <a:xfrm>
            <a:off x="4801885"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20" name="Text Placeholder 2">
            <a:extLst>
              <a:ext uri="{FF2B5EF4-FFF2-40B4-BE49-F238E27FC236}">
                <a16:creationId xmlns:a16="http://schemas.microsoft.com/office/drawing/2014/main" id="{6BF266A5-A39A-AA50-EA72-BAB275D5FAB0}"/>
              </a:ext>
            </a:extLst>
          </p:cNvPr>
          <p:cNvSpPr>
            <a:spLocks noGrp="1"/>
          </p:cNvSpPr>
          <p:nvPr>
            <p:ph type="body" idx="34" hasCustomPrompt="1"/>
          </p:nvPr>
        </p:nvSpPr>
        <p:spPr>
          <a:xfrm>
            <a:off x="8562900"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pic>
        <p:nvPicPr>
          <p:cNvPr id="4" name="Picture 3">
            <a:extLst>
              <a:ext uri="{FF2B5EF4-FFF2-40B4-BE49-F238E27FC236}">
                <a16:creationId xmlns:a16="http://schemas.microsoft.com/office/drawing/2014/main" id="{7EA7C225-4FBF-0E0F-6791-23EE2D65E4B9}"/>
              </a:ext>
            </a:extLst>
          </p:cNvPr>
          <p:cNvPicPr>
            <a:picLocks noChangeAspect="1"/>
          </p:cNvPicPr>
          <p:nvPr userDrawn="1"/>
        </p:nvPicPr>
        <p:blipFill>
          <a:blip r:embed="rId6">
            <a:alphaModFix amt="30000"/>
          </a:blip>
          <a:stretch>
            <a:fillRect/>
          </a:stretch>
        </p:blipFill>
        <p:spPr>
          <a:xfrm>
            <a:off x="1" y="3460750"/>
            <a:ext cx="1468603" cy="3397250"/>
          </a:xfrm>
          <a:prstGeom prst="rect">
            <a:avLst/>
          </a:prstGeom>
        </p:spPr>
      </p:pic>
      <p:pic>
        <p:nvPicPr>
          <p:cNvPr id="7" name="Picture 6">
            <a:extLst>
              <a:ext uri="{FF2B5EF4-FFF2-40B4-BE49-F238E27FC236}">
                <a16:creationId xmlns:a16="http://schemas.microsoft.com/office/drawing/2014/main" id="{EA0042E5-4208-A061-3987-E105DFA60E2F}"/>
              </a:ext>
            </a:extLst>
          </p:cNvPr>
          <p:cNvPicPr>
            <a:picLocks noChangeAspect="1"/>
          </p:cNvPicPr>
          <p:nvPr userDrawn="1"/>
        </p:nvPicPr>
        <p:blipFill>
          <a:blip r:embed="rId7">
            <a:alphaModFix amt="5000"/>
          </a:blip>
          <a:stretch>
            <a:fillRect/>
          </a:stretch>
        </p:blipFill>
        <p:spPr>
          <a:xfrm>
            <a:off x="1768395" y="4421466"/>
            <a:ext cx="8857129" cy="2436534"/>
          </a:xfrm>
          <a:prstGeom prst="rect">
            <a:avLst/>
          </a:prstGeom>
        </p:spPr>
      </p:pic>
      <p:pic>
        <p:nvPicPr>
          <p:cNvPr id="21" name="Picture 20">
            <a:extLst>
              <a:ext uri="{FF2B5EF4-FFF2-40B4-BE49-F238E27FC236}">
                <a16:creationId xmlns:a16="http://schemas.microsoft.com/office/drawing/2014/main" id="{F87E258A-BEA4-937B-E9C7-E48505C2D938}"/>
              </a:ext>
            </a:extLst>
          </p:cNvPr>
          <p:cNvPicPr>
            <a:picLocks noChangeAspect="1"/>
          </p:cNvPicPr>
          <p:nvPr userDrawn="1"/>
        </p:nvPicPr>
        <p:blipFill>
          <a:blip r:embed="rId8">
            <a:alphaModFix amt="10000"/>
          </a:blip>
          <a:stretch>
            <a:fillRect/>
          </a:stretch>
        </p:blipFill>
        <p:spPr>
          <a:xfrm>
            <a:off x="8985956" y="2868256"/>
            <a:ext cx="3206044" cy="3989744"/>
          </a:xfrm>
          <a:prstGeom prst="rect">
            <a:avLst/>
          </a:prstGeom>
        </p:spPr>
      </p:pic>
      <p:pic>
        <p:nvPicPr>
          <p:cNvPr id="23" name="Picture 22">
            <a:extLst>
              <a:ext uri="{FF2B5EF4-FFF2-40B4-BE49-F238E27FC236}">
                <a16:creationId xmlns:a16="http://schemas.microsoft.com/office/drawing/2014/main" id="{96DB2525-93A1-DC34-6FCB-C7146FA3DF98}"/>
              </a:ext>
            </a:extLst>
          </p:cNvPr>
          <p:cNvPicPr>
            <a:picLocks noChangeAspect="1"/>
          </p:cNvPicPr>
          <p:nvPr userDrawn="1"/>
        </p:nvPicPr>
        <p:blipFill>
          <a:blip r:embed="rId9">
            <a:alphaModFix/>
          </a:blip>
          <a:stretch>
            <a:fillRect/>
          </a:stretch>
        </p:blipFill>
        <p:spPr>
          <a:xfrm>
            <a:off x="9634558" y="239295"/>
            <a:ext cx="2100243" cy="590578"/>
          </a:xfrm>
          <a:prstGeom prst="rect">
            <a:avLst/>
          </a:prstGeom>
        </p:spPr>
      </p:pic>
      <p:cxnSp>
        <p:nvCxnSpPr>
          <p:cNvPr id="2" name="Straight Connector 1">
            <a:extLst>
              <a:ext uri="{FF2B5EF4-FFF2-40B4-BE49-F238E27FC236}">
                <a16:creationId xmlns:a16="http://schemas.microsoft.com/office/drawing/2014/main" id="{4D533236-AD5C-3959-2A9E-26565EC1ABFC}"/>
              </a:ext>
            </a:extLst>
          </p:cNvPr>
          <p:cNvCxnSpPr>
            <a:cxnSpLocks/>
          </p:cNvCxnSpPr>
          <p:nvPr userDrawn="1"/>
        </p:nvCxnSpPr>
        <p:spPr>
          <a:xfrm>
            <a:off x="438150" y="6352539"/>
            <a:ext cx="1130935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a:extLst>
              <a:ext uri="{FF2B5EF4-FFF2-40B4-BE49-F238E27FC236}">
                <a16:creationId xmlns:a16="http://schemas.microsoft.com/office/drawing/2014/main" id="{2A0E9555-10ED-2A4E-21D9-2595756C0314}"/>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288140344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2_Session Agenda opt 1">
    <p:bg>
      <p:bgPr>
        <a:solidFill>
          <a:srgbClr val="4B3069"/>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CD6696-228C-DDAA-76CD-CBC5CB8D76FF}"/>
              </a:ext>
            </a:extLst>
          </p:cNvPr>
          <p:cNvGraphicFramePr>
            <a:graphicFrameLocks noChangeAspect="1"/>
          </p:cNvGraphicFramePr>
          <p:nvPr userDrawn="1">
            <p:custDataLst>
              <p:tags r:id="rId1"/>
            </p:custDataLst>
            <p:extLst>
              <p:ext uri="{D42A27DB-BD31-4B8C-83A1-F6EECF244321}">
                <p14:modId xmlns:p14="http://schemas.microsoft.com/office/powerpoint/2010/main" val="41840348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think-cell data - do not delete" hidden="1">
                        <a:extLst>
                          <a:ext uri="{FF2B5EF4-FFF2-40B4-BE49-F238E27FC236}">
                            <a16:creationId xmlns:a16="http://schemas.microsoft.com/office/drawing/2014/main" id="{73CD6696-228C-DDAA-76CD-CBC5CB8D76FF}"/>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6" name="Slide Number Placeholder 5">
            <a:extLst>
              <a:ext uri="{FF2B5EF4-FFF2-40B4-BE49-F238E27FC236}">
                <a16:creationId xmlns:a16="http://schemas.microsoft.com/office/drawing/2014/main" id="{B3DDCDA5-9851-63EF-B880-197E098BD8C9}"/>
              </a:ext>
            </a:extLst>
          </p:cNvPr>
          <p:cNvSpPr>
            <a:spLocks noGrp="1"/>
          </p:cNvSpPr>
          <p:nvPr>
            <p:ph type="sldNum" sz="quarter" idx="12"/>
          </p:nvPr>
        </p:nvSpPr>
        <p:spPr>
          <a:xfrm>
            <a:off x="11172826" y="6442917"/>
            <a:ext cx="574675" cy="153888"/>
          </a:xfrm>
          <a:prstGeom prst="rect">
            <a:avLst/>
          </a:prstGeom>
        </p:spPr>
        <p:txBody>
          <a:bodyPr vert="horz" wrap="square" lIns="0" tIns="0" rIns="0" bIns="0" rtlCol="0" anchor="ctr">
            <a:spAutoFit/>
          </a:bodyPr>
          <a:lstStyle>
            <a:defPPr>
              <a:defRPr lang="en-US"/>
            </a:defPPr>
            <a:lvl1pPr marL="0" algn="r" defTabSz="914358" rtl="0" eaLnBrk="1" latinLnBrk="0" hangingPunct="1">
              <a:defRPr sz="1000" b="0" i="0" kern="1200">
                <a:solidFill>
                  <a:schemeClr val="bg1"/>
                </a:solidFill>
                <a:latin typeface="Arial" panose="020B0604020202020204" pitchFamily="34" charset="0"/>
                <a:ea typeface="+mn-ea"/>
                <a:cs typeface="Arial" panose="020B0604020202020204" pitchFamily="34" charset="0"/>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a:lstStyle>
          <a:p>
            <a:fld id="{B1A72ED0-CA80-9E4A-B9C8-1E5961276DBA}" type="slidenum">
              <a:rPr lang="en-US" smtClean="0"/>
              <a:pPr/>
              <a:t>‹#›</a:t>
            </a:fld>
            <a:endParaRPr lang="en-US"/>
          </a:p>
        </p:txBody>
      </p:sp>
      <p:sp>
        <p:nvSpPr>
          <p:cNvPr id="43" name="Title 1">
            <a:extLst>
              <a:ext uri="{FF2B5EF4-FFF2-40B4-BE49-F238E27FC236}">
                <a16:creationId xmlns:a16="http://schemas.microsoft.com/office/drawing/2014/main" id="{682B9FA2-669D-449E-B3FD-CD1E84B72AD4}"/>
              </a:ext>
            </a:extLst>
          </p:cNvPr>
          <p:cNvSpPr>
            <a:spLocks noGrp="1"/>
          </p:cNvSpPr>
          <p:nvPr>
            <p:ph type="title"/>
          </p:nvPr>
        </p:nvSpPr>
        <p:spPr>
          <a:xfrm>
            <a:off x="438150" y="377825"/>
            <a:ext cx="9377363" cy="369332"/>
          </a:xfrm>
        </p:spPr>
        <p:txBody>
          <a:bodyPr vert="horz"/>
          <a:lstStyle>
            <a:lvl1pPr>
              <a:defRPr sz="2400">
                <a:solidFill>
                  <a:schemeClr val="bg1"/>
                </a:solidFill>
              </a:defRPr>
            </a:lvl1pPr>
          </a:lstStyle>
          <a:p>
            <a:r>
              <a:rPr lang="en-GB"/>
              <a:t>Click to edit Master title style</a:t>
            </a:r>
            <a:endParaRPr lang="en-US"/>
          </a:p>
        </p:txBody>
      </p:sp>
      <p:sp>
        <p:nvSpPr>
          <p:cNvPr id="5" name="Text Placeholder 2">
            <a:extLst>
              <a:ext uri="{FF2B5EF4-FFF2-40B4-BE49-F238E27FC236}">
                <a16:creationId xmlns:a16="http://schemas.microsoft.com/office/drawing/2014/main" id="{C88FA0B7-ED1E-3C41-533F-80EEABD5356E}"/>
              </a:ext>
            </a:extLst>
          </p:cNvPr>
          <p:cNvSpPr>
            <a:spLocks noGrp="1"/>
          </p:cNvSpPr>
          <p:nvPr>
            <p:ph type="body" idx="18" hasCustomPrompt="1"/>
          </p:nvPr>
        </p:nvSpPr>
        <p:spPr>
          <a:xfrm>
            <a:off x="-59349" y="1042936"/>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dirty="0">
                <a:solidFill>
                  <a:srgbClr val="59B8CD"/>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8" name="Text Placeholder 2">
            <a:extLst>
              <a:ext uri="{FF2B5EF4-FFF2-40B4-BE49-F238E27FC236}">
                <a16:creationId xmlns:a16="http://schemas.microsoft.com/office/drawing/2014/main" id="{AEF843E2-9F12-F617-9942-60A48D41D24E}"/>
              </a:ext>
            </a:extLst>
          </p:cNvPr>
          <p:cNvSpPr>
            <a:spLocks noGrp="1"/>
          </p:cNvSpPr>
          <p:nvPr>
            <p:ph type="body" idx="16" hasCustomPrompt="1"/>
          </p:nvPr>
        </p:nvSpPr>
        <p:spPr>
          <a:xfrm>
            <a:off x="1162049"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9" name="Text Placeholder 2">
            <a:extLst>
              <a:ext uri="{FF2B5EF4-FFF2-40B4-BE49-F238E27FC236}">
                <a16:creationId xmlns:a16="http://schemas.microsoft.com/office/drawing/2014/main" id="{8E88AAC9-E377-12D3-7DA8-15E3037028EB}"/>
              </a:ext>
            </a:extLst>
          </p:cNvPr>
          <p:cNvSpPr>
            <a:spLocks noGrp="1"/>
          </p:cNvSpPr>
          <p:nvPr>
            <p:ph type="body" idx="25" hasCustomPrompt="1"/>
          </p:nvPr>
        </p:nvSpPr>
        <p:spPr>
          <a:xfrm>
            <a:off x="7220323" y="1042936"/>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a:solidFill>
                  <a:srgbClr val="59B8CD"/>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0" name="Text Placeholder 2">
            <a:extLst>
              <a:ext uri="{FF2B5EF4-FFF2-40B4-BE49-F238E27FC236}">
                <a16:creationId xmlns:a16="http://schemas.microsoft.com/office/drawing/2014/main" id="{0F5AFE4A-F68E-482D-9466-B57D6506744F}"/>
              </a:ext>
            </a:extLst>
          </p:cNvPr>
          <p:cNvSpPr>
            <a:spLocks noGrp="1"/>
          </p:cNvSpPr>
          <p:nvPr>
            <p:ph type="body" idx="28" hasCustomPrompt="1"/>
          </p:nvPr>
        </p:nvSpPr>
        <p:spPr>
          <a:xfrm>
            <a:off x="1566478" y="3241800"/>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dirty="0">
                <a:solidFill>
                  <a:srgbClr val="59B8CD"/>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1" name="Text Placeholder 2">
            <a:extLst>
              <a:ext uri="{FF2B5EF4-FFF2-40B4-BE49-F238E27FC236}">
                <a16:creationId xmlns:a16="http://schemas.microsoft.com/office/drawing/2014/main" id="{D972A27B-5FE9-5123-62C7-9C8C9C1D57F2}"/>
              </a:ext>
            </a:extLst>
          </p:cNvPr>
          <p:cNvSpPr>
            <a:spLocks noGrp="1"/>
          </p:cNvSpPr>
          <p:nvPr>
            <p:ph type="body" idx="30" hasCustomPrompt="1"/>
          </p:nvPr>
        </p:nvSpPr>
        <p:spPr>
          <a:xfrm>
            <a:off x="2787876"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12" name="Text Placeholder 2">
            <a:extLst>
              <a:ext uri="{FF2B5EF4-FFF2-40B4-BE49-F238E27FC236}">
                <a16:creationId xmlns:a16="http://schemas.microsoft.com/office/drawing/2014/main" id="{5A1BC2BA-E6B4-90A0-C022-78F37C4E6FFD}"/>
              </a:ext>
            </a:extLst>
          </p:cNvPr>
          <p:cNvSpPr>
            <a:spLocks noGrp="1"/>
          </p:cNvSpPr>
          <p:nvPr>
            <p:ph type="body" idx="31" hasCustomPrompt="1"/>
          </p:nvPr>
        </p:nvSpPr>
        <p:spPr>
          <a:xfrm>
            <a:off x="5907989" y="3241800"/>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a:solidFill>
                  <a:srgbClr val="59B8CD"/>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3" name="Text Placeholder 2">
            <a:extLst>
              <a:ext uri="{FF2B5EF4-FFF2-40B4-BE49-F238E27FC236}">
                <a16:creationId xmlns:a16="http://schemas.microsoft.com/office/drawing/2014/main" id="{C1FA68B7-2EF4-D236-0A6E-06B23F2F0052}"/>
              </a:ext>
            </a:extLst>
          </p:cNvPr>
          <p:cNvSpPr>
            <a:spLocks noGrp="1"/>
          </p:cNvSpPr>
          <p:nvPr>
            <p:ph type="body" idx="33" hasCustomPrompt="1"/>
          </p:nvPr>
        </p:nvSpPr>
        <p:spPr>
          <a:xfrm>
            <a:off x="7129387" y="4186290"/>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14" name="Text Placeholder 2">
            <a:extLst>
              <a:ext uri="{FF2B5EF4-FFF2-40B4-BE49-F238E27FC236}">
                <a16:creationId xmlns:a16="http://schemas.microsoft.com/office/drawing/2014/main" id="{23564644-4A77-F1C0-E507-494EC73074B0}"/>
              </a:ext>
            </a:extLst>
          </p:cNvPr>
          <p:cNvSpPr>
            <a:spLocks noGrp="1"/>
          </p:cNvSpPr>
          <p:nvPr>
            <p:ph type="body" idx="22" hasCustomPrompt="1"/>
          </p:nvPr>
        </p:nvSpPr>
        <p:spPr>
          <a:xfrm>
            <a:off x="3580487" y="1042936"/>
            <a:ext cx="1932599" cy="1932040"/>
          </a:xfrm>
          <a:blipFill dpi="0" rotWithShape="1">
            <a:blip r:embed="rId5">
              <a:alphaModFix amt="10000"/>
            </a:blip>
            <a:srcRect/>
            <a:stretch>
              <a:fillRect/>
            </a:stretch>
          </a:blipFill>
        </p:spPr>
        <p:txBody>
          <a:bodyPr vert="horz" wrap="square" lIns="0" tIns="0" rIns="0" bIns="0" rtlCol="0" anchor="ctr" anchorCtr="0">
            <a:noAutofit/>
          </a:bodyPr>
          <a:lstStyle>
            <a:lvl1pPr>
              <a:defRPr lang="en-GB" sz="3200" b="1" i="0" cap="none" baseline="0" dirty="0">
                <a:solidFill>
                  <a:srgbClr val="59B8CD"/>
                </a:solidFill>
                <a:latin typeface="Arial" panose="020B0604020202020204" pitchFamily="34" charset="0"/>
                <a:cs typeface="Arial" panose="020B0604020202020204" pitchFamily="34" charset="0"/>
              </a:defRPr>
            </a:lvl1pPr>
          </a:lstStyle>
          <a:p>
            <a:pPr lvl="0" algn="ctr">
              <a:lnSpc>
                <a:spcPct val="100000"/>
              </a:lnSpc>
              <a:spcBef>
                <a:spcPts val="0"/>
              </a:spcBef>
              <a:spcAft>
                <a:spcPts val="0"/>
              </a:spcAft>
              <a:buClr>
                <a:schemeClr val="accent3"/>
              </a:buClr>
              <a:buNone/>
            </a:pPr>
            <a:r>
              <a:rPr lang="en-GB"/>
              <a:t>#.</a:t>
            </a:r>
          </a:p>
        </p:txBody>
      </p:sp>
      <p:sp>
        <p:nvSpPr>
          <p:cNvPr id="15" name="Text Placeholder 2">
            <a:extLst>
              <a:ext uri="{FF2B5EF4-FFF2-40B4-BE49-F238E27FC236}">
                <a16:creationId xmlns:a16="http://schemas.microsoft.com/office/drawing/2014/main" id="{D1944BC7-FE29-16AC-E44D-38DCED357A7B}"/>
              </a:ext>
            </a:extLst>
          </p:cNvPr>
          <p:cNvSpPr>
            <a:spLocks noGrp="1"/>
          </p:cNvSpPr>
          <p:nvPr>
            <p:ph type="body" idx="24" hasCustomPrompt="1"/>
          </p:nvPr>
        </p:nvSpPr>
        <p:spPr>
          <a:xfrm>
            <a:off x="4801885"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sp>
        <p:nvSpPr>
          <p:cNvPr id="20" name="Text Placeholder 2">
            <a:extLst>
              <a:ext uri="{FF2B5EF4-FFF2-40B4-BE49-F238E27FC236}">
                <a16:creationId xmlns:a16="http://schemas.microsoft.com/office/drawing/2014/main" id="{6BF266A5-A39A-AA50-EA72-BAB275D5FAB0}"/>
              </a:ext>
            </a:extLst>
          </p:cNvPr>
          <p:cNvSpPr>
            <a:spLocks noGrp="1"/>
          </p:cNvSpPr>
          <p:nvPr>
            <p:ph type="body" idx="34" hasCustomPrompt="1"/>
          </p:nvPr>
        </p:nvSpPr>
        <p:spPr>
          <a:xfrm>
            <a:off x="8562900" y="1987426"/>
            <a:ext cx="2867026" cy="215444"/>
          </a:xfrm>
        </p:spPr>
        <p:txBody>
          <a:bodyPr anchor="t" anchorCtr="0"/>
          <a:lstStyle>
            <a:lvl1pPr marL="0" indent="0" algn="l">
              <a:spcBef>
                <a:spcPts val="0"/>
              </a:spcBef>
              <a:spcAft>
                <a:spcPts val="0"/>
              </a:spcAft>
              <a:buClr>
                <a:schemeClr val="accent3"/>
              </a:buClr>
              <a:buFont typeface="Arial" panose="020B0604020202020204" pitchFamily="34" charset="0"/>
              <a:buNone/>
              <a:defRPr sz="1400" b="1" cap="none" baseline="0">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GB"/>
              <a:t>Text</a:t>
            </a:r>
          </a:p>
        </p:txBody>
      </p:sp>
      <p:pic>
        <p:nvPicPr>
          <p:cNvPr id="4" name="Picture 3">
            <a:extLst>
              <a:ext uri="{FF2B5EF4-FFF2-40B4-BE49-F238E27FC236}">
                <a16:creationId xmlns:a16="http://schemas.microsoft.com/office/drawing/2014/main" id="{7EA7C225-4FBF-0E0F-6791-23EE2D65E4B9}"/>
              </a:ext>
            </a:extLst>
          </p:cNvPr>
          <p:cNvPicPr>
            <a:picLocks noChangeAspect="1"/>
          </p:cNvPicPr>
          <p:nvPr userDrawn="1"/>
        </p:nvPicPr>
        <p:blipFill>
          <a:blip r:embed="rId6">
            <a:alphaModFix amt="30000"/>
          </a:blip>
          <a:stretch>
            <a:fillRect/>
          </a:stretch>
        </p:blipFill>
        <p:spPr>
          <a:xfrm>
            <a:off x="1" y="3460750"/>
            <a:ext cx="1468603" cy="3397250"/>
          </a:xfrm>
          <a:prstGeom prst="rect">
            <a:avLst/>
          </a:prstGeom>
        </p:spPr>
      </p:pic>
      <p:pic>
        <p:nvPicPr>
          <p:cNvPr id="7" name="Picture 6">
            <a:extLst>
              <a:ext uri="{FF2B5EF4-FFF2-40B4-BE49-F238E27FC236}">
                <a16:creationId xmlns:a16="http://schemas.microsoft.com/office/drawing/2014/main" id="{EA0042E5-4208-A061-3987-E105DFA60E2F}"/>
              </a:ext>
            </a:extLst>
          </p:cNvPr>
          <p:cNvPicPr>
            <a:picLocks noChangeAspect="1"/>
          </p:cNvPicPr>
          <p:nvPr userDrawn="1"/>
        </p:nvPicPr>
        <p:blipFill>
          <a:blip r:embed="rId7">
            <a:alphaModFix amt="5000"/>
          </a:blip>
          <a:stretch>
            <a:fillRect/>
          </a:stretch>
        </p:blipFill>
        <p:spPr>
          <a:xfrm>
            <a:off x="1667810" y="4422025"/>
            <a:ext cx="8857129" cy="2436534"/>
          </a:xfrm>
          <a:prstGeom prst="rect">
            <a:avLst/>
          </a:prstGeom>
        </p:spPr>
      </p:pic>
      <p:pic>
        <p:nvPicPr>
          <p:cNvPr id="21" name="Picture 20">
            <a:extLst>
              <a:ext uri="{FF2B5EF4-FFF2-40B4-BE49-F238E27FC236}">
                <a16:creationId xmlns:a16="http://schemas.microsoft.com/office/drawing/2014/main" id="{F87E258A-BEA4-937B-E9C7-E48505C2D938}"/>
              </a:ext>
            </a:extLst>
          </p:cNvPr>
          <p:cNvPicPr>
            <a:picLocks noChangeAspect="1"/>
          </p:cNvPicPr>
          <p:nvPr userDrawn="1"/>
        </p:nvPicPr>
        <p:blipFill>
          <a:blip r:embed="rId8">
            <a:alphaModFix amt="10000"/>
          </a:blip>
          <a:stretch>
            <a:fillRect/>
          </a:stretch>
        </p:blipFill>
        <p:spPr>
          <a:xfrm>
            <a:off x="8985956" y="2868256"/>
            <a:ext cx="3206044" cy="3989744"/>
          </a:xfrm>
          <a:prstGeom prst="rect">
            <a:avLst/>
          </a:prstGeom>
        </p:spPr>
      </p:pic>
      <p:pic>
        <p:nvPicPr>
          <p:cNvPr id="23" name="Picture 22">
            <a:extLst>
              <a:ext uri="{FF2B5EF4-FFF2-40B4-BE49-F238E27FC236}">
                <a16:creationId xmlns:a16="http://schemas.microsoft.com/office/drawing/2014/main" id="{96DB2525-93A1-DC34-6FCB-C7146FA3DF98}"/>
              </a:ext>
            </a:extLst>
          </p:cNvPr>
          <p:cNvPicPr>
            <a:picLocks noChangeAspect="1"/>
          </p:cNvPicPr>
          <p:nvPr userDrawn="1"/>
        </p:nvPicPr>
        <p:blipFill>
          <a:blip r:embed="rId9">
            <a:alphaModFix/>
          </a:blip>
          <a:stretch>
            <a:fillRect/>
          </a:stretch>
        </p:blipFill>
        <p:spPr>
          <a:xfrm>
            <a:off x="9634558" y="239295"/>
            <a:ext cx="2100243" cy="590578"/>
          </a:xfrm>
          <a:prstGeom prst="rect">
            <a:avLst/>
          </a:prstGeom>
        </p:spPr>
      </p:pic>
      <p:cxnSp>
        <p:nvCxnSpPr>
          <p:cNvPr id="2" name="Straight Connector 1">
            <a:extLst>
              <a:ext uri="{FF2B5EF4-FFF2-40B4-BE49-F238E27FC236}">
                <a16:creationId xmlns:a16="http://schemas.microsoft.com/office/drawing/2014/main" id="{1F134194-2FC6-2C7B-9983-14D11DB8C89E}"/>
              </a:ext>
            </a:extLst>
          </p:cNvPr>
          <p:cNvCxnSpPr>
            <a:cxnSpLocks/>
          </p:cNvCxnSpPr>
          <p:nvPr userDrawn="1"/>
        </p:nvCxnSpPr>
        <p:spPr>
          <a:xfrm>
            <a:off x="438150" y="6352539"/>
            <a:ext cx="1130935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a:extLst>
              <a:ext uri="{FF2B5EF4-FFF2-40B4-BE49-F238E27FC236}">
                <a16:creationId xmlns:a16="http://schemas.microsoft.com/office/drawing/2014/main" id="{C773D189-357D-3327-B9DC-8F7CC8ECBD8B}"/>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17407205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10/2/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260677678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1" y="622801"/>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428040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7"/>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09723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4_Title Slide">
    <p:bg>
      <p:bgPr>
        <a:solidFill>
          <a:srgbClr val="1F467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6711860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0" name="Subtitle 2">
            <a:extLst>
              <a:ext uri="{FF2B5EF4-FFF2-40B4-BE49-F238E27FC236}">
                <a16:creationId xmlns:a16="http://schemas.microsoft.com/office/drawing/2014/main" id="{94B367C2-42FA-4BB9-9934-E0D86C36B508}"/>
              </a:ext>
            </a:extLst>
          </p:cNvPr>
          <p:cNvSpPr>
            <a:spLocks noGrp="1"/>
          </p:cNvSpPr>
          <p:nvPr>
            <p:ph type="subTitle" idx="1" hasCustomPrompt="1"/>
          </p:nvPr>
        </p:nvSpPr>
        <p:spPr>
          <a:xfrm>
            <a:off x="441325" y="5722207"/>
            <a:ext cx="2835687" cy="307777"/>
          </a:xfrm>
        </p:spPr>
        <p:txBody>
          <a:bodyPr anchor="t" anchorCtr="0"/>
          <a:lstStyle>
            <a:lvl1pPr marL="0" indent="0" algn="l" rtl="0">
              <a:buNone/>
              <a:defRPr sz="20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Date goes here</a:t>
            </a:r>
          </a:p>
        </p:txBody>
      </p:sp>
      <p:sp>
        <p:nvSpPr>
          <p:cNvPr id="11" name="Text Placeholder 2">
            <a:extLst>
              <a:ext uri="{FF2B5EF4-FFF2-40B4-BE49-F238E27FC236}">
                <a16:creationId xmlns:a16="http://schemas.microsoft.com/office/drawing/2014/main" id="{7ED56106-0FE6-4611-8084-FACE1032A4BA}"/>
              </a:ext>
            </a:extLst>
          </p:cNvPr>
          <p:cNvSpPr>
            <a:spLocks noGrp="1"/>
          </p:cNvSpPr>
          <p:nvPr>
            <p:ph type="body" idx="10" hasCustomPrompt="1"/>
          </p:nvPr>
        </p:nvSpPr>
        <p:spPr>
          <a:xfrm>
            <a:off x="443191" y="6039049"/>
            <a:ext cx="5529592" cy="307777"/>
          </a:xfrm>
        </p:spPr>
        <p:txBody>
          <a:bodyPr anchor="t" anchorCtr="0"/>
          <a:lstStyle>
            <a:lvl1pPr marL="0" indent="0" rtl="0">
              <a:buNone/>
              <a:defRPr sz="2000" b="1">
                <a:solidFill>
                  <a:schemeClr val="bg1"/>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Location goes here</a:t>
            </a:r>
          </a:p>
        </p:txBody>
      </p:sp>
      <p:pic>
        <p:nvPicPr>
          <p:cNvPr id="13" name="Picture 12">
            <a:extLst>
              <a:ext uri="{FF2B5EF4-FFF2-40B4-BE49-F238E27FC236}">
                <a16:creationId xmlns:a16="http://schemas.microsoft.com/office/drawing/2014/main" id="{90171304-95B1-4931-AC11-212B7F34C485}"/>
              </a:ext>
            </a:extLst>
          </p:cNvPr>
          <p:cNvPicPr>
            <a:picLocks noChangeAspect="1"/>
          </p:cNvPicPr>
          <p:nvPr userDrawn="1"/>
        </p:nvPicPr>
        <p:blipFill>
          <a:blip r:embed="rId6" cstate="print">
            <a:alphaModFix/>
            <a:extLst>
              <a:ext uri="{28A0092B-C50C-407E-A947-70E740481C1C}">
                <a14:useLocalDpi xmlns:a14="http://schemas.microsoft.com/office/drawing/2010/main"/>
              </a:ext>
            </a:extLst>
          </a:blip>
          <a:stretch>
            <a:fillRect/>
          </a:stretch>
        </p:blipFill>
        <p:spPr>
          <a:xfrm>
            <a:off x="308008" y="372645"/>
            <a:ext cx="3067017" cy="862430"/>
          </a:xfrm>
          <a:prstGeom prst="rect">
            <a:avLst/>
          </a:prstGeom>
        </p:spPr>
      </p:pic>
      <p:sp>
        <p:nvSpPr>
          <p:cNvPr id="18" name="Title 4">
            <a:extLst>
              <a:ext uri="{FF2B5EF4-FFF2-40B4-BE49-F238E27FC236}">
                <a16:creationId xmlns:a16="http://schemas.microsoft.com/office/drawing/2014/main" id="{1D0BD9B2-206F-4B58-927B-F7FFB44AB1F8}"/>
              </a:ext>
            </a:extLst>
          </p:cNvPr>
          <p:cNvSpPr>
            <a:spLocks noGrp="1"/>
          </p:cNvSpPr>
          <p:nvPr>
            <p:ph type="title" hasCustomPrompt="1"/>
          </p:nvPr>
        </p:nvSpPr>
        <p:spPr>
          <a:xfrm>
            <a:off x="406513" y="2708508"/>
            <a:ext cx="5566270" cy="615553"/>
          </a:xfrm>
        </p:spPr>
        <p:txBody>
          <a:bodyPr vert="horz" lIns="0" tIns="0" rIns="0" bIns="0" anchor="t"/>
          <a:lstStyle>
            <a:lvl1pPr rtl="0">
              <a:defRPr sz="2800" cap="all" baseline="0">
                <a:solidFill>
                  <a:schemeClr val="bg1"/>
                </a:solidFill>
                <a:latin typeface="+mj-lt"/>
                <a:ea typeface="+mj-ea"/>
                <a:cs typeface="+mj-cs"/>
              </a:defRPr>
            </a:lvl1pPr>
          </a:lstStyle>
          <a:p>
            <a:r>
              <a:rPr lang="en-US"/>
              <a:t>Click to add title</a:t>
            </a:r>
          </a:p>
        </p:txBody>
      </p:sp>
      <p:sp>
        <p:nvSpPr>
          <p:cNvPr id="20" name="Text Placeholder 31">
            <a:extLst>
              <a:ext uri="{FF2B5EF4-FFF2-40B4-BE49-F238E27FC236}">
                <a16:creationId xmlns:a16="http://schemas.microsoft.com/office/drawing/2014/main" id="{014DC94E-C347-423B-B3EA-6900F32EEC43}"/>
              </a:ext>
            </a:extLst>
          </p:cNvPr>
          <p:cNvSpPr>
            <a:spLocks noGrp="1"/>
          </p:cNvSpPr>
          <p:nvPr>
            <p:ph type="body" sz="quarter" idx="12" hasCustomPrompt="1"/>
          </p:nvPr>
        </p:nvSpPr>
        <p:spPr>
          <a:xfrm>
            <a:off x="406514" y="3736451"/>
            <a:ext cx="2918011" cy="276999"/>
          </a:xfrm>
        </p:spPr>
        <p:txBody>
          <a:bodyPr/>
          <a:lstStyle>
            <a:lvl1pPr rtl="0">
              <a:lnSpc>
                <a:spcPct val="90000"/>
              </a:lnSpc>
              <a:spcBef>
                <a:spcPts val="1000"/>
              </a:spcBef>
              <a:spcAft>
                <a:spcPts val="0"/>
              </a:spcAft>
              <a:defRPr kumimoji="0" lang="en-US" sz="2000" b="1" i="0" u="none" strike="noStrike" kern="1200" cap="all" spc="0" normalizeH="0" baseline="0" dirty="0">
                <a:ln>
                  <a:noFill/>
                </a:ln>
                <a:solidFill>
                  <a:srgbClr val="FFD300"/>
                </a:solidFill>
                <a:effectLst/>
                <a:uLnTx/>
                <a:uFillTx/>
                <a:latin typeface="Arial" panose="020B0604020202020204" pitchFamily="34" charset="0"/>
                <a:ea typeface="+mj-ea"/>
                <a:cs typeface="Arial" panose="020B0604020202020204" pitchFamily="34" charset="0"/>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pic>
        <p:nvPicPr>
          <p:cNvPr id="5" name="Picture 4" descr="A baby being vaccinated by a nurse&#10;&#10;Description automatically generated">
            <a:extLst>
              <a:ext uri="{FF2B5EF4-FFF2-40B4-BE49-F238E27FC236}">
                <a16:creationId xmlns:a16="http://schemas.microsoft.com/office/drawing/2014/main" id="{9BD065FD-049D-8924-4FA5-172145B99699}"/>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20376" y="0"/>
            <a:ext cx="4571624" cy="6858000"/>
          </a:xfrm>
          <a:prstGeom prst="rect">
            <a:avLst/>
          </a:prstGeom>
        </p:spPr>
      </p:pic>
      <p:sp>
        <p:nvSpPr>
          <p:cNvPr id="6" name="Content Placeholder 5">
            <a:extLst>
              <a:ext uri="{FF2B5EF4-FFF2-40B4-BE49-F238E27FC236}">
                <a16:creationId xmlns:a16="http://schemas.microsoft.com/office/drawing/2014/main" id="{18BB2693-71E1-16DB-1C8C-F0445C55D53C}"/>
              </a:ext>
            </a:extLst>
          </p:cNvPr>
          <p:cNvSpPr>
            <a:spLocks noGrp="1"/>
          </p:cNvSpPr>
          <p:nvPr>
            <p:ph sz="quarter" idx="13"/>
          </p:nvPr>
        </p:nvSpPr>
        <p:spPr>
          <a:xfrm>
            <a:off x="10539413" y="1419225"/>
            <a:ext cx="914400" cy="9144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6300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2_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0E7265-63AD-468D-B7A2-36892729672B}"/>
              </a:ext>
            </a:extLst>
          </p:cNvPr>
          <p:cNvGraphicFramePr>
            <a:graphicFrameLocks noChangeAspect="1"/>
          </p:cNvGraphicFramePr>
          <p:nvPr userDrawn="1">
            <p:custDataLst>
              <p:tags r:id="rId1"/>
            </p:custDataLst>
            <p:extLst>
              <p:ext uri="{D42A27DB-BD31-4B8C-83A1-F6EECF244321}">
                <p14:modId xmlns:p14="http://schemas.microsoft.com/office/powerpoint/2010/main" val="191994626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3" name="think-cell data - do not delete" hidden="1">
                        <a:extLst>
                          <a:ext uri="{FF2B5EF4-FFF2-40B4-BE49-F238E27FC236}">
                            <a16:creationId xmlns:a16="http://schemas.microsoft.com/office/drawing/2014/main" id="{9A0E7265-63AD-468D-B7A2-36892729672B}"/>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20635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Trebuchet MS" panose="020B0603020202020204" pitchFamily="34" charset="0"/>
            </a:endParaRPr>
          </a:p>
        </p:txBody>
      </p:sp>
      <p:sp>
        <p:nvSpPr>
          <p:cNvPr id="19"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4"/>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 name="Title 1">
            <a:extLst>
              <a:ext uri="{FF2B5EF4-FFF2-40B4-BE49-F238E27FC236}">
                <a16:creationId xmlns:a16="http://schemas.microsoft.com/office/drawing/2014/main" id="{E3A87093-F4D2-4514-B35F-8C06387CA4C8}"/>
              </a:ext>
            </a:extLst>
          </p:cNvPr>
          <p:cNvSpPr>
            <a:spLocks noGrp="1"/>
          </p:cNvSpPr>
          <p:nvPr>
            <p:ph type="title" hasCustomPrompt="1"/>
          </p:nvPr>
        </p:nvSpPr>
        <p:spPr>
          <a:xfrm>
            <a:off x="438152" y="377824"/>
            <a:ext cx="4636771" cy="365760"/>
          </a:xfrm>
        </p:spPr>
        <p:txBody>
          <a:bodyPr vert="horz"/>
          <a:lstStyle>
            <a:lvl1pPr>
              <a:defRPr sz="2400">
                <a:solidFill>
                  <a:schemeClr val="bg1"/>
                </a:solidFill>
              </a:defRPr>
            </a:lvl1pPr>
          </a:lstStyle>
          <a:p>
            <a:r>
              <a:rPr lang="en-US"/>
              <a:t>Click to add title</a:t>
            </a:r>
          </a:p>
        </p:txBody>
      </p:sp>
      <p:sp>
        <p:nvSpPr>
          <p:cNvPr id="17" name="Slide Number Placeholder 5">
            <a:extLst>
              <a:ext uri="{FF2B5EF4-FFF2-40B4-BE49-F238E27FC236}">
                <a16:creationId xmlns:a16="http://schemas.microsoft.com/office/drawing/2014/main" id="{48DB0362-71D3-4D03-81F3-FFD49671C7D7}"/>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sp>
        <p:nvSpPr>
          <p:cNvPr id="5" name="Text Placeholder 13">
            <a:extLst>
              <a:ext uri="{FF2B5EF4-FFF2-40B4-BE49-F238E27FC236}">
                <a16:creationId xmlns:a16="http://schemas.microsoft.com/office/drawing/2014/main" id="{C5E91A01-9922-CABD-F1DD-226F92A8962A}"/>
              </a:ext>
            </a:extLst>
          </p:cNvPr>
          <p:cNvSpPr>
            <a:spLocks noGrp="1"/>
          </p:cNvSpPr>
          <p:nvPr>
            <p:ph type="body" sz="quarter" idx="10" hasCustomPrompt="1"/>
          </p:nvPr>
        </p:nvSpPr>
        <p:spPr>
          <a:xfrm>
            <a:off x="450850" y="6443762"/>
            <a:ext cx="5645150" cy="153888"/>
          </a:xfrm>
        </p:spPr>
        <p:txBody>
          <a:bodyPr anchor="ctr"/>
          <a:lstStyle>
            <a:lvl1pPr>
              <a:buNone/>
              <a:defRPr sz="1000">
                <a:solidFill>
                  <a:srgbClr val="FFFFFF"/>
                </a:solidFill>
              </a:defRPr>
            </a:lvl1pPr>
          </a:lstStyle>
          <a:p>
            <a:pPr lvl="0"/>
            <a:r>
              <a:rPr lang="en-US"/>
              <a:t>Slide Presentation Name | Date</a:t>
            </a:r>
          </a:p>
        </p:txBody>
      </p:sp>
    </p:spTree>
    <p:extLst>
      <p:ext uri="{BB962C8B-B14F-4D97-AF65-F5344CB8AC3E}">
        <p14:creationId xmlns:p14="http://schemas.microsoft.com/office/powerpoint/2010/main" val="3707529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6200173" y="6397385"/>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58210202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374808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5959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5"/>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353042711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grpSp>
        <p:nvGrpSpPr>
          <p:cNvPr id="6" name="Group 5">
            <a:extLst>
              <a:ext uri="{FF2B5EF4-FFF2-40B4-BE49-F238E27FC236}">
                <a16:creationId xmlns:a16="http://schemas.microsoft.com/office/drawing/2014/main" id="{AE9F3002-80B5-44B6-3F3D-747CF0D33100}"/>
              </a:ext>
            </a:extLst>
          </p:cNvPr>
          <p:cNvGrpSpPr/>
          <p:nvPr userDrawn="1"/>
        </p:nvGrpSpPr>
        <p:grpSpPr bwMode="gray">
          <a:xfrm>
            <a:off x="9066230" y="5920498"/>
            <a:ext cx="2515543" cy="569706"/>
            <a:chOff x="5525840" y="3530278"/>
            <a:chExt cx="1886657" cy="569706"/>
          </a:xfrm>
        </p:grpSpPr>
        <p:sp>
          <p:nvSpPr>
            <p:cNvPr id="8" name="TextBox 7">
              <a:extLst>
                <a:ext uri="{FF2B5EF4-FFF2-40B4-BE49-F238E27FC236}">
                  <a16:creationId xmlns:a16="http://schemas.microsoft.com/office/drawing/2014/main" id="{B7BF8B1B-F548-5EE2-59C2-5AABDC412749}"/>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9" name="Group 8">
              <a:extLst>
                <a:ext uri="{FF2B5EF4-FFF2-40B4-BE49-F238E27FC236}">
                  <a16:creationId xmlns:a16="http://schemas.microsoft.com/office/drawing/2014/main" id="{08FFB544-BDF6-8CF9-138A-8BC551253F56}"/>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5C31EE96-D171-A788-BA89-3028686FA51B}"/>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0194DF7C-653F-2D35-AE6E-42CF2D4720B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17710137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5"/>
          </a:xfrm>
          <a:prstGeom prst="rect">
            <a:avLst/>
          </a:prstGeom>
        </p:spPr>
      </p:pic>
    </p:spTree>
    <p:extLst>
      <p:ext uri="{BB962C8B-B14F-4D97-AF65-F5344CB8AC3E}">
        <p14:creationId xmlns:p14="http://schemas.microsoft.com/office/powerpoint/2010/main" val="328930246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2235969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1"/>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72710051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grpSp>
        <p:nvGrpSpPr>
          <p:cNvPr id="3" name="Group 2">
            <a:extLst>
              <a:ext uri="{FF2B5EF4-FFF2-40B4-BE49-F238E27FC236}">
                <a16:creationId xmlns:a16="http://schemas.microsoft.com/office/drawing/2014/main" id="{DB433826-1358-EEEF-2440-6D45281EBAAC}"/>
              </a:ext>
            </a:extLst>
          </p:cNvPr>
          <p:cNvGrpSpPr/>
          <p:nvPr userDrawn="1"/>
        </p:nvGrpSpPr>
        <p:grpSpPr bwMode="gray">
          <a:xfrm>
            <a:off x="9066230" y="6150622"/>
            <a:ext cx="2515543" cy="569706"/>
            <a:chOff x="5525840" y="3530278"/>
            <a:chExt cx="1886657" cy="569706"/>
          </a:xfrm>
        </p:grpSpPr>
        <p:sp>
          <p:nvSpPr>
            <p:cNvPr id="4" name="TextBox 3">
              <a:extLst>
                <a:ext uri="{FF2B5EF4-FFF2-40B4-BE49-F238E27FC236}">
                  <a16:creationId xmlns:a16="http://schemas.microsoft.com/office/drawing/2014/main" id="{16E7D80F-CAD2-AAC9-2F14-162C89E5FE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7" name="Group 6">
              <a:extLst>
                <a:ext uri="{FF2B5EF4-FFF2-40B4-BE49-F238E27FC236}">
                  <a16:creationId xmlns:a16="http://schemas.microsoft.com/office/drawing/2014/main" id="{48AF674A-DE8F-E43D-7BC6-1B7F09567430}"/>
                </a:ext>
              </a:extLst>
            </p:cNvPr>
            <p:cNvGrpSpPr/>
            <p:nvPr/>
          </p:nvGrpSpPr>
          <p:grpSpPr bwMode="gray">
            <a:xfrm>
              <a:off x="5525840" y="3618320"/>
              <a:ext cx="1879457" cy="481664"/>
              <a:chOff x="5525840" y="3618320"/>
              <a:chExt cx="1879457" cy="481664"/>
            </a:xfrm>
          </p:grpSpPr>
          <p:sp>
            <p:nvSpPr>
              <p:cNvPr id="10" name="TextBox 9">
                <a:extLst>
                  <a:ext uri="{FF2B5EF4-FFF2-40B4-BE49-F238E27FC236}">
                    <a16:creationId xmlns:a16="http://schemas.microsoft.com/office/drawing/2014/main" id="{B65D1AE1-3A62-4B24-FA76-10E8A5E3EA7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1" name="TextBox 10">
                <a:extLst>
                  <a:ext uri="{FF2B5EF4-FFF2-40B4-BE49-F238E27FC236}">
                    <a16:creationId xmlns:a16="http://schemas.microsoft.com/office/drawing/2014/main" id="{2BCA4763-326D-DAE6-3659-8318A5DD5400}"/>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313391579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1" y="1846372"/>
            <a:ext cx="9700351" cy="2743200"/>
          </a:xfrm>
        </p:spPr>
        <p:txBody>
          <a:bodyPr anchor="t" anchorCtr="0">
            <a:normAutofit/>
          </a:bodyPr>
          <a:lstStyle>
            <a:lvl1pPr marL="228589" indent="-228589">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4734773"/>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6785061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1"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1574801"/>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428063375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2"/>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1" y="1551944"/>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sz="1400">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2"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grpSp>
        <p:nvGrpSpPr>
          <p:cNvPr id="2" name="Group 1">
            <a:extLst>
              <a:ext uri="{FF2B5EF4-FFF2-40B4-BE49-F238E27FC236}">
                <a16:creationId xmlns:a16="http://schemas.microsoft.com/office/drawing/2014/main" id="{05C622BB-DF03-90FB-3644-0345AE2B7A23}"/>
              </a:ext>
            </a:extLst>
          </p:cNvPr>
          <p:cNvGrpSpPr/>
          <p:nvPr userDrawn="1"/>
        </p:nvGrpSpPr>
        <p:grpSpPr bwMode="gray">
          <a:xfrm>
            <a:off x="9066230" y="6150622"/>
            <a:ext cx="2515543" cy="569706"/>
            <a:chOff x="5525840" y="3530278"/>
            <a:chExt cx="1886657" cy="569706"/>
          </a:xfrm>
        </p:grpSpPr>
        <p:sp>
          <p:nvSpPr>
            <p:cNvPr id="3" name="TextBox 2">
              <a:extLst>
                <a:ext uri="{FF2B5EF4-FFF2-40B4-BE49-F238E27FC236}">
                  <a16:creationId xmlns:a16="http://schemas.microsoft.com/office/drawing/2014/main" id="{638791E5-93E4-EC81-F2B5-D80857BA630B}"/>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58E4568C-D1D4-56EE-4ED8-FA0540BF2830}"/>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3A276C3-B23F-E2FA-F41E-650DF128C3B1}"/>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FCF6A34C-1A83-66B9-3CAD-C8D967BE4C3F}"/>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142566094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1" y="1825626"/>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grpSp>
        <p:nvGrpSpPr>
          <p:cNvPr id="4" name="Group 3">
            <a:extLst>
              <a:ext uri="{FF2B5EF4-FFF2-40B4-BE49-F238E27FC236}">
                <a16:creationId xmlns:a16="http://schemas.microsoft.com/office/drawing/2014/main" id="{6E4B61D7-58A1-6402-AD27-44C951197CDE}"/>
              </a:ext>
            </a:extLst>
          </p:cNvPr>
          <p:cNvGrpSpPr/>
          <p:nvPr userDrawn="1"/>
        </p:nvGrpSpPr>
        <p:grpSpPr bwMode="gray">
          <a:xfrm>
            <a:off x="9066230" y="6000905"/>
            <a:ext cx="2515543" cy="569706"/>
            <a:chOff x="5525840" y="3530278"/>
            <a:chExt cx="1886657" cy="569706"/>
          </a:xfrm>
        </p:grpSpPr>
        <p:sp>
          <p:nvSpPr>
            <p:cNvPr id="9" name="TextBox 8">
              <a:extLst>
                <a:ext uri="{FF2B5EF4-FFF2-40B4-BE49-F238E27FC236}">
                  <a16:creationId xmlns:a16="http://schemas.microsoft.com/office/drawing/2014/main" id="{029E2931-BD83-BE34-2D35-33538AA24BAC}"/>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CC2F6DF-B53D-58CE-A841-5677F811E2AD}"/>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CC5FAA18-5A39-BF80-C615-5F33C842943A}"/>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34926F52-327F-A7CD-B51A-78A1AA0EC71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30856064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2644932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1"/>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4"/>
            <a:ext cx="3657600" cy="882921"/>
          </a:xfrm>
        </p:spPr>
        <p:txBody>
          <a:bodyPr>
            <a:normAutofit/>
          </a:bodyPr>
          <a:lstStyle>
            <a:lvl1pPr marL="0" indent="0">
              <a:buNone/>
              <a:defRPr sz="1200" b="0">
                <a:latin typeface="+mj-lt"/>
              </a:defRPr>
            </a:lvl1pPr>
          </a:lstStyle>
          <a:p>
            <a:pPr lvl="0"/>
            <a:r>
              <a:rPr lang="en-US"/>
              <a:t>Click to edit Master text styles</a:t>
            </a:r>
          </a:p>
        </p:txBody>
      </p:sp>
      <p:grpSp>
        <p:nvGrpSpPr>
          <p:cNvPr id="4" name="Group 3">
            <a:extLst>
              <a:ext uri="{FF2B5EF4-FFF2-40B4-BE49-F238E27FC236}">
                <a16:creationId xmlns:a16="http://schemas.microsoft.com/office/drawing/2014/main" id="{38030DC0-230D-36A8-4B91-61E6C083804F}"/>
              </a:ext>
            </a:extLst>
          </p:cNvPr>
          <p:cNvGrpSpPr/>
          <p:nvPr userDrawn="1"/>
        </p:nvGrpSpPr>
        <p:grpSpPr bwMode="gray">
          <a:xfrm>
            <a:off x="9066230" y="6150622"/>
            <a:ext cx="2515543" cy="569706"/>
            <a:chOff x="5525840" y="3530278"/>
            <a:chExt cx="1886657" cy="569706"/>
          </a:xfrm>
        </p:grpSpPr>
        <p:sp>
          <p:nvSpPr>
            <p:cNvPr id="9" name="TextBox 8">
              <a:extLst>
                <a:ext uri="{FF2B5EF4-FFF2-40B4-BE49-F238E27FC236}">
                  <a16:creationId xmlns:a16="http://schemas.microsoft.com/office/drawing/2014/main" id="{1EF4EDCF-6A1A-FC33-0223-40B098B753C3}"/>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2F84C012-B11B-653B-54F1-55B3A12FA02B}"/>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F8A76333-103C-7C28-03BB-8F2A8070301E}"/>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A3587607-4CF7-BD9D-9387-2B690463DEB8}"/>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99789014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179" indent="0">
              <a:buNone/>
              <a:defRPr sz="2000">
                <a:solidFill>
                  <a:srgbClr val="00205C"/>
                </a:solidFill>
              </a:defRPr>
            </a:lvl2pPr>
            <a:lvl3pPr marL="914358" indent="0">
              <a:buNone/>
              <a:defRPr sz="2000">
                <a:solidFill>
                  <a:srgbClr val="00205C"/>
                </a:solidFill>
              </a:defRPr>
            </a:lvl3pPr>
            <a:lvl4pPr marL="1371536" indent="0">
              <a:buNone/>
              <a:defRPr sz="2000">
                <a:solidFill>
                  <a:srgbClr val="00205C"/>
                </a:solidFill>
              </a:defRPr>
            </a:lvl4pPr>
            <a:lvl5pPr marL="1828715"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World Health Organization logo ">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grpSp>
        <p:nvGrpSpPr>
          <p:cNvPr id="4" name="Group 3">
            <a:extLst>
              <a:ext uri="{FF2B5EF4-FFF2-40B4-BE49-F238E27FC236}">
                <a16:creationId xmlns:a16="http://schemas.microsoft.com/office/drawing/2014/main" id="{761B2693-CD48-8C19-2CE7-2C2744CB1428}"/>
              </a:ext>
            </a:extLst>
          </p:cNvPr>
          <p:cNvGrpSpPr/>
          <p:nvPr userDrawn="1"/>
        </p:nvGrpSpPr>
        <p:grpSpPr bwMode="gray">
          <a:xfrm>
            <a:off x="9066230" y="6150622"/>
            <a:ext cx="2515543" cy="569706"/>
            <a:chOff x="5525840" y="3530278"/>
            <a:chExt cx="1886657" cy="569706"/>
          </a:xfrm>
        </p:grpSpPr>
        <p:sp>
          <p:nvSpPr>
            <p:cNvPr id="10" name="TextBox 9">
              <a:extLst>
                <a:ext uri="{FF2B5EF4-FFF2-40B4-BE49-F238E27FC236}">
                  <a16:creationId xmlns:a16="http://schemas.microsoft.com/office/drawing/2014/main" id="{4A68D0AC-A761-5D2F-553A-16ADF2479FC3}"/>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5DB3EDC-0B4D-0F95-0DE6-30262EE39F6E}"/>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1D3AD520-724F-81F6-DF70-29E2B85ABE0F}"/>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F0E7C653-F52E-76F1-4BE0-ED1333642D7B}"/>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60296978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grpSp>
        <p:nvGrpSpPr>
          <p:cNvPr id="3" name="Group 2">
            <a:extLst>
              <a:ext uri="{FF2B5EF4-FFF2-40B4-BE49-F238E27FC236}">
                <a16:creationId xmlns:a16="http://schemas.microsoft.com/office/drawing/2014/main" id="{94CAD921-B62B-B3CE-B992-C1A001AF2E71}"/>
              </a:ext>
            </a:extLst>
          </p:cNvPr>
          <p:cNvGrpSpPr/>
          <p:nvPr userDrawn="1"/>
        </p:nvGrpSpPr>
        <p:grpSpPr bwMode="gray">
          <a:xfrm>
            <a:off x="9066230" y="6150622"/>
            <a:ext cx="2515543" cy="569706"/>
            <a:chOff x="5525840" y="3530278"/>
            <a:chExt cx="1886657" cy="569706"/>
          </a:xfrm>
        </p:grpSpPr>
        <p:sp>
          <p:nvSpPr>
            <p:cNvPr id="8" name="TextBox 7">
              <a:extLst>
                <a:ext uri="{FF2B5EF4-FFF2-40B4-BE49-F238E27FC236}">
                  <a16:creationId xmlns:a16="http://schemas.microsoft.com/office/drawing/2014/main" id="{EBDDF05E-EFF5-0CC0-B4B6-A7314B891D9C}"/>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9" name="Group 8">
              <a:extLst>
                <a:ext uri="{FF2B5EF4-FFF2-40B4-BE49-F238E27FC236}">
                  <a16:creationId xmlns:a16="http://schemas.microsoft.com/office/drawing/2014/main" id="{B8E9038E-D2E7-31C9-A3B3-0A843F5B5831}"/>
                </a:ext>
              </a:extLst>
            </p:cNvPr>
            <p:cNvGrpSpPr/>
            <p:nvPr/>
          </p:nvGrpSpPr>
          <p:grpSpPr bwMode="gray">
            <a:xfrm>
              <a:off x="5525840" y="3618320"/>
              <a:ext cx="1879457" cy="481664"/>
              <a:chOff x="5525840" y="3618320"/>
              <a:chExt cx="1879457" cy="481664"/>
            </a:xfrm>
          </p:grpSpPr>
          <p:sp>
            <p:nvSpPr>
              <p:cNvPr id="10" name="TextBox 9">
                <a:extLst>
                  <a:ext uri="{FF2B5EF4-FFF2-40B4-BE49-F238E27FC236}">
                    <a16:creationId xmlns:a16="http://schemas.microsoft.com/office/drawing/2014/main" id="{7C425B1E-A301-AD63-854F-5B2AC5093A53}"/>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1" name="TextBox 10">
                <a:extLst>
                  <a:ext uri="{FF2B5EF4-FFF2-40B4-BE49-F238E27FC236}">
                    <a16:creationId xmlns:a16="http://schemas.microsoft.com/office/drawing/2014/main" id="{E6014833-B067-1FEE-7E67-CE904B7E1A1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398379253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414187986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404129"/>
            <a:ext cx="5154592" cy="320675"/>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grpSp>
        <p:nvGrpSpPr>
          <p:cNvPr id="4" name="Group 3">
            <a:extLst>
              <a:ext uri="{FF2B5EF4-FFF2-40B4-BE49-F238E27FC236}">
                <a16:creationId xmlns:a16="http://schemas.microsoft.com/office/drawing/2014/main" id="{CFCD2E78-5132-A696-9B63-A1354D59A563}"/>
              </a:ext>
            </a:extLst>
          </p:cNvPr>
          <p:cNvGrpSpPr/>
          <p:nvPr userDrawn="1"/>
        </p:nvGrpSpPr>
        <p:grpSpPr bwMode="gray">
          <a:xfrm>
            <a:off x="9066230" y="6150622"/>
            <a:ext cx="2515543" cy="569706"/>
            <a:chOff x="5525840" y="3530278"/>
            <a:chExt cx="1886657" cy="569706"/>
          </a:xfrm>
        </p:grpSpPr>
        <p:sp>
          <p:nvSpPr>
            <p:cNvPr id="9" name="TextBox 8">
              <a:extLst>
                <a:ext uri="{FF2B5EF4-FFF2-40B4-BE49-F238E27FC236}">
                  <a16:creationId xmlns:a16="http://schemas.microsoft.com/office/drawing/2014/main" id="{D3ABF59D-5D70-FDF0-CF80-EFD5B66B2394}"/>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485AC816-35B7-250E-E3D0-E5F0F263FF52}"/>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0A25F117-DC37-51D8-D88F-F82F039CEA2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001FD211-B43B-D568-D083-84DE589EC406}"/>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332932380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grpSp>
        <p:nvGrpSpPr>
          <p:cNvPr id="5" name="Group 4">
            <a:extLst>
              <a:ext uri="{FF2B5EF4-FFF2-40B4-BE49-F238E27FC236}">
                <a16:creationId xmlns:a16="http://schemas.microsoft.com/office/drawing/2014/main" id="{131489CF-008F-CD8F-2F30-1A30512F91B8}"/>
              </a:ext>
            </a:extLst>
          </p:cNvPr>
          <p:cNvGrpSpPr/>
          <p:nvPr userDrawn="1"/>
        </p:nvGrpSpPr>
        <p:grpSpPr bwMode="gray">
          <a:xfrm>
            <a:off x="9066230" y="6150622"/>
            <a:ext cx="2515543" cy="569706"/>
            <a:chOff x="5525840" y="3530278"/>
            <a:chExt cx="1886657" cy="569706"/>
          </a:xfrm>
        </p:grpSpPr>
        <p:sp>
          <p:nvSpPr>
            <p:cNvPr id="12" name="TextBox 11">
              <a:extLst>
                <a:ext uri="{FF2B5EF4-FFF2-40B4-BE49-F238E27FC236}">
                  <a16:creationId xmlns:a16="http://schemas.microsoft.com/office/drawing/2014/main" id="{B1855CDD-3340-0F87-ABE0-D283F07C72DD}"/>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C9589F93-EEA7-90B4-ACC8-8C61BFD0BA0C}"/>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3B42C3A4-878C-F727-CAA4-85F30192CB83}"/>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146B9C0B-2370-6DA3-ADC9-1389C8039D87}"/>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156178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grpSp>
        <p:nvGrpSpPr>
          <p:cNvPr id="5" name="Group 4">
            <a:extLst>
              <a:ext uri="{FF2B5EF4-FFF2-40B4-BE49-F238E27FC236}">
                <a16:creationId xmlns:a16="http://schemas.microsoft.com/office/drawing/2014/main" id="{C4E60EDD-C845-6BBF-4279-8672AF22F9F1}"/>
              </a:ext>
            </a:extLst>
          </p:cNvPr>
          <p:cNvGrpSpPr/>
          <p:nvPr userDrawn="1"/>
        </p:nvGrpSpPr>
        <p:grpSpPr bwMode="gray">
          <a:xfrm>
            <a:off x="9066230" y="6150622"/>
            <a:ext cx="2515543" cy="569706"/>
            <a:chOff x="5525840" y="3530278"/>
            <a:chExt cx="1886657" cy="569706"/>
          </a:xfrm>
        </p:grpSpPr>
        <p:sp>
          <p:nvSpPr>
            <p:cNvPr id="6" name="TextBox 5">
              <a:extLst>
                <a:ext uri="{FF2B5EF4-FFF2-40B4-BE49-F238E27FC236}">
                  <a16:creationId xmlns:a16="http://schemas.microsoft.com/office/drawing/2014/main" id="{321F45C6-72A5-B8CB-E48E-EB50F4B5E754}"/>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C3B0D2E-F58F-988B-7332-BAB5352AF35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986EBC08-8CDD-1D25-3BC9-89E85C1F9E0B}"/>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523D0E75-2B24-4997-99B6-00619ABB5FEE}"/>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9318821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grpSp>
        <p:nvGrpSpPr>
          <p:cNvPr id="4" name="Group 3">
            <a:extLst>
              <a:ext uri="{FF2B5EF4-FFF2-40B4-BE49-F238E27FC236}">
                <a16:creationId xmlns:a16="http://schemas.microsoft.com/office/drawing/2014/main" id="{3A78ACCA-FB72-4FF4-6D0E-E6B413A6EE09}"/>
              </a:ext>
            </a:extLst>
          </p:cNvPr>
          <p:cNvGrpSpPr/>
          <p:nvPr userDrawn="1"/>
        </p:nvGrpSpPr>
        <p:grpSpPr bwMode="gray">
          <a:xfrm>
            <a:off x="9066230" y="6150622"/>
            <a:ext cx="2515543" cy="569706"/>
            <a:chOff x="5525840" y="3530278"/>
            <a:chExt cx="1886657" cy="569706"/>
          </a:xfrm>
        </p:grpSpPr>
        <p:sp>
          <p:nvSpPr>
            <p:cNvPr id="5" name="TextBox 4">
              <a:extLst>
                <a:ext uri="{FF2B5EF4-FFF2-40B4-BE49-F238E27FC236}">
                  <a16:creationId xmlns:a16="http://schemas.microsoft.com/office/drawing/2014/main" id="{33DFE3D6-9944-367F-B2D7-2CBC03A0DDD4}"/>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6" name="Group 5">
              <a:extLst>
                <a:ext uri="{FF2B5EF4-FFF2-40B4-BE49-F238E27FC236}">
                  <a16:creationId xmlns:a16="http://schemas.microsoft.com/office/drawing/2014/main" id="{30B4D964-4CE3-20F7-B1AB-B83F29141EAB}"/>
                </a:ext>
              </a:extLst>
            </p:cNvPr>
            <p:cNvGrpSpPr/>
            <p:nvPr/>
          </p:nvGrpSpPr>
          <p:grpSpPr bwMode="gray">
            <a:xfrm>
              <a:off x="5525840" y="3618320"/>
              <a:ext cx="1879457" cy="481664"/>
              <a:chOff x="5525840" y="3618320"/>
              <a:chExt cx="1879457" cy="481664"/>
            </a:xfrm>
          </p:grpSpPr>
          <p:sp>
            <p:nvSpPr>
              <p:cNvPr id="9" name="TextBox 8">
                <a:extLst>
                  <a:ext uri="{FF2B5EF4-FFF2-40B4-BE49-F238E27FC236}">
                    <a16:creationId xmlns:a16="http://schemas.microsoft.com/office/drawing/2014/main" id="{9A5173FF-629D-08FF-F5E4-EB36D1242E52}"/>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1F8826A7-CA0E-0835-F938-E5AD35D01952}"/>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127281637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grpSp>
        <p:nvGrpSpPr>
          <p:cNvPr id="4" name="Group 3">
            <a:extLst>
              <a:ext uri="{FF2B5EF4-FFF2-40B4-BE49-F238E27FC236}">
                <a16:creationId xmlns:a16="http://schemas.microsoft.com/office/drawing/2014/main" id="{4E8F902C-DD16-2C26-09FB-0A8F73940BBB}"/>
              </a:ext>
            </a:extLst>
          </p:cNvPr>
          <p:cNvGrpSpPr/>
          <p:nvPr userDrawn="1"/>
        </p:nvGrpSpPr>
        <p:grpSpPr bwMode="gray">
          <a:xfrm>
            <a:off x="9066230" y="6150622"/>
            <a:ext cx="2515543" cy="569706"/>
            <a:chOff x="5525840" y="3530278"/>
            <a:chExt cx="1886657" cy="569706"/>
          </a:xfrm>
        </p:grpSpPr>
        <p:sp>
          <p:nvSpPr>
            <p:cNvPr id="5" name="TextBox 4">
              <a:extLst>
                <a:ext uri="{FF2B5EF4-FFF2-40B4-BE49-F238E27FC236}">
                  <a16:creationId xmlns:a16="http://schemas.microsoft.com/office/drawing/2014/main" id="{A57B2654-A9AA-0129-9721-A6067B241EEA}"/>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6" name="Group 5">
              <a:extLst>
                <a:ext uri="{FF2B5EF4-FFF2-40B4-BE49-F238E27FC236}">
                  <a16:creationId xmlns:a16="http://schemas.microsoft.com/office/drawing/2014/main" id="{456513DA-9D4B-7FBB-6184-A8A64CED92A3}"/>
                </a:ext>
              </a:extLst>
            </p:cNvPr>
            <p:cNvGrpSpPr/>
            <p:nvPr/>
          </p:nvGrpSpPr>
          <p:grpSpPr bwMode="gray">
            <a:xfrm>
              <a:off x="5525840" y="3618320"/>
              <a:ext cx="1879457" cy="481664"/>
              <a:chOff x="5525840" y="3618320"/>
              <a:chExt cx="1879457" cy="481664"/>
            </a:xfrm>
          </p:grpSpPr>
          <p:sp>
            <p:nvSpPr>
              <p:cNvPr id="9" name="TextBox 8">
                <a:extLst>
                  <a:ext uri="{FF2B5EF4-FFF2-40B4-BE49-F238E27FC236}">
                    <a16:creationId xmlns:a16="http://schemas.microsoft.com/office/drawing/2014/main" id="{938307B7-018F-C4EF-AD93-5EF9B1A5DEC3}"/>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2DBCA165-27C1-228C-C1E4-B04ABF4B8B96}"/>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90010268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3"/>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2998280"/>
            <a:ext cx="5486399"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37867611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120026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1"/>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2"/>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4" name="Picture 13" descr="World Health Organization logo ">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193756282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1"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7353"/>
            <a:ext cx="1828795" cy="556812"/>
          </a:xfrm>
          <a:prstGeom prst="rect">
            <a:avLst/>
          </a:prstGeom>
        </p:spPr>
      </p:pic>
      <p:grpSp>
        <p:nvGrpSpPr>
          <p:cNvPr id="5" name="Group 4">
            <a:extLst>
              <a:ext uri="{FF2B5EF4-FFF2-40B4-BE49-F238E27FC236}">
                <a16:creationId xmlns:a16="http://schemas.microsoft.com/office/drawing/2014/main" id="{60CBD0ED-02E6-246B-45FF-969854005907}"/>
              </a:ext>
            </a:extLst>
          </p:cNvPr>
          <p:cNvGrpSpPr/>
          <p:nvPr userDrawn="1"/>
        </p:nvGrpSpPr>
        <p:grpSpPr bwMode="gray">
          <a:xfrm>
            <a:off x="9066230" y="6000905"/>
            <a:ext cx="2515543" cy="569706"/>
            <a:chOff x="5525840" y="3530278"/>
            <a:chExt cx="1886657" cy="569706"/>
          </a:xfrm>
        </p:grpSpPr>
        <p:sp>
          <p:nvSpPr>
            <p:cNvPr id="6" name="TextBox 5">
              <a:extLst>
                <a:ext uri="{FF2B5EF4-FFF2-40B4-BE49-F238E27FC236}">
                  <a16:creationId xmlns:a16="http://schemas.microsoft.com/office/drawing/2014/main" id="{3BD45B83-7A52-B2B0-F29D-43B18FB5549A}"/>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40E490CD-9AB5-3D6C-8761-20DC40E75AFF}"/>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10323500-4AA0-BAF2-947A-80FB0F35DCD4}"/>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9B51D632-C3F9-3F08-3EA0-EAC76A5A6959}"/>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409969259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179" indent="0">
              <a:buNone/>
              <a:defRPr sz="2800"/>
            </a:lvl2pPr>
            <a:lvl3pPr marL="914358" indent="0">
              <a:buNone/>
              <a:defRPr sz="2400"/>
            </a:lvl3pPr>
            <a:lvl4pPr marL="1371536" indent="0">
              <a:buNone/>
              <a:defRPr sz="2000"/>
            </a:lvl4pPr>
            <a:lvl5pPr marL="1828715" indent="0">
              <a:buNone/>
              <a:defRPr sz="2000"/>
            </a:lvl5pPr>
            <a:lvl6pPr marL="2285894" indent="0">
              <a:buNone/>
              <a:defRPr sz="2000"/>
            </a:lvl6pPr>
            <a:lvl7pPr marL="2743073" indent="0">
              <a:buNone/>
              <a:defRPr sz="2000"/>
            </a:lvl7pPr>
            <a:lvl8pPr marL="3200252" indent="0">
              <a:buNone/>
              <a:defRPr sz="2000"/>
            </a:lvl8pPr>
            <a:lvl9pPr marL="365743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37" indent="-285737">
              <a:spcBef>
                <a:spcPts val="1600"/>
              </a:spcBef>
              <a:buFont typeface="Arial" panose="020B0604020202020204" pitchFamily="34" charset="0"/>
              <a:buChar char="•"/>
              <a:defRPr sz="16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grpSp>
        <p:nvGrpSpPr>
          <p:cNvPr id="5" name="Group 4">
            <a:extLst>
              <a:ext uri="{FF2B5EF4-FFF2-40B4-BE49-F238E27FC236}">
                <a16:creationId xmlns:a16="http://schemas.microsoft.com/office/drawing/2014/main" id="{0C8497B5-5230-C170-B203-1FFD69457A9C}"/>
              </a:ext>
            </a:extLst>
          </p:cNvPr>
          <p:cNvGrpSpPr/>
          <p:nvPr userDrawn="1"/>
        </p:nvGrpSpPr>
        <p:grpSpPr bwMode="gray">
          <a:xfrm>
            <a:off x="9066230" y="6150622"/>
            <a:ext cx="2515543" cy="569706"/>
            <a:chOff x="5525840" y="3530278"/>
            <a:chExt cx="1886657" cy="569706"/>
          </a:xfrm>
        </p:grpSpPr>
        <p:sp>
          <p:nvSpPr>
            <p:cNvPr id="6" name="TextBox 5">
              <a:extLst>
                <a:ext uri="{FF2B5EF4-FFF2-40B4-BE49-F238E27FC236}">
                  <a16:creationId xmlns:a16="http://schemas.microsoft.com/office/drawing/2014/main" id="{993E965E-2F6B-43F0-43C3-2B1E73F672D6}"/>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9933B8C4-400A-F2A1-51C1-777484889950}"/>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8A94EB21-E0B6-00AA-F919-4E9C75FC9D1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3B3D0BA8-2C4F-0DE0-115D-A8231CE44F53}"/>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125931207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grpSp>
        <p:nvGrpSpPr>
          <p:cNvPr id="3" name="Group 2">
            <a:extLst>
              <a:ext uri="{FF2B5EF4-FFF2-40B4-BE49-F238E27FC236}">
                <a16:creationId xmlns:a16="http://schemas.microsoft.com/office/drawing/2014/main" id="{550A64E1-33F2-BB5D-A9D7-E2B070DE4C15}"/>
              </a:ext>
            </a:extLst>
          </p:cNvPr>
          <p:cNvGrpSpPr/>
          <p:nvPr userDrawn="1"/>
        </p:nvGrpSpPr>
        <p:grpSpPr bwMode="gray">
          <a:xfrm>
            <a:off x="9066230" y="6150622"/>
            <a:ext cx="2515543" cy="569706"/>
            <a:chOff x="5525840" y="3530278"/>
            <a:chExt cx="1886657" cy="569706"/>
          </a:xfrm>
        </p:grpSpPr>
        <p:sp>
          <p:nvSpPr>
            <p:cNvPr id="5" name="TextBox 4">
              <a:extLst>
                <a:ext uri="{FF2B5EF4-FFF2-40B4-BE49-F238E27FC236}">
                  <a16:creationId xmlns:a16="http://schemas.microsoft.com/office/drawing/2014/main" id="{F1920C4D-D401-0C4B-8E85-36A494CD3938}"/>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6" name="Group 5">
              <a:extLst>
                <a:ext uri="{FF2B5EF4-FFF2-40B4-BE49-F238E27FC236}">
                  <a16:creationId xmlns:a16="http://schemas.microsoft.com/office/drawing/2014/main" id="{6557B3E4-BF50-3028-1C47-E42DCDDF6EB1}"/>
                </a:ext>
              </a:extLst>
            </p:cNvPr>
            <p:cNvGrpSpPr/>
            <p:nvPr/>
          </p:nvGrpSpPr>
          <p:grpSpPr bwMode="gray">
            <a:xfrm>
              <a:off x="5525840" y="3618320"/>
              <a:ext cx="1879457" cy="481664"/>
              <a:chOff x="5525840" y="3618320"/>
              <a:chExt cx="1879457" cy="481664"/>
            </a:xfrm>
          </p:grpSpPr>
          <p:sp>
            <p:nvSpPr>
              <p:cNvPr id="10" name="TextBox 9">
                <a:extLst>
                  <a:ext uri="{FF2B5EF4-FFF2-40B4-BE49-F238E27FC236}">
                    <a16:creationId xmlns:a16="http://schemas.microsoft.com/office/drawing/2014/main" id="{B7BA17DC-00FD-970D-97C6-69FB3C75C696}"/>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1" name="TextBox 10">
                <a:extLst>
                  <a:ext uri="{FF2B5EF4-FFF2-40B4-BE49-F238E27FC236}">
                    <a16:creationId xmlns:a16="http://schemas.microsoft.com/office/drawing/2014/main" id="{07F6069E-E1FA-A680-E1F0-BAC27E0205DA}"/>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32847686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1"/>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245457329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370360849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241863587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1"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5852984"/>
            <a:ext cx="2314637" cy="704735"/>
          </a:xfrm>
          <a:prstGeom prst="rect">
            <a:avLst/>
          </a:prstGeom>
        </p:spPr>
      </p:pic>
    </p:spTree>
    <p:extLst>
      <p:ext uri="{BB962C8B-B14F-4D97-AF65-F5344CB8AC3E}">
        <p14:creationId xmlns:p14="http://schemas.microsoft.com/office/powerpoint/2010/main" val="7807685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07A3732-E7A9-B344-8DAE-D56547DA56A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5852984"/>
            <a:ext cx="2314637" cy="704736"/>
          </a:xfrm>
          <a:prstGeom prst="rect">
            <a:avLst/>
          </a:prstGeom>
        </p:spPr>
      </p:pic>
    </p:spTree>
    <p:extLst>
      <p:ext uri="{BB962C8B-B14F-4D97-AF65-F5344CB8AC3E}">
        <p14:creationId xmlns:p14="http://schemas.microsoft.com/office/powerpoint/2010/main" val="209516869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1AFBD7E-873F-FC49-A840-08A744808DF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5852984"/>
            <a:ext cx="2314637" cy="704735"/>
          </a:xfrm>
          <a:prstGeom prst="rect">
            <a:avLst/>
          </a:prstGeom>
        </p:spPr>
      </p:pic>
    </p:spTree>
    <p:extLst>
      <p:ext uri="{BB962C8B-B14F-4D97-AF65-F5344CB8AC3E}">
        <p14:creationId xmlns:p14="http://schemas.microsoft.com/office/powerpoint/2010/main" val="19015885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1301310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F07AB91-D215-9B41-9808-46FFB4D2758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26664170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1"/>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A501AEF-ABA1-5B46-9DF6-FA16A49F32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08887992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404957344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1"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1574801"/>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188717143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2"/>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7"/>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1" y="1551944"/>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sz="1400">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2"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52294661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1" y="1825626"/>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a:xfrm>
            <a:off x="457201" y="6351700"/>
            <a:ext cx="380035" cy="320675"/>
          </a:xfrm>
        </p:spPr>
        <p:txBody>
          <a:bodyPr/>
          <a:lstStyle>
            <a:lvl1pPr algn="l">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3EDB005-A3A8-244D-9176-D7DF06EAD0E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06006" y="6115562"/>
            <a:ext cx="1828795" cy="556812"/>
          </a:xfrm>
          <a:prstGeom prst="rect">
            <a:avLst/>
          </a:prstGeom>
        </p:spPr>
      </p:pic>
    </p:spTree>
    <p:extLst>
      <p:ext uri="{BB962C8B-B14F-4D97-AF65-F5344CB8AC3E}">
        <p14:creationId xmlns:p14="http://schemas.microsoft.com/office/powerpoint/2010/main" val="312967845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1"/>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3EDB005-A3A8-244D-9176-D7DF06EAD0E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Tree>
    <p:extLst>
      <p:ext uri="{BB962C8B-B14F-4D97-AF65-F5344CB8AC3E}">
        <p14:creationId xmlns:p14="http://schemas.microsoft.com/office/powerpoint/2010/main" val="169611748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179" indent="0">
              <a:buNone/>
              <a:defRPr sz="2000">
                <a:solidFill>
                  <a:srgbClr val="00205C"/>
                </a:solidFill>
              </a:defRPr>
            </a:lvl2pPr>
            <a:lvl3pPr marL="914358" indent="0">
              <a:buNone/>
              <a:defRPr sz="2000">
                <a:solidFill>
                  <a:srgbClr val="00205C"/>
                </a:solidFill>
              </a:defRPr>
            </a:lvl3pPr>
            <a:lvl4pPr marL="1371536" indent="0">
              <a:buNone/>
              <a:defRPr sz="2000">
                <a:solidFill>
                  <a:srgbClr val="00205C"/>
                </a:solidFill>
              </a:defRPr>
            </a:lvl4pPr>
            <a:lvl5pPr marL="1828715"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D77C92E-FD76-CA4F-9DDF-75EE90F0F37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26553637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55745735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38773598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62293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404129"/>
            <a:ext cx="5154592" cy="320675"/>
          </a:xfr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0D277E7-B8AB-6149-A9B0-222EC5A514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422322618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6B883BC-ECF6-C547-8C20-CE0694CA25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403448168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900D91A6-1DEF-C742-BB2B-4F0CE8BD171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79394192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E1CFAF92-E612-AE40-ABFE-2A513B425F3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100330204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B61AF795-8C85-814F-914D-9EBE0519A18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5014848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3"/>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2998280"/>
            <a:ext cx="5486399"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3318E81-63F9-2444-AF93-3EF243AFF18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168256531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1"/>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CAD4A73-8602-F84A-9C68-0647084B0CC7}"/>
              </a:ext>
            </a:extLst>
          </p:cNvPr>
          <p:cNvSpPr>
            <a:spLocks noGrp="1"/>
          </p:cNvSpPr>
          <p:nvPr>
            <p:ph type="ftr" sz="quarter" idx="11"/>
          </p:nvPr>
        </p:nvSpPr>
        <p:spPr/>
        <p:txBody>
          <a:bodyPr/>
          <a:lstStyle>
            <a:lvl1pPr>
              <a:defRPr>
                <a:solidFill>
                  <a:schemeClr val="bg1"/>
                </a:solidFill>
              </a:defRPr>
            </a:lvl1pPr>
          </a:lstStyle>
          <a:p>
            <a:endParaRPr lang="en-US"/>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2"/>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4" name="Picture 13">
            <a:extLst>
              <a:ext uri="{FF2B5EF4-FFF2-40B4-BE49-F238E27FC236}">
                <a16:creationId xmlns:a16="http://schemas.microsoft.com/office/drawing/2014/main" id="{60CC6A7D-F186-344A-AFAE-1F4FB8A6C3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396530638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114588A5-7D85-6341-A58F-B4539B4697EB}"/>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Lst>
          </p:cNvPr>
          <p:cNvCxnSpPr>
            <a:cxnSpLocks/>
          </p:cNvCxnSpPr>
          <p:nvPr userDrawn="1"/>
        </p:nvCxnSpPr>
        <p:spPr>
          <a:xfrm>
            <a:off x="457201"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95724E3-FDE3-2149-BB91-FE058CAA94B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62589234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179" indent="0">
              <a:buNone/>
              <a:defRPr sz="2800"/>
            </a:lvl2pPr>
            <a:lvl3pPr marL="914358" indent="0">
              <a:buNone/>
              <a:defRPr sz="2400"/>
            </a:lvl3pPr>
            <a:lvl4pPr marL="1371536" indent="0">
              <a:buNone/>
              <a:defRPr sz="2000"/>
            </a:lvl4pPr>
            <a:lvl5pPr marL="1828715" indent="0">
              <a:buNone/>
              <a:defRPr sz="2000"/>
            </a:lvl5pPr>
            <a:lvl6pPr marL="2285894" indent="0">
              <a:buNone/>
              <a:defRPr sz="2000"/>
            </a:lvl6pPr>
            <a:lvl7pPr marL="2743073" indent="0">
              <a:buNone/>
              <a:defRPr sz="2000"/>
            </a:lvl7pPr>
            <a:lvl8pPr marL="3200252" indent="0">
              <a:buNone/>
              <a:defRPr sz="2000"/>
            </a:lvl8pPr>
            <a:lvl9pPr marL="365743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37" indent="-285737">
              <a:spcBef>
                <a:spcPts val="1600"/>
              </a:spcBef>
              <a:buFont typeface="Arial" panose="020B0604020202020204" pitchFamily="34" charset="0"/>
              <a:buChar char="•"/>
              <a:defRPr sz="16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2992776-3670-F24B-B4C8-03460D5C00E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125413969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picTx" preserve="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179" indent="0">
              <a:buNone/>
              <a:defRPr sz="2800"/>
            </a:lvl2pPr>
            <a:lvl3pPr marL="914358" indent="0">
              <a:buNone/>
              <a:defRPr sz="2400"/>
            </a:lvl3pPr>
            <a:lvl4pPr marL="1371536" indent="0">
              <a:buNone/>
              <a:defRPr sz="2000"/>
            </a:lvl4pPr>
            <a:lvl5pPr marL="1828715" indent="0">
              <a:buNone/>
              <a:defRPr sz="2000"/>
            </a:lvl5pPr>
            <a:lvl6pPr marL="2285894" indent="0">
              <a:buNone/>
              <a:defRPr sz="2000"/>
            </a:lvl6pPr>
            <a:lvl7pPr marL="2743073" indent="0">
              <a:buNone/>
              <a:defRPr sz="2000"/>
            </a:lvl7pPr>
            <a:lvl8pPr marL="3200252" indent="0">
              <a:buNone/>
              <a:defRPr sz="2000"/>
            </a:lvl8pPr>
            <a:lvl9pPr marL="365743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484C8C0-9FE5-7B48-A8C7-062291516AD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2863031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GB"/>
              <a:t>Click to edit Master title styl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350288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1"/>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11531271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2"/>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7"/>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1" y="1551944"/>
            <a:ext cx="3973999" cy="3477249"/>
          </a:xfrm>
        </p:spPr>
        <p:txBody>
          <a:bodyPr/>
          <a:lstStyle>
            <a:lvl1pPr marL="0" indent="0">
              <a:buNone/>
              <a:defRPr/>
            </a:lvl1pPr>
          </a:lstStyle>
          <a:p>
            <a:r>
              <a:rPr lang="en-US"/>
              <a:t>Click icon to add pictur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2"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00207086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187C9B9-8BFB-4985-B40F-8AD235AA57D2}"/>
              </a:ext>
            </a:extLst>
          </p:cNvPr>
          <p:cNvSpPr>
            <a:spLocks noGrp="1"/>
          </p:cNvSpPr>
          <p:nvPr>
            <p:ph type="ftr" sz="quarter" idx="10"/>
          </p:nvPr>
        </p:nvSpPr>
        <p:spPr/>
        <p:txBody>
          <a:bodyPr/>
          <a:lstStyle/>
          <a:p>
            <a:endParaRPr lang="en-US"/>
          </a:p>
        </p:txBody>
      </p:sp>
      <p:sp>
        <p:nvSpPr>
          <p:cNvPr id="3" name="Slide Number Placeholder 2">
            <a:extLst>
              <a:ext uri="{FF2B5EF4-FFF2-40B4-BE49-F238E27FC236}">
                <a16:creationId xmlns:a16="http://schemas.microsoft.com/office/drawing/2014/main" id="{CBD597B0-BC26-47E4-9E96-CC05160BB3B2}"/>
              </a:ext>
            </a:extLst>
          </p:cNvPr>
          <p:cNvSpPr>
            <a:spLocks noGrp="1"/>
          </p:cNvSpPr>
          <p:nvPr>
            <p:ph type="sldNum" sz="quarter" idx="11"/>
          </p:nvPr>
        </p:nvSpPr>
        <p:spPr/>
        <p:txBody>
          <a:bodyPr/>
          <a:lstStyle/>
          <a:p>
            <a:fld id="{714BF2E0-EE3B-6A4E-9FB9-82DE86E1F02F}" type="slidenum">
              <a:rPr lang="en-US" smtClean="0"/>
              <a:pPr/>
              <a:t>‹#›</a:t>
            </a:fld>
            <a:endParaRPr lang="en-US"/>
          </a:p>
        </p:txBody>
      </p:sp>
    </p:spTree>
    <p:extLst>
      <p:ext uri="{BB962C8B-B14F-4D97-AF65-F5344CB8AC3E}">
        <p14:creationId xmlns:p14="http://schemas.microsoft.com/office/powerpoint/2010/main" val="150660725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B0366-941A-75BD-4F02-701AD8D23FDC}"/>
              </a:ext>
            </a:extLst>
          </p:cNvPr>
          <p:cNvSpPr>
            <a:spLocks noGrp="1"/>
          </p:cNvSpPr>
          <p:nvPr>
            <p:ph type="ctrTitle"/>
          </p:nvPr>
        </p:nvSpPr>
        <p:spPr>
          <a:xfrm>
            <a:off x="1524001"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B973A7C-98F8-0B24-102C-9500995D1515}"/>
              </a:ext>
            </a:extLst>
          </p:cNvPr>
          <p:cNvSpPr>
            <a:spLocks noGrp="1"/>
          </p:cNvSpPr>
          <p:nvPr>
            <p:ph type="subTitle" idx="1"/>
          </p:nvPr>
        </p:nvSpPr>
        <p:spPr>
          <a:xfrm>
            <a:off x="1524001" y="3602038"/>
            <a:ext cx="9144000" cy="1655762"/>
          </a:xfrm>
        </p:spPr>
        <p:txBody>
          <a:bodyPr/>
          <a:lstStyle>
            <a:lvl1pPr marL="0" indent="0" algn="ctr">
              <a:buNone/>
              <a:defRPr sz="2400"/>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3A5E89-6902-C583-DA22-62718D174BDE}"/>
              </a:ext>
            </a:extLst>
          </p:cNvPr>
          <p:cNvSpPr>
            <a:spLocks noGrp="1"/>
          </p:cNvSpPr>
          <p:nvPr>
            <p:ph type="dt" sz="half" idx="10"/>
          </p:nvPr>
        </p:nvSpPr>
        <p:spPr/>
        <p:txBody>
          <a:bodyPr/>
          <a:lstStyle/>
          <a:p>
            <a:fld id="{13285299-C811-429F-97DD-3986AB069EC6}" type="datetimeFigureOut">
              <a:rPr lang="en-US" smtClean="0"/>
              <a:t>10/2/2025</a:t>
            </a:fld>
            <a:endParaRPr lang="en-US"/>
          </a:p>
        </p:txBody>
      </p:sp>
      <p:sp>
        <p:nvSpPr>
          <p:cNvPr id="5" name="Footer Placeholder 4">
            <a:extLst>
              <a:ext uri="{FF2B5EF4-FFF2-40B4-BE49-F238E27FC236}">
                <a16:creationId xmlns:a16="http://schemas.microsoft.com/office/drawing/2014/main" id="{911CDD29-53C0-1C1D-0BCA-455D1FD46B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E4FA88-7249-C33F-B4D3-3FD55B6A4A4F}"/>
              </a:ext>
            </a:extLst>
          </p:cNvPr>
          <p:cNvSpPr>
            <a:spLocks noGrp="1"/>
          </p:cNvSpPr>
          <p:nvPr>
            <p:ph type="sldNum" sz="quarter" idx="12"/>
          </p:nvPr>
        </p:nvSpPr>
        <p:spPr/>
        <p:txBody>
          <a:bodyPr/>
          <a:lstStyle/>
          <a:p>
            <a:fld id="{A262BF35-A3DC-468D-9D00-AF3B5281D7F5}" type="slidenum">
              <a:rPr lang="en-US" smtClean="0"/>
              <a:t>‹#›</a:t>
            </a:fld>
            <a:endParaRPr lang="en-US"/>
          </a:p>
        </p:txBody>
      </p:sp>
    </p:spTree>
    <p:extLst>
      <p:ext uri="{BB962C8B-B14F-4D97-AF65-F5344CB8AC3E}">
        <p14:creationId xmlns:p14="http://schemas.microsoft.com/office/powerpoint/2010/main" val="286803621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F5288-A837-6BDE-A722-955EF2D0E31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21C850-6ADB-0C7F-0698-13817B2CFC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93596B-CA9F-4956-52B5-C1479D1AFAC9}"/>
              </a:ext>
            </a:extLst>
          </p:cNvPr>
          <p:cNvSpPr>
            <a:spLocks noGrp="1"/>
          </p:cNvSpPr>
          <p:nvPr>
            <p:ph type="dt" sz="half" idx="10"/>
          </p:nvPr>
        </p:nvSpPr>
        <p:spPr/>
        <p:txBody>
          <a:bodyPr/>
          <a:lstStyle/>
          <a:p>
            <a:fld id="{13285299-C811-429F-97DD-3986AB069EC6}" type="datetimeFigureOut">
              <a:rPr lang="en-US" smtClean="0"/>
              <a:t>10/2/2025</a:t>
            </a:fld>
            <a:endParaRPr lang="en-US"/>
          </a:p>
        </p:txBody>
      </p:sp>
      <p:sp>
        <p:nvSpPr>
          <p:cNvPr id="5" name="Footer Placeholder 4">
            <a:extLst>
              <a:ext uri="{FF2B5EF4-FFF2-40B4-BE49-F238E27FC236}">
                <a16:creationId xmlns:a16="http://schemas.microsoft.com/office/drawing/2014/main" id="{591BC5C1-6D8D-5C2D-B9AA-4D6C429B76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B8AC9A-2D0B-614B-AE2B-E819BF97FFDC}"/>
              </a:ext>
            </a:extLst>
          </p:cNvPr>
          <p:cNvSpPr>
            <a:spLocks noGrp="1"/>
          </p:cNvSpPr>
          <p:nvPr>
            <p:ph type="sldNum" sz="quarter" idx="12"/>
          </p:nvPr>
        </p:nvSpPr>
        <p:spPr/>
        <p:txBody>
          <a:bodyPr/>
          <a:lstStyle/>
          <a:p>
            <a:fld id="{A262BF35-A3DC-468D-9D00-AF3B5281D7F5}" type="slidenum">
              <a:rPr lang="en-US" smtClean="0"/>
              <a:t>‹#›</a:t>
            </a:fld>
            <a:endParaRPr lang="en-US"/>
          </a:p>
        </p:txBody>
      </p:sp>
    </p:spTree>
    <p:extLst>
      <p:ext uri="{BB962C8B-B14F-4D97-AF65-F5344CB8AC3E}">
        <p14:creationId xmlns:p14="http://schemas.microsoft.com/office/powerpoint/2010/main" val="19697990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2A691-017F-5BBA-EBAF-A323A99FD8F7}"/>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96C90C-A49C-D28F-BC34-A71AE288F440}"/>
              </a:ext>
            </a:extLst>
          </p:cNvPr>
          <p:cNvSpPr>
            <a:spLocks noGrp="1"/>
          </p:cNvSpPr>
          <p:nvPr>
            <p:ph type="body" idx="1"/>
          </p:nvPr>
        </p:nvSpPr>
        <p:spPr>
          <a:xfrm>
            <a:off x="831850" y="4589464"/>
            <a:ext cx="10515600" cy="1500187"/>
          </a:xfrm>
        </p:spPr>
        <p:txBody>
          <a:bodyPr/>
          <a:lstStyle>
            <a:lvl1pPr marL="0" indent="0">
              <a:buNone/>
              <a:defRPr sz="2400">
                <a:solidFill>
                  <a:schemeClr val="tx1">
                    <a:tint val="82000"/>
                  </a:schemeClr>
                </a:solidFill>
              </a:defRPr>
            </a:lvl1pPr>
            <a:lvl2pPr marL="457179" indent="0">
              <a:buNone/>
              <a:defRPr sz="2000">
                <a:solidFill>
                  <a:schemeClr val="tx1">
                    <a:tint val="82000"/>
                  </a:schemeClr>
                </a:solidFill>
              </a:defRPr>
            </a:lvl2pPr>
            <a:lvl3pPr marL="914358" indent="0">
              <a:buNone/>
              <a:defRPr sz="1800">
                <a:solidFill>
                  <a:schemeClr val="tx1">
                    <a:tint val="82000"/>
                  </a:schemeClr>
                </a:solidFill>
              </a:defRPr>
            </a:lvl3pPr>
            <a:lvl4pPr marL="1371536" indent="0">
              <a:buNone/>
              <a:defRPr sz="1600">
                <a:solidFill>
                  <a:schemeClr val="tx1">
                    <a:tint val="82000"/>
                  </a:schemeClr>
                </a:solidFill>
              </a:defRPr>
            </a:lvl4pPr>
            <a:lvl5pPr marL="1828715" indent="0">
              <a:buNone/>
              <a:defRPr sz="1600">
                <a:solidFill>
                  <a:schemeClr val="tx1">
                    <a:tint val="82000"/>
                  </a:schemeClr>
                </a:solidFill>
              </a:defRPr>
            </a:lvl5pPr>
            <a:lvl6pPr marL="2285894" indent="0">
              <a:buNone/>
              <a:defRPr sz="1600">
                <a:solidFill>
                  <a:schemeClr val="tx1">
                    <a:tint val="82000"/>
                  </a:schemeClr>
                </a:solidFill>
              </a:defRPr>
            </a:lvl6pPr>
            <a:lvl7pPr marL="2743073" indent="0">
              <a:buNone/>
              <a:defRPr sz="1600">
                <a:solidFill>
                  <a:schemeClr val="tx1">
                    <a:tint val="82000"/>
                  </a:schemeClr>
                </a:solidFill>
              </a:defRPr>
            </a:lvl7pPr>
            <a:lvl8pPr marL="3200252" indent="0">
              <a:buNone/>
              <a:defRPr sz="1600">
                <a:solidFill>
                  <a:schemeClr val="tx1">
                    <a:tint val="82000"/>
                  </a:schemeClr>
                </a:solidFill>
              </a:defRPr>
            </a:lvl8pPr>
            <a:lvl9pPr marL="365743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3CF84EB-88F2-BEFA-6790-13FAAF09146E}"/>
              </a:ext>
            </a:extLst>
          </p:cNvPr>
          <p:cNvSpPr>
            <a:spLocks noGrp="1"/>
          </p:cNvSpPr>
          <p:nvPr>
            <p:ph type="dt" sz="half" idx="10"/>
          </p:nvPr>
        </p:nvSpPr>
        <p:spPr/>
        <p:txBody>
          <a:bodyPr/>
          <a:lstStyle/>
          <a:p>
            <a:fld id="{13285299-C811-429F-97DD-3986AB069EC6}" type="datetimeFigureOut">
              <a:rPr lang="en-US" smtClean="0"/>
              <a:t>10/2/2025</a:t>
            </a:fld>
            <a:endParaRPr lang="en-US"/>
          </a:p>
        </p:txBody>
      </p:sp>
      <p:sp>
        <p:nvSpPr>
          <p:cNvPr id="5" name="Footer Placeholder 4">
            <a:extLst>
              <a:ext uri="{FF2B5EF4-FFF2-40B4-BE49-F238E27FC236}">
                <a16:creationId xmlns:a16="http://schemas.microsoft.com/office/drawing/2014/main" id="{A248C960-23FD-8DD5-3A40-7883108B41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A8F86A-D6E0-44BD-8630-FEA89F6AEF81}"/>
              </a:ext>
            </a:extLst>
          </p:cNvPr>
          <p:cNvSpPr>
            <a:spLocks noGrp="1"/>
          </p:cNvSpPr>
          <p:nvPr>
            <p:ph type="sldNum" sz="quarter" idx="12"/>
          </p:nvPr>
        </p:nvSpPr>
        <p:spPr/>
        <p:txBody>
          <a:bodyPr/>
          <a:lstStyle/>
          <a:p>
            <a:fld id="{A262BF35-A3DC-468D-9D00-AF3B5281D7F5}" type="slidenum">
              <a:rPr lang="en-US" smtClean="0"/>
              <a:t>‹#›</a:t>
            </a:fld>
            <a:endParaRPr lang="en-US"/>
          </a:p>
        </p:txBody>
      </p:sp>
    </p:spTree>
    <p:extLst>
      <p:ext uri="{BB962C8B-B14F-4D97-AF65-F5344CB8AC3E}">
        <p14:creationId xmlns:p14="http://schemas.microsoft.com/office/powerpoint/2010/main" val="285795708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C78AD-0358-2D9F-0780-C4DBA44FFE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B56DDBD-7991-4BFC-EEFD-39F667B803B3}"/>
              </a:ext>
            </a:extLst>
          </p:cNvPr>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7A9B9F6-ED74-38F2-900E-5A54E92F5FD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6425449-5840-5425-44D8-2D2097BD1456}"/>
              </a:ext>
            </a:extLst>
          </p:cNvPr>
          <p:cNvSpPr>
            <a:spLocks noGrp="1"/>
          </p:cNvSpPr>
          <p:nvPr>
            <p:ph type="dt" sz="half" idx="10"/>
          </p:nvPr>
        </p:nvSpPr>
        <p:spPr/>
        <p:txBody>
          <a:bodyPr/>
          <a:lstStyle/>
          <a:p>
            <a:fld id="{13285299-C811-429F-97DD-3986AB069EC6}" type="datetimeFigureOut">
              <a:rPr lang="en-US" smtClean="0"/>
              <a:t>10/2/2025</a:t>
            </a:fld>
            <a:endParaRPr lang="en-US"/>
          </a:p>
        </p:txBody>
      </p:sp>
      <p:sp>
        <p:nvSpPr>
          <p:cNvPr id="6" name="Footer Placeholder 5">
            <a:extLst>
              <a:ext uri="{FF2B5EF4-FFF2-40B4-BE49-F238E27FC236}">
                <a16:creationId xmlns:a16="http://schemas.microsoft.com/office/drawing/2014/main" id="{80BE5A4A-DADF-CB21-3451-FBA5329088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E0C0CD-0ECF-35FF-EF77-A99A8DB86D76}"/>
              </a:ext>
            </a:extLst>
          </p:cNvPr>
          <p:cNvSpPr>
            <a:spLocks noGrp="1"/>
          </p:cNvSpPr>
          <p:nvPr>
            <p:ph type="sldNum" sz="quarter" idx="12"/>
          </p:nvPr>
        </p:nvSpPr>
        <p:spPr/>
        <p:txBody>
          <a:bodyPr/>
          <a:lstStyle/>
          <a:p>
            <a:fld id="{A262BF35-A3DC-468D-9D00-AF3B5281D7F5}" type="slidenum">
              <a:rPr lang="en-US" smtClean="0"/>
              <a:t>‹#›</a:t>
            </a:fld>
            <a:endParaRPr lang="en-US"/>
          </a:p>
        </p:txBody>
      </p:sp>
    </p:spTree>
    <p:extLst>
      <p:ext uri="{BB962C8B-B14F-4D97-AF65-F5344CB8AC3E}">
        <p14:creationId xmlns:p14="http://schemas.microsoft.com/office/powerpoint/2010/main" val="105410926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C15F1D-7F0C-21A2-2FF3-363570944B06}"/>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6814D03-E3D3-3550-3900-021ED697D45E}"/>
              </a:ext>
            </a:extLst>
          </p:cNvPr>
          <p:cNvSpPr>
            <a:spLocks noGrp="1"/>
          </p:cNvSpPr>
          <p:nvPr>
            <p:ph type="body" idx="1"/>
          </p:nvPr>
        </p:nvSpPr>
        <p:spPr>
          <a:xfrm>
            <a:off x="839788" y="1681163"/>
            <a:ext cx="5157787" cy="823912"/>
          </a:xfrm>
        </p:spPr>
        <p:txBody>
          <a:bodyPr anchor="b"/>
          <a:lstStyle>
            <a:lvl1pPr marL="0" indent="0">
              <a:buNone/>
              <a:defRPr sz="2400" b="1"/>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9F4C3D-EE29-A102-5E8A-43DCD9E23C3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2F2F2C0-0EA4-0AB1-52E7-3E4D1627D491}"/>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986EDE5-0F69-879D-64BB-CCF9BB330B46}"/>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17088BB-49A0-DECD-5B84-A019BA1463B2}"/>
              </a:ext>
            </a:extLst>
          </p:cNvPr>
          <p:cNvSpPr>
            <a:spLocks noGrp="1"/>
          </p:cNvSpPr>
          <p:nvPr>
            <p:ph type="dt" sz="half" idx="10"/>
          </p:nvPr>
        </p:nvSpPr>
        <p:spPr/>
        <p:txBody>
          <a:bodyPr/>
          <a:lstStyle/>
          <a:p>
            <a:fld id="{13285299-C811-429F-97DD-3986AB069EC6}" type="datetimeFigureOut">
              <a:rPr lang="en-US" smtClean="0"/>
              <a:t>10/2/2025</a:t>
            </a:fld>
            <a:endParaRPr lang="en-US"/>
          </a:p>
        </p:txBody>
      </p:sp>
      <p:sp>
        <p:nvSpPr>
          <p:cNvPr id="8" name="Footer Placeholder 7">
            <a:extLst>
              <a:ext uri="{FF2B5EF4-FFF2-40B4-BE49-F238E27FC236}">
                <a16:creationId xmlns:a16="http://schemas.microsoft.com/office/drawing/2014/main" id="{02E1B279-78A3-E601-934B-03BDD926C59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6031306-E06E-61B9-EF1B-31FD8F3F72CB}"/>
              </a:ext>
            </a:extLst>
          </p:cNvPr>
          <p:cNvSpPr>
            <a:spLocks noGrp="1"/>
          </p:cNvSpPr>
          <p:nvPr>
            <p:ph type="sldNum" sz="quarter" idx="12"/>
          </p:nvPr>
        </p:nvSpPr>
        <p:spPr/>
        <p:txBody>
          <a:bodyPr/>
          <a:lstStyle/>
          <a:p>
            <a:fld id="{A262BF35-A3DC-468D-9D00-AF3B5281D7F5}" type="slidenum">
              <a:rPr lang="en-US" smtClean="0"/>
              <a:t>‹#›</a:t>
            </a:fld>
            <a:endParaRPr lang="en-US"/>
          </a:p>
        </p:txBody>
      </p:sp>
    </p:spTree>
    <p:extLst>
      <p:ext uri="{BB962C8B-B14F-4D97-AF65-F5344CB8AC3E}">
        <p14:creationId xmlns:p14="http://schemas.microsoft.com/office/powerpoint/2010/main" val="388696225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DF412-D9CA-EB19-8F08-50078BF8A6F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47F292-BAE1-3A53-C883-6B1834C849AE}"/>
              </a:ext>
            </a:extLst>
          </p:cNvPr>
          <p:cNvSpPr>
            <a:spLocks noGrp="1"/>
          </p:cNvSpPr>
          <p:nvPr>
            <p:ph type="dt" sz="half" idx="10"/>
          </p:nvPr>
        </p:nvSpPr>
        <p:spPr/>
        <p:txBody>
          <a:bodyPr/>
          <a:lstStyle/>
          <a:p>
            <a:fld id="{13285299-C811-429F-97DD-3986AB069EC6}" type="datetimeFigureOut">
              <a:rPr lang="en-US" smtClean="0"/>
              <a:t>10/2/2025</a:t>
            </a:fld>
            <a:endParaRPr lang="en-US"/>
          </a:p>
        </p:txBody>
      </p:sp>
      <p:sp>
        <p:nvSpPr>
          <p:cNvPr id="4" name="Footer Placeholder 3">
            <a:extLst>
              <a:ext uri="{FF2B5EF4-FFF2-40B4-BE49-F238E27FC236}">
                <a16:creationId xmlns:a16="http://schemas.microsoft.com/office/drawing/2014/main" id="{F0F32E58-8F79-CD1B-E38E-37766AFECFC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E942BEC-3C99-29AE-ABE1-3224743E21F9}"/>
              </a:ext>
            </a:extLst>
          </p:cNvPr>
          <p:cNvSpPr>
            <a:spLocks noGrp="1"/>
          </p:cNvSpPr>
          <p:nvPr>
            <p:ph type="sldNum" sz="quarter" idx="12"/>
          </p:nvPr>
        </p:nvSpPr>
        <p:spPr/>
        <p:txBody>
          <a:bodyPr/>
          <a:lstStyle/>
          <a:p>
            <a:fld id="{A262BF35-A3DC-468D-9D00-AF3B5281D7F5}" type="slidenum">
              <a:rPr lang="en-US" smtClean="0"/>
              <a:t>‹#›</a:t>
            </a:fld>
            <a:endParaRPr lang="en-US"/>
          </a:p>
        </p:txBody>
      </p:sp>
    </p:spTree>
    <p:extLst>
      <p:ext uri="{BB962C8B-B14F-4D97-AF65-F5344CB8AC3E}">
        <p14:creationId xmlns:p14="http://schemas.microsoft.com/office/powerpoint/2010/main" val="346578663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3D7D91-5EB8-0366-C8DD-45791E01B9D7}"/>
              </a:ext>
            </a:extLst>
          </p:cNvPr>
          <p:cNvSpPr>
            <a:spLocks noGrp="1"/>
          </p:cNvSpPr>
          <p:nvPr>
            <p:ph type="dt" sz="half" idx="10"/>
          </p:nvPr>
        </p:nvSpPr>
        <p:spPr/>
        <p:txBody>
          <a:bodyPr/>
          <a:lstStyle/>
          <a:p>
            <a:fld id="{13285299-C811-429F-97DD-3986AB069EC6}" type="datetimeFigureOut">
              <a:rPr lang="en-US" smtClean="0"/>
              <a:t>10/2/2025</a:t>
            </a:fld>
            <a:endParaRPr lang="en-US"/>
          </a:p>
        </p:txBody>
      </p:sp>
      <p:sp>
        <p:nvSpPr>
          <p:cNvPr id="3" name="Footer Placeholder 2">
            <a:extLst>
              <a:ext uri="{FF2B5EF4-FFF2-40B4-BE49-F238E27FC236}">
                <a16:creationId xmlns:a16="http://schemas.microsoft.com/office/drawing/2014/main" id="{B335E2A7-B453-83F0-89E3-BA2D45AC906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8BC3A17-B1F7-C61A-AC9A-F912243FDCB9}"/>
              </a:ext>
            </a:extLst>
          </p:cNvPr>
          <p:cNvSpPr>
            <a:spLocks noGrp="1"/>
          </p:cNvSpPr>
          <p:nvPr>
            <p:ph type="sldNum" sz="quarter" idx="12"/>
          </p:nvPr>
        </p:nvSpPr>
        <p:spPr/>
        <p:txBody>
          <a:bodyPr/>
          <a:lstStyle/>
          <a:p>
            <a:fld id="{A262BF35-A3DC-468D-9D00-AF3B5281D7F5}" type="slidenum">
              <a:rPr lang="en-US" smtClean="0"/>
              <a:t>‹#›</a:t>
            </a:fld>
            <a:endParaRPr lang="en-US"/>
          </a:p>
        </p:txBody>
      </p:sp>
    </p:spTree>
    <p:extLst>
      <p:ext uri="{BB962C8B-B14F-4D97-AF65-F5344CB8AC3E}">
        <p14:creationId xmlns:p14="http://schemas.microsoft.com/office/powerpoint/2010/main" val="3159028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617788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6B24F-2BB6-0562-38A7-99EAE4BF91B2}"/>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C93AF63-72EB-2E9C-4AEF-9F27363794E0}"/>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80CCCD7-C568-F055-C8B3-FF2BA54EF8F0}"/>
              </a:ext>
            </a:extLst>
          </p:cNvPr>
          <p:cNvSpPr>
            <a:spLocks noGrp="1"/>
          </p:cNvSpPr>
          <p:nvPr>
            <p:ph type="body" sz="half" idx="2"/>
          </p:nvPr>
        </p:nvSpPr>
        <p:spPr>
          <a:xfrm>
            <a:off x="839789" y="2057400"/>
            <a:ext cx="3932237" cy="3811588"/>
          </a:xfrm>
        </p:spPr>
        <p:txBody>
          <a:bodyPr/>
          <a:lstStyle>
            <a:lvl1pPr marL="0" indent="0">
              <a:buNone/>
              <a:defRPr sz="16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6628995-68DE-C09D-2B46-739EE400CF78}"/>
              </a:ext>
            </a:extLst>
          </p:cNvPr>
          <p:cNvSpPr>
            <a:spLocks noGrp="1"/>
          </p:cNvSpPr>
          <p:nvPr>
            <p:ph type="dt" sz="half" idx="10"/>
          </p:nvPr>
        </p:nvSpPr>
        <p:spPr/>
        <p:txBody>
          <a:bodyPr/>
          <a:lstStyle/>
          <a:p>
            <a:fld id="{13285299-C811-429F-97DD-3986AB069EC6}" type="datetimeFigureOut">
              <a:rPr lang="en-US" smtClean="0"/>
              <a:t>10/2/2025</a:t>
            </a:fld>
            <a:endParaRPr lang="en-US"/>
          </a:p>
        </p:txBody>
      </p:sp>
      <p:sp>
        <p:nvSpPr>
          <p:cNvPr id="6" name="Footer Placeholder 5">
            <a:extLst>
              <a:ext uri="{FF2B5EF4-FFF2-40B4-BE49-F238E27FC236}">
                <a16:creationId xmlns:a16="http://schemas.microsoft.com/office/drawing/2014/main" id="{09F7A1C8-6912-627F-3080-77ED1BD2FB9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17A600-9E56-9FC0-D7C1-BD9A89190033}"/>
              </a:ext>
            </a:extLst>
          </p:cNvPr>
          <p:cNvSpPr>
            <a:spLocks noGrp="1"/>
          </p:cNvSpPr>
          <p:nvPr>
            <p:ph type="sldNum" sz="quarter" idx="12"/>
          </p:nvPr>
        </p:nvSpPr>
        <p:spPr/>
        <p:txBody>
          <a:bodyPr/>
          <a:lstStyle/>
          <a:p>
            <a:fld id="{A262BF35-A3DC-468D-9D00-AF3B5281D7F5}" type="slidenum">
              <a:rPr lang="en-US" smtClean="0"/>
              <a:t>‹#›</a:t>
            </a:fld>
            <a:endParaRPr lang="en-US"/>
          </a:p>
        </p:txBody>
      </p:sp>
    </p:spTree>
    <p:extLst>
      <p:ext uri="{BB962C8B-B14F-4D97-AF65-F5344CB8AC3E}">
        <p14:creationId xmlns:p14="http://schemas.microsoft.com/office/powerpoint/2010/main" val="329674173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06F16-2B15-7767-F680-26072984199F}"/>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9F1734E-7249-8488-9C58-8D9C5301D215}"/>
              </a:ext>
            </a:extLst>
          </p:cNvPr>
          <p:cNvSpPr>
            <a:spLocks noGrp="1"/>
          </p:cNvSpPr>
          <p:nvPr>
            <p:ph type="pic" idx="1"/>
          </p:nvPr>
        </p:nvSpPr>
        <p:spPr>
          <a:xfrm>
            <a:off x="5183188" y="987426"/>
            <a:ext cx="6172200" cy="4873625"/>
          </a:xfrm>
        </p:spPr>
        <p:txBody>
          <a:bodyPr/>
          <a:lstStyle>
            <a:lvl1pPr marL="0" indent="0">
              <a:buNone/>
              <a:defRPr sz="3200"/>
            </a:lvl1pPr>
            <a:lvl2pPr marL="457179" indent="0">
              <a:buNone/>
              <a:defRPr sz="2800"/>
            </a:lvl2pPr>
            <a:lvl3pPr marL="914358" indent="0">
              <a:buNone/>
              <a:defRPr sz="2400"/>
            </a:lvl3pPr>
            <a:lvl4pPr marL="1371536" indent="0">
              <a:buNone/>
              <a:defRPr sz="2000"/>
            </a:lvl4pPr>
            <a:lvl5pPr marL="1828715" indent="0">
              <a:buNone/>
              <a:defRPr sz="2000"/>
            </a:lvl5pPr>
            <a:lvl6pPr marL="2285894" indent="0">
              <a:buNone/>
              <a:defRPr sz="2000"/>
            </a:lvl6pPr>
            <a:lvl7pPr marL="2743073" indent="0">
              <a:buNone/>
              <a:defRPr sz="2000"/>
            </a:lvl7pPr>
            <a:lvl8pPr marL="3200252" indent="0">
              <a:buNone/>
              <a:defRPr sz="2000"/>
            </a:lvl8pPr>
            <a:lvl9pPr marL="3657430" indent="0">
              <a:buNone/>
              <a:defRPr sz="2000"/>
            </a:lvl9pPr>
          </a:lstStyle>
          <a:p>
            <a:endParaRPr lang="en-US"/>
          </a:p>
        </p:txBody>
      </p:sp>
      <p:sp>
        <p:nvSpPr>
          <p:cNvPr id="4" name="Text Placeholder 3">
            <a:extLst>
              <a:ext uri="{FF2B5EF4-FFF2-40B4-BE49-F238E27FC236}">
                <a16:creationId xmlns:a16="http://schemas.microsoft.com/office/drawing/2014/main" id="{84B4CD11-B477-0856-E9FA-473B5B5B52E8}"/>
              </a:ext>
            </a:extLst>
          </p:cNvPr>
          <p:cNvSpPr>
            <a:spLocks noGrp="1"/>
          </p:cNvSpPr>
          <p:nvPr>
            <p:ph type="body" sz="half" idx="2"/>
          </p:nvPr>
        </p:nvSpPr>
        <p:spPr>
          <a:xfrm>
            <a:off x="839789" y="2057400"/>
            <a:ext cx="3932237" cy="3811588"/>
          </a:xfrm>
        </p:spPr>
        <p:txBody>
          <a:bodyPr/>
          <a:lstStyle>
            <a:lvl1pPr marL="0" indent="0">
              <a:buNone/>
              <a:defRPr sz="16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441967-C12E-DF43-D8BE-ED3511E6EAE2}"/>
              </a:ext>
            </a:extLst>
          </p:cNvPr>
          <p:cNvSpPr>
            <a:spLocks noGrp="1"/>
          </p:cNvSpPr>
          <p:nvPr>
            <p:ph type="dt" sz="half" idx="10"/>
          </p:nvPr>
        </p:nvSpPr>
        <p:spPr/>
        <p:txBody>
          <a:bodyPr/>
          <a:lstStyle/>
          <a:p>
            <a:fld id="{13285299-C811-429F-97DD-3986AB069EC6}" type="datetimeFigureOut">
              <a:rPr lang="en-US" smtClean="0"/>
              <a:t>10/2/2025</a:t>
            </a:fld>
            <a:endParaRPr lang="en-US"/>
          </a:p>
        </p:txBody>
      </p:sp>
      <p:sp>
        <p:nvSpPr>
          <p:cNvPr id="6" name="Footer Placeholder 5">
            <a:extLst>
              <a:ext uri="{FF2B5EF4-FFF2-40B4-BE49-F238E27FC236}">
                <a16:creationId xmlns:a16="http://schemas.microsoft.com/office/drawing/2014/main" id="{B9EF45E5-073C-FB3E-EED7-51EEC909739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FD22FE-DDD6-AB0D-0329-BC413B4A69FC}"/>
              </a:ext>
            </a:extLst>
          </p:cNvPr>
          <p:cNvSpPr>
            <a:spLocks noGrp="1"/>
          </p:cNvSpPr>
          <p:nvPr>
            <p:ph type="sldNum" sz="quarter" idx="12"/>
          </p:nvPr>
        </p:nvSpPr>
        <p:spPr/>
        <p:txBody>
          <a:bodyPr/>
          <a:lstStyle/>
          <a:p>
            <a:fld id="{A262BF35-A3DC-468D-9D00-AF3B5281D7F5}" type="slidenum">
              <a:rPr lang="en-US" smtClean="0"/>
              <a:t>‹#›</a:t>
            </a:fld>
            <a:endParaRPr lang="en-US"/>
          </a:p>
        </p:txBody>
      </p:sp>
    </p:spTree>
    <p:extLst>
      <p:ext uri="{BB962C8B-B14F-4D97-AF65-F5344CB8AC3E}">
        <p14:creationId xmlns:p14="http://schemas.microsoft.com/office/powerpoint/2010/main" val="261038273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E341E-2397-0FCA-8550-C148B84376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DEF1294-790C-2F58-888C-6B5D7684A24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7A38C0-58E1-68C5-229C-2F2055DA6EF7}"/>
              </a:ext>
            </a:extLst>
          </p:cNvPr>
          <p:cNvSpPr>
            <a:spLocks noGrp="1"/>
          </p:cNvSpPr>
          <p:nvPr>
            <p:ph type="dt" sz="half" idx="10"/>
          </p:nvPr>
        </p:nvSpPr>
        <p:spPr/>
        <p:txBody>
          <a:bodyPr/>
          <a:lstStyle/>
          <a:p>
            <a:fld id="{13285299-C811-429F-97DD-3986AB069EC6}" type="datetimeFigureOut">
              <a:rPr lang="en-US" smtClean="0"/>
              <a:t>10/2/2025</a:t>
            </a:fld>
            <a:endParaRPr lang="en-US"/>
          </a:p>
        </p:txBody>
      </p:sp>
      <p:sp>
        <p:nvSpPr>
          <p:cNvPr id="5" name="Footer Placeholder 4">
            <a:extLst>
              <a:ext uri="{FF2B5EF4-FFF2-40B4-BE49-F238E27FC236}">
                <a16:creationId xmlns:a16="http://schemas.microsoft.com/office/drawing/2014/main" id="{F46B480C-A365-639F-B132-86EBADAB26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D38B7D-A8F0-780A-C79A-8C55DA875001}"/>
              </a:ext>
            </a:extLst>
          </p:cNvPr>
          <p:cNvSpPr>
            <a:spLocks noGrp="1"/>
          </p:cNvSpPr>
          <p:nvPr>
            <p:ph type="sldNum" sz="quarter" idx="12"/>
          </p:nvPr>
        </p:nvSpPr>
        <p:spPr/>
        <p:txBody>
          <a:bodyPr/>
          <a:lstStyle/>
          <a:p>
            <a:fld id="{A262BF35-A3DC-468D-9D00-AF3B5281D7F5}" type="slidenum">
              <a:rPr lang="en-US" smtClean="0"/>
              <a:t>‹#›</a:t>
            </a:fld>
            <a:endParaRPr lang="en-US"/>
          </a:p>
        </p:txBody>
      </p:sp>
    </p:spTree>
    <p:extLst>
      <p:ext uri="{BB962C8B-B14F-4D97-AF65-F5344CB8AC3E}">
        <p14:creationId xmlns:p14="http://schemas.microsoft.com/office/powerpoint/2010/main" val="226327707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E809599-91C3-656B-CD3B-24A35C1A019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6F8F2-9F05-03CF-AD48-60B01F6A71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F20D98-F54B-E543-3167-B5BD1B3418CA}"/>
              </a:ext>
            </a:extLst>
          </p:cNvPr>
          <p:cNvSpPr>
            <a:spLocks noGrp="1"/>
          </p:cNvSpPr>
          <p:nvPr>
            <p:ph type="dt" sz="half" idx="10"/>
          </p:nvPr>
        </p:nvSpPr>
        <p:spPr/>
        <p:txBody>
          <a:bodyPr/>
          <a:lstStyle/>
          <a:p>
            <a:fld id="{13285299-C811-429F-97DD-3986AB069EC6}" type="datetimeFigureOut">
              <a:rPr lang="en-US" smtClean="0"/>
              <a:t>10/2/2025</a:t>
            </a:fld>
            <a:endParaRPr lang="en-US"/>
          </a:p>
        </p:txBody>
      </p:sp>
      <p:sp>
        <p:nvSpPr>
          <p:cNvPr id="5" name="Footer Placeholder 4">
            <a:extLst>
              <a:ext uri="{FF2B5EF4-FFF2-40B4-BE49-F238E27FC236}">
                <a16:creationId xmlns:a16="http://schemas.microsoft.com/office/drawing/2014/main" id="{032D634D-165D-21EE-D306-7D7C251422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0C60C2-CBD2-4D64-2604-30C12E561E59}"/>
              </a:ext>
            </a:extLst>
          </p:cNvPr>
          <p:cNvSpPr>
            <a:spLocks noGrp="1"/>
          </p:cNvSpPr>
          <p:nvPr>
            <p:ph type="sldNum" sz="quarter" idx="12"/>
          </p:nvPr>
        </p:nvSpPr>
        <p:spPr/>
        <p:txBody>
          <a:bodyPr/>
          <a:lstStyle/>
          <a:p>
            <a:fld id="{A262BF35-A3DC-468D-9D00-AF3B5281D7F5}" type="slidenum">
              <a:rPr lang="en-US" smtClean="0"/>
              <a:t>‹#›</a:t>
            </a:fld>
            <a:endParaRPr lang="en-US"/>
          </a:p>
        </p:txBody>
      </p:sp>
    </p:spTree>
    <p:extLst>
      <p:ext uri="{BB962C8B-B14F-4D97-AF65-F5344CB8AC3E}">
        <p14:creationId xmlns:p14="http://schemas.microsoft.com/office/powerpoint/2010/main" val="368924977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50739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915494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11452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181784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09385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56568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815291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VB 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68316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31503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160359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93839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96595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42897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2602553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01160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13478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07782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224756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Tree>
    <p:extLst>
      <p:ext uri="{BB962C8B-B14F-4D97-AF65-F5344CB8AC3E}">
        <p14:creationId xmlns:p14="http://schemas.microsoft.com/office/powerpoint/2010/main" val="181485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898382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169484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4740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0078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7710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841443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236688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2955489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78526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96614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523816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019007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43423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393679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6587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2046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2772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82345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nvGraphicFramePr>
        <p:xfrm>
          <a:off x="577221" y="2730107"/>
          <a:ext cx="11036723"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714539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nvGraphicFramePr>
        <p:xfrm>
          <a:off x="577222" y="2730107"/>
          <a:ext cx="11036928"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1751098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2253068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421461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nvGraphicFramePr>
        <p:xfrm>
          <a:off x="577222" y="2730107"/>
          <a:ext cx="11036723"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2385527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664001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3"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2772724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28"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420205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4187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3"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189437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01033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041214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0312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78860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790143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307177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257091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758914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562673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53236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163831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99646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0630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34622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90568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630588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26493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926839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97743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70371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06774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59980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65368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6507E-43EA-6D16-AF25-346D2A4C86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2F6F86-A199-AE64-3313-15A39093AD5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3C1A64-252E-8D48-34E9-8AD9C97019AE}"/>
              </a:ext>
            </a:extLst>
          </p:cNvPr>
          <p:cNvSpPr>
            <a:spLocks noGrp="1"/>
          </p:cNvSpPr>
          <p:nvPr>
            <p:ph type="dt" sz="half" idx="10"/>
          </p:nvPr>
        </p:nvSpPr>
        <p:spPr/>
        <p:txBody>
          <a:bodyPr/>
          <a:lstStyle/>
          <a:p>
            <a:fld id="{4DF7DC42-6320-47FF-B4D4-DBC2EAD77F0E}" type="datetimeFigureOut">
              <a:rPr lang="en-US" smtClean="0"/>
              <a:t>10/2/2025</a:t>
            </a:fld>
            <a:endParaRPr lang="en-US"/>
          </a:p>
        </p:txBody>
      </p:sp>
      <p:sp>
        <p:nvSpPr>
          <p:cNvPr id="5" name="Footer Placeholder 4">
            <a:extLst>
              <a:ext uri="{FF2B5EF4-FFF2-40B4-BE49-F238E27FC236}">
                <a16:creationId xmlns:a16="http://schemas.microsoft.com/office/drawing/2014/main" id="{04880562-EFD0-2727-AB15-8FC1897175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ED9E1C-8B9F-0A09-052C-70A189A76266}"/>
              </a:ext>
            </a:extLst>
          </p:cNvPr>
          <p:cNvSpPr>
            <a:spLocks noGrp="1"/>
          </p:cNvSpPr>
          <p:nvPr>
            <p:ph type="sldNum" sz="quarter" idx="12"/>
          </p:nvPr>
        </p:nvSpPr>
        <p:spPr/>
        <p:txBody>
          <a:bodyPr/>
          <a:lstStyle/>
          <a:p>
            <a:fld id="{EF3E749F-1AB8-4C40-B992-7733C19FA6B9}" type="slidenum">
              <a:rPr lang="en-US" smtClean="0"/>
              <a:t>‹#›</a:t>
            </a:fld>
            <a:endParaRPr lang="en-US"/>
          </a:p>
        </p:txBody>
      </p:sp>
    </p:spTree>
    <p:extLst>
      <p:ext uri="{BB962C8B-B14F-4D97-AF65-F5344CB8AC3E}">
        <p14:creationId xmlns:p14="http://schemas.microsoft.com/office/powerpoint/2010/main" val="111558264"/>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grpSp>
        <p:nvGrpSpPr>
          <p:cNvPr id="15" name="Google Shape;62;p5">
            <a:extLst>
              <a:ext uri="{FF2B5EF4-FFF2-40B4-BE49-F238E27FC236}">
                <a16:creationId xmlns:a16="http://schemas.microsoft.com/office/drawing/2014/main" id="{D77ED84D-4B9D-4AC3-8F07-A5A2F063AEAF}"/>
              </a:ext>
            </a:extLst>
          </p:cNvPr>
          <p:cNvGrpSpPr/>
          <p:nvPr userDrawn="1"/>
        </p:nvGrpSpPr>
        <p:grpSpPr>
          <a:xfrm>
            <a:off x="0" y="-7354"/>
            <a:ext cx="9696400" cy="916074"/>
            <a:chOff x="-4" y="40"/>
            <a:chExt cx="7072430" cy="1327315"/>
          </a:xfrm>
          <a:solidFill>
            <a:srgbClr val="0093D5"/>
          </a:solidFill>
        </p:grpSpPr>
        <p:sp>
          <p:nvSpPr>
            <p:cNvPr id="16" name="Google Shape;63;p5">
              <a:extLst>
                <a:ext uri="{FF2B5EF4-FFF2-40B4-BE49-F238E27FC236}">
                  <a16:creationId xmlns:a16="http://schemas.microsoft.com/office/drawing/2014/main" id="{94720C3C-6108-41BB-B763-8CAF07BE93D3}"/>
                </a:ext>
              </a:extLst>
            </p:cNvPr>
            <p:cNvSpPr/>
            <p:nvPr/>
          </p:nvSpPr>
          <p:spPr>
            <a:xfrm>
              <a:off x="6292649" y="126425"/>
              <a:ext cx="779700" cy="259800"/>
            </a:xfrm>
            <a:prstGeom prst="triangle">
              <a:avLst>
                <a:gd name="adj" fmla="val 32425"/>
              </a:avLst>
            </a:prstGeom>
            <a:solidFill>
              <a:srgbClr val="005D86"/>
            </a:solid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grpSp>
          <p:nvGrpSpPr>
            <p:cNvPr id="17" name="Google Shape;64;p5">
              <a:extLst>
                <a:ext uri="{FF2B5EF4-FFF2-40B4-BE49-F238E27FC236}">
                  <a16:creationId xmlns:a16="http://schemas.microsoft.com/office/drawing/2014/main" id="{AFAB7200-AB93-4086-AC1B-62D1AE13A54E}"/>
                </a:ext>
              </a:extLst>
            </p:cNvPr>
            <p:cNvGrpSpPr/>
            <p:nvPr/>
          </p:nvGrpSpPr>
          <p:grpSpPr>
            <a:xfrm rot="10800000" flipH="1">
              <a:off x="3" y="40"/>
              <a:ext cx="6756168" cy="1327315"/>
              <a:chOff x="-2168138" y="330075"/>
              <a:chExt cx="8650663" cy="1699506"/>
            </a:xfrm>
            <a:grpFill/>
          </p:grpSpPr>
          <p:sp>
            <p:nvSpPr>
              <p:cNvPr id="21" name="Google Shape;65;p5">
                <a:extLst>
                  <a:ext uri="{FF2B5EF4-FFF2-40B4-BE49-F238E27FC236}">
                    <a16:creationId xmlns:a16="http://schemas.microsoft.com/office/drawing/2014/main" id="{330554AA-79C9-462F-A4BF-76433BA543A1}"/>
                  </a:ext>
                </a:extLst>
              </p:cNvPr>
              <p:cNvSpPr/>
              <p:nvPr/>
            </p:nvSpPr>
            <p:spPr>
              <a:xfrm>
                <a:off x="-2168138" y="330081"/>
                <a:ext cx="6958200" cy="1699500"/>
              </a:xfrm>
              <a:prstGeom prst="rect">
                <a:avLst/>
              </a:prstGeom>
              <a:solidFill>
                <a:srgbClr val="AFE6FF"/>
              </a:solid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sp>
            <p:nvSpPr>
              <p:cNvPr id="22" name="Google Shape;66;p5">
                <a:extLst>
                  <a:ext uri="{FF2B5EF4-FFF2-40B4-BE49-F238E27FC236}">
                    <a16:creationId xmlns:a16="http://schemas.microsoft.com/office/drawing/2014/main" id="{48F921F4-4B19-4BE6-A9EB-C50ABB088AB0}"/>
                  </a:ext>
                </a:extLst>
              </p:cNvPr>
              <p:cNvSpPr/>
              <p:nvPr/>
            </p:nvSpPr>
            <p:spPr>
              <a:xfrm>
                <a:off x="4783025" y="330075"/>
                <a:ext cx="1699500" cy="1699500"/>
              </a:xfrm>
              <a:prstGeom prst="rtTriangle">
                <a:avLst/>
              </a:prstGeom>
              <a:solidFill>
                <a:srgbClr val="AFE6FF"/>
              </a:solid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grpSp>
        <p:grpSp>
          <p:nvGrpSpPr>
            <p:cNvPr id="18" name="Google Shape;67;p5">
              <a:extLst>
                <a:ext uri="{FF2B5EF4-FFF2-40B4-BE49-F238E27FC236}">
                  <a16:creationId xmlns:a16="http://schemas.microsoft.com/office/drawing/2014/main" id="{3EC5DEB1-82BE-44F6-ADAA-1A78A28E3275}"/>
                </a:ext>
              </a:extLst>
            </p:cNvPr>
            <p:cNvGrpSpPr/>
            <p:nvPr/>
          </p:nvGrpSpPr>
          <p:grpSpPr>
            <a:xfrm rot="10800000" flipH="1">
              <a:off x="-4" y="381007"/>
              <a:ext cx="7072430" cy="771744"/>
              <a:chOff x="-9092084" y="330075"/>
              <a:chExt cx="15574609" cy="1699501"/>
            </a:xfrm>
            <a:grpFill/>
          </p:grpSpPr>
          <p:sp>
            <p:nvSpPr>
              <p:cNvPr id="19" name="Google Shape;68;p5">
                <a:extLst>
                  <a:ext uri="{FF2B5EF4-FFF2-40B4-BE49-F238E27FC236}">
                    <a16:creationId xmlns:a16="http://schemas.microsoft.com/office/drawing/2014/main" id="{0A998C26-A805-4E7F-815A-3C661DB2481D}"/>
                  </a:ext>
                </a:extLst>
              </p:cNvPr>
              <p:cNvSpPr/>
              <p:nvPr/>
            </p:nvSpPr>
            <p:spPr>
              <a:xfrm>
                <a:off x="-9092084" y="330076"/>
                <a:ext cx="13882200" cy="1699500"/>
              </a:xfrm>
              <a:prstGeom prst="rect">
                <a:avLst/>
              </a:prstGeom>
              <a:grp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sp>
            <p:nvSpPr>
              <p:cNvPr id="20" name="Google Shape;69;p5">
                <a:extLst>
                  <a:ext uri="{FF2B5EF4-FFF2-40B4-BE49-F238E27FC236}">
                    <a16:creationId xmlns:a16="http://schemas.microsoft.com/office/drawing/2014/main" id="{FD9F61D7-FCF2-41F8-8D95-CD2104CF3E86}"/>
                  </a:ext>
                </a:extLst>
              </p:cNvPr>
              <p:cNvSpPr/>
              <p:nvPr/>
            </p:nvSpPr>
            <p:spPr>
              <a:xfrm>
                <a:off x="4783025" y="330075"/>
                <a:ext cx="1699500" cy="1699500"/>
              </a:xfrm>
              <a:prstGeom prst="rtTriangle">
                <a:avLst/>
              </a:prstGeom>
              <a:grp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grpSp>
      </p:grpSp>
      <p:pic>
        <p:nvPicPr>
          <p:cNvPr id="23" name="Picture 22">
            <a:extLst>
              <a:ext uri="{FF2B5EF4-FFF2-40B4-BE49-F238E27FC236}">
                <a16:creationId xmlns:a16="http://schemas.microsoft.com/office/drawing/2014/main" id="{3B0DCAB2-E412-44CD-BA78-DF9238C40E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497" y="6379771"/>
            <a:ext cx="1435495" cy="439364"/>
          </a:xfrm>
          <a:prstGeom prst="rect">
            <a:avLst/>
          </a:prstGeom>
        </p:spPr>
      </p:pic>
      <p:grpSp>
        <p:nvGrpSpPr>
          <p:cNvPr id="5" name="Group 4">
            <a:extLst>
              <a:ext uri="{FF2B5EF4-FFF2-40B4-BE49-F238E27FC236}">
                <a16:creationId xmlns:a16="http://schemas.microsoft.com/office/drawing/2014/main" id="{70B8AB67-5FE2-411A-8C7E-53AD2F8540F1}"/>
              </a:ext>
            </a:extLst>
          </p:cNvPr>
          <p:cNvGrpSpPr/>
          <p:nvPr userDrawn="1"/>
        </p:nvGrpSpPr>
        <p:grpSpPr>
          <a:xfrm>
            <a:off x="10757148" y="6183998"/>
            <a:ext cx="1435495" cy="674002"/>
            <a:chOff x="10766671" y="6183998"/>
            <a:chExt cx="1435495" cy="674002"/>
          </a:xfrm>
        </p:grpSpPr>
        <p:pic>
          <p:nvPicPr>
            <p:cNvPr id="24" name="Picture 23">
              <a:extLst>
                <a:ext uri="{FF2B5EF4-FFF2-40B4-BE49-F238E27FC236}">
                  <a16:creationId xmlns:a16="http://schemas.microsoft.com/office/drawing/2014/main" id="{D937C643-9433-48C0-9DDB-F070417599DA}"/>
                </a:ext>
              </a:extLst>
            </p:cNvPr>
            <p:cNvPicPr>
              <a:picLocks noChangeAspect="1"/>
            </p:cNvPicPr>
            <p:nvPr userDrawn="1"/>
          </p:nvPicPr>
          <p:blipFill>
            <a:blip r:embed="rId3"/>
            <a:stretch>
              <a:fillRect/>
            </a:stretch>
          </p:blipFill>
          <p:spPr>
            <a:xfrm>
              <a:off x="10766671" y="6183998"/>
              <a:ext cx="1435495" cy="674002"/>
            </a:xfrm>
            <a:prstGeom prst="rect">
              <a:avLst/>
            </a:prstGeom>
          </p:spPr>
        </p:pic>
        <p:pic>
          <p:nvPicPr>
            <p:cNvPr id="3" name="Picture 2">
              <a:extLst>
                <a:ext uri="{FF2B5EF4-FFF2-40B4-BE49-F238E27FC236}">
                  <a16:creationId xmlns:a16="http://schemas.microsoft.com/office/drawing/2014/main" id="{FAF094AA-DBE1-45A8-A7F8-ECDCC540B3B6}"/>
                </a:ext>
              </a:extLst>
            </p:cNvPr>
            <p:cNvPicPr>
              <a:picLocks noChangeAspect="1"/>
            </p:cNvPicPr>
            <p:nvPr userDrawn="1"/>
          </p:nvPicPr>
          <p:blipFill>
            <a:blip r:embed="rId4"/>
            <a:stretch>
              <a:fillRect/>
            </a:stretch>
          </p:blipFill>
          <p:spPr>
            <a:xfrm>
              <a:off x="11433936" y="6201619"/>
              <a:ext cx="622852" cy="622852"/>
            </a:xfrm>
            <a:prstGeom prst="rect">
              <a:avLst/>
            </a:prstGeom>
          </p:spPr>
        </p:pic>
      </p:grpSp>
    </p:spTree>
    <p:extLst>
      <p:ext uri="{BB962C8B-B14F-4D97-AF65-F5344CB8AC3E}">
        <p14:creationId xmlns:p14="http://schemas.microsoft.com/office/powerpoint/2010/main" val="195761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White slide with logo">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1" y="6356349"/>
            <a:ext cx="2743200" cy="365125"/>
          </a:xfrm>
          <a:prstGeom prst="rect">
            <a:avLst/>
          </a:prstGeom>
        </p:spPr>
        <p:txBody>
          <a:bodyPr/>
          <a:lstStyle/>
          <a:p>
            <a:fld id="{23A3C602-12A6-7A45-B8C2-50D042BFE614}" type="datetimeFigureOut">
              <a:rPr lang="en-US" smtClean="0"/>
              <a:t>10/2/2025</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24857536-02BA-C14C-ADA9-7F25CBD227EC}" type="slidenum">
              <a:rPr lang="en-US" smtClean="0"/>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1688"/>
            <a:ext cx="12191999" cy="6858190"/>
          </a:xfrm>
          <a:prstGeom prst="rect">
            <a:avLst/>
          </a:prstGeom>
        </p:spPr>
      </p:pic>
    </p:spTree>
    <p:extLst>
      <p:ext uri="{BB962C8B-B14F-4D97-AF65-F5344CB8AC3E}">
        <p14:creationId xmlns:p14="http://schemas.microsoft.com/office/powerpoint/2010/main" val="20668618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33469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a:prstGeom prst="rect">
            <a:avLst/>
          </a:prstGeom>
        </p:spPr>
        <p:txBody>
          <a:bodyPr anchor="b"/>
          <a:lstStyle>
            <a:lvl1pPr algn="ctr">
              <a:defRPr sz="6000">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p:cNvSpPr>
            <a:spLocks noGrp="1"/>
          </p:cNvSpPr>
          <p:nvPr>
            <p:ph type="subTitle" idx="1"/>
          </p:nvPr>
        </p:nvSpPr>
        <p:spPr>
          <a:xfrm>
            <a:off x="1524001" y="3602038"/>
            <a:ext cx="9144000" cy="1655762"/>
          </a:xfrm>
          <a:prstGeom prst="rect">
            <a:avLst/>
          </a:prstGeom>
        </p:spPr>
        <p:txBody>
          <a:bodyPr/>
          <a:lstStyle>
            <a:lvl1pPr marL="0" indent="0" algn="ctr">
              <a:buNone/>
              <a:defRPr sz="2400">
                <a:latin typeface="Arial" panose="020B0604020202020204" pitchFamily="34" charset="0"/>
                <a:cs typeface="Arial" panose="020B0604020202020204" pitchFamily="34" charset="0"/>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1" y="6356351"/>
            <a:ext cx="2743200" cy="365125"/>
          </a:xfrm>
          <a:prstGeom prst="rect">
            <a:avLst/>
          </a:prstGeom>
        </p:spPr>
        <p:txBody>
          <a:bodyPr/>
          <a:lstStyle>
            <a:lvl1pPr>
              <a:defRPr>
                <a:latin typeface="Arial" panose="020B0604020202020204" pitchFamily="34" charset="0"/>
                <a:cs typeface="Arial" panose="020B0604020202020204" pitchFamily="34" charset="0"/>
              </a:defRPr>
            </a:lvl1pPr>
          </a:lstStyle>
          <a:p>
            <a:fld id="{09BCC0AE-6DC0-4D8D-B1FB-2A075A8BF08F}" type="datetimeFigureOut">
              <a:rPr lang="en-GB" smtClean="0"/>
              <a:pPr/>
              <a:t>UHC index in most
recent year</a:t>
            </a:fld>
            <a:endParaRPr lang="en-GB"/>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72464531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Content Placeholder 2"/>
          <p:cNvSpPr>
            <a:spLocks noGrp="1"/>
          </p:cNvSpPr>
          <p:nvPr>
            <p:ph idx="1"/>
          </p:nvPr>
        </p:nvSpPr>
        <p:spPr>
          <a:xfrm>
            <a:off x="838200" y="1825625"/>
            <a:ext cx="10515600" cy="4351338"/>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1" y="6356351"/>
            <a:ext cx="2743200" cy="365125"/>
          </a:xfrm>
          <a:prstGeom prst="rect">
            <a:avLst/>
          </a:prstGeom>
        </p:spPr>
        <p:txBody>
          <a:bodyPr/>
          <a:lstStyle>
            <a:lvl1pPr>
              <a:defRPr>
                <a:latin typeface="Arial" panose="020B0604020202020204" pitchFamily="34" charset="0"/>
                <a:cs typeface="Arial" panose="020B0604020202020204" pitchFamily="34" charset="0"/>
              </a:defRPr>
            </a:lvl1pPr>
          </a:lstStyle>
          <a:p>
            <a:fld id="{09BCC0AE-6DC0-4D8D-B1FB-2A075A8BF08F}" type="datetimeFigureOut">
              <a:rPr lang="en-GB" smtClean="0"/>
              <a:pPr/>
              <a:t>UHC index in most
recent year</a:t>
            </a:fld>
            <a:endParaRPr lang="en-GB"/>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20095456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a:prstGeom prst="rect">
            <a:avLst/>
          </a:prstGeom>
        </p:spPr>
        <p:txBody>
          <a:bodyPr anchor="b"/>
          <a:lstStyle>
            <a:lvl1pPr>
              <a:defRPr sz="6000">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Text Placeholder 2"/>
          <p:cNvSpPr>
            <a:spLocks noGrp="1"/>
          </p:cNvSpPr>
          <p:nvPr>
            <p:ph type="body" idx="1"/>
          </p:nvPr>
        </p:nvSpPr>
        <p:spPr>
          <a:xfrm>
            <a:off x="831850" y="4589464"/>
            <a:ext cx="10515600" cy="1500187"/>
          </a:xfrm>
          <a:prstGeom prst="rect">
            <a:avLst/>
          </a:prstGeom>
        </p:spPr>
        <p:txBody>
          <a:bodyPr/>
          <a:lstStyle>
            <a:lvl1pPr marL="0" indent="0">
              <a:buNone/>
              <a:defRPr sz="2400">
                <a:solidFill>
                  <a:schemeClr val="tx1">
                    <a:tint val="75000"/>
                  </a:schemeClr>
                </a:solidFill>
                <a:latin typeface="Arial" panose="020B0604020202020204" pitchFamily="34" charset="0"/>
                <a:cs typeface="Arial" panose="020B0604020202020204" pitchFamily="34" charset="0"/>
              </a:defRPr>
            </a:lvl1pPr>
            <a:lvl2pPr marL="457179" indent="0">
              <a:buNone/>
              <a:defRPr sz="2000">
                <a:solidFill>
                  <a:schemeClr val="tx1">
                    <a:tint val="75000"/>
                  </a:schemeClr>
                </a:solidFill>
              </a:defRPr>
            </a:lvl2pPr>
            <a:lvl3pPr marL="914358" indent="0">
              <a:buNone/>
              <a:defRPr sz="1800">
                <a:solidFill>
                  <a:schemeClr val="tx1">
                    <a:tint val="75000"/>
                  </a:schemeClr>
                </a:solidFill>
              </a:defRPr>
            </a:lvl3pPr>
            <a:lvl4pPr marL="1371536" indent="0">
              <a:buNone/>
              <a:defRPr sz="1600">
                <a:solidFill>
                  <a:schemeClr val="tx1">
                    <a:tint val="75000"/>
                  </a:schemeClr>
                </a:solidFill>
              </a:defRPr>
            </a:lvl4pPr>
            <a:lvl5pPr marL="1828715" indent="0">
              <a:buNone/>
              <a:defRPr sz="1600">
                <a:solidFill>
                  <a:schemeClr val="tx1">
                    <a:tint val="75000"/>
                  </a:schemeClr>
                </a:solidFill>
              </a:defRPr>
            </a:lvl5pPr>
            <a:lvl6pPr marL="2285894" indent="0">
              <a:buNone/>
              <a:defRPr sz="1600">
                <a:solidFill>
                  <a:schemeClr val="tx1">
                    <a:tint val="75000"/>
                  </a:schemeClr>
                </a:solidFill>
              </a:defRPr>
            </a:lvl6pPr>
            <a:lvl7pPr marL="2743073" indent="0">
              <a:buNone/>
              <a:defRPr sz="1600">
                <a:solidFill>
                  <a:schemeClr val="tx1">
                    <a:tint val="75000"/>
                  </a:schemeClr>
                </a:solidFill>
              </a:defRPr>
            </a:lvl7pPr>
            <a:lvl8pPr marL="3200252" indent="0">
              <a:buNone/>
              <a:defRPr sz="1600">
                <a:solidFill>
                  <a:schemeClr val="tx1">
                    <a:tint val="75000"/>
                  </a:schemeClr>
                </a:solidFill>
              </a:defRPr>
            </a:lvl8pPr>
            <a:lvl9pPr marL="365743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lvl1pPr>
              <a:defRPr>
                <a:latin typeface="Arial" panose="020B0604020202020204" pitchFamily="34" charset="0"/>
                <a:cs typeface="Arial" panose="020B0604020202020204" pitchFamily="34" charset="0"/>
              </a:defRPr>
            </a:lvl1pPr>
          </a:lstStyle>
          <a:p>
            <a:fld id="{09BCC0AE-6DC0-4D8D-B1FB-2A075A8BF08F}" type="datetimeFigureOut">
              <a:rPr lang="en-GB" smtClean="0"/>
              <a:pPr/>
              <a:t>UHC index in most
recent year</a:t>
            </a:fld>
            <a:endParaRPr lang="en-GB"/>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80317229"/>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Content Placeholder 2"/>
          <p:cNvSpPr>
            <a:spLocks noGrp="1"/>
          </p:cNvSpPr>
          <p:nvPr>
            <p:ph sz="half" idx="1"/>
          </p:nvPr>
        </p:nvSpPr>
        <p:spPr>
          <a:xfrm>
            <a:off x="838201" y="1825625"/>
            <a:ext cx="5181600" cy="4351338"/>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838201" y="6356351"/>
            <a:ext cx="2743200" cy="365125"/>
          </a:xfrm>
          <a:prstGeom prst="rect">
            <a:avLst/>
          </a:prstGeom>
        </p:spPr>
        <p:txBody>
          <a:bodyPr/>
          <a:lstStyle>
            <a:lvl1pPr>
              <a:defRPr>
                <a:latin typeface="Arial" panose="020B0604020202020204" pitchFamily="34" charset="0"/>
                <a:cs typeface="Arial" panose="020B0604020202020204" pitchFamily="34" charset="0"/>
              </a:defRPr>
            </a:lvl1pPr>
          </a:lstStyle>
          <a:p>
            <a:fld id="{09BCC0AE-6DC0-4D8D-B1FB-2A075A8BF08F}" type="datetimeFigureOut">
              <a:rPr lang="en-GB" smtClean="0"/>
              <a:pPr/>
              <a:t>UHC index in most
recent year</a:t>
            </a:fld>
            <a:endParaRPr lang="en-GB"/>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46997974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1" y="1681163"/>
            <a:ext cx="5183188" cy="823912"/>
          </a:xfrm>
          <a:prstGeom prst="rect">
            <a:avLst/>
          </a:prstGeom>
        </p:spPr>
        <p:txBody>
          <a:bodyPr anchor="b"/>
          <a:lstStyle>
            <a:lvl1pPr marL="0" indent="0">
              <a:buNone/>
              <a:defRPr sz="2400" b="1">
                <a:latin typeface="Arial" panose="020B0604020202020204" pitchFamily="34" charset="0"/>
                <a:cs typeface="Arial" panose="020B0604020202020204" pitchFamily="34" charset="0"/>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38201" y="6356351"/>
            <a:ext cx="2743200" cy="365125"/>
          </a:xfrm>
          <a:prstGeom prst="rect">
            <a:avLst/>
          </a:prstGeom>
        </p:spPr>
        <p:txBody>
          <a:bodyPr/>
          <a:lstStyle>
            <a:lvl1pPr>
              <a:defRPr>
                <a:latin typeface="Arial" panose="020B0604020202020204" pitchFamily="34" charset="0"/>
                <a:cs typeface="Arial" panose="020B0604020202020204" pitchFamily="34" charset="0"/>
              </a:defRPr>
            </a:lvl1pPr>
          </a:lstStyle>
          <a:p>
            <a:fld id="{09BCC0AE-6DC0-4D8D-B1FB-2A075A8BF08F}" type="datetimeFigureOut">
              <a:rPr lang="en-GB" smtClean="0"/>
              <a:pPr/>
              <a:t>UHC index in most
recent year</a:t>
            </a:fld>
            <a:endParaRPr lang="en-GB"/>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01165211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Date Placeholder 2"/>
          <p:cNvSpPr>
            <a:spLocks noGrp="1"/>
          </p:cNvSpPr>
          <p:nvPr>
            <p:ph type="dt" sz="half" idx="10"/>
          </p:nvPr>
        </p:nvSpPr>
        <p:spPr>
          <a:xfrm>
            <a:off x="838201" y="6356351"/>
            <a:ext cx="2743200" cy="365125"/>
          </a:xfrm>
          <a:prstGeom prst="rect">
            <a:avLst/>
          </a:prstGeom>
        </p:spPr>
        <p:txBody>
          <a:bodyPr/>
          <a:lstStyle>
            <a:lvl1pPr>
              <a:defRPr>
                <a:latin typeface="Arial" panose="020B0604020202020204" pitchFamily="34" charset="0"/>
                <a:cs typeface="Arial" panose="020B0604020202020204" pitchFamily="34" charset="0"/>
              </a:defRPr>
            </a:lvl1pPr>
          </a:lstStyle>
          <a:p>
            <a:fld id="{09BCC0AE-6DC0-4D8D-B1FB-2A075A8BF08F}" type="datetimeFigureOut">
              <a:rPr lang="en-GB" smtClean="0"/>
              <a:pPr/>
              <a:t>UHC index in most
recent year</a:t>
            </a:fld>
            <a:endParaRPr lang="en-GB"/>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07125616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a:prstGeom prst="rect">
            <a:avLst/>
          </a:prstGeom>
        </p:spPr>
        <p:txBody>
          <a:bodyPr anchor="b"/>
          <a:lstStyle>
            <a:lvl1pPr>
              <a:defRPr sz="3200">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Content Placeholder 2"/>
          <p:cNvSpPr>
            <a:spLocks noGrp="1"/>
          </p:cNvSpPr>
          <p:nvPr>
            <p:ph idx="1"/>
          </p:nvPr>
        </p:nvSpPr>
        <p:spPr>
          <a:xfrm>
            <a:off x="5183188" y="987426"/>
            <a:ext cx="6172200" cy="4873625"/>
          </a:xfrm>
          <a:prstGeom prst="rect">
            <a:avLst/>
          </a:prstGeom>
        </p:spPr>
        <p:txBody>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9"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lvl1pPr>
              <a:defRPr>
                <a:latin typeface="Arial" panose="020B0604020202020204" pitchFamily="34" charset="0"/>
                <a:cs typeface="Arial" panose="020B0604020202020204" pitchFamily="34" charset="0"/>
              </a:defRPr>
            </a:lvl1pPr>
          </a:lstStyle>
          <a:p>
            <a:fld id="{09BCC0AE-6DC0-4D8D-B1FB-2A075A8BF08F}" type="datetimeFigureOut">
              <a:rPr lang="en-GB" smtClean="0"/>
              <a:pPr/>
              <a:t>UHC index in most
recent year</a:t>
            </a:fld>
            <a:endParaRPr lang="en-GB"/>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091392465"/>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40180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234648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userDrawn="1">
  <p:cSld name="Title slide whit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47FF6B-42C6-61BF-FA3A-FC0A62BE1D46}"/>
              </a:ext>
            </a:extLst>
          </p:cNvPr>
          <p:cNvPicPr>
            <a:picLocks noChangeAspect="1"/>
          </p:cNvPicPr>
          <p:nvPr userDrawn="1"/>
        </p:nvPicPr>
        <p:blipFill>
          <a:blip r:embed="rId2"/>
          <a:stretch>
            <a:fillRect/>
          </a:stretch>
        </p:blipFill>
        <p:spPr>
          <a:xfrm>
            <a:off x="27703" y="27708"/>
            <a:ext cx="12192000" cy="2588212"/>
          </a:xfrm>
          <a:prstGeom prst="rect">
            <a:avLst/>
          </a:prstGeom>
        </p:spPr>
      </p:pic>
      <p:sp>
        <p:nvSpPr>
          <p:cNvPr id="6" name="Google Shape;10;p2">
            <a:extLst>
              <a:ext uri="{FF2B5EF4-FFF2-40B4-BE49-F238E27FC236}">
                <a16:creationId xmlns:a16="http://schemas.microsoft.com/office/drawing/2014/main" id="{4C05FDD3-1B9A-4C94-8739-4A52DD8ED383}"/>
              </a:ext>
            </a:extLst>
          </p:cNvPr>
          <p:cNvSpPr/>
          <p:nvPr userDrawn="1"/>
        </p:nvSpPr>
        <p:spPr>
          <a:xfrm>
            <a:off x="10473786" y="2897576"/>
            <a:ext cx="1759161" cy="227852"/>
          </a:xfrm>
          <a:prstGeom prst="triangle">
            <a:avLst>
              <a:gd name="adj" fmla="val 32425"/>
            </a:avLst>
          </a:prstGeom>
          <a:solidFill>
            <a:srgbClr val="FEA91A"/>
          </a:solidFill>
          <a:ln>
            <a:noFill/>
          </a:ln>
        </p:spPr>
        <p:txBody>
          <a:bodyPr spcFirstLastPara="1" wrap="square" lIns="68564" tIns="68564" rIns="68564" bIns="68564" anchor="ctr" anchorCtr="0">
            <a:noAutofit/>
          </a:bodyPr>
          <a:lstStyle/>
          <a:p>
            <a:pPr>
              <a:buClr>
                <a:srgbClr val="000000"/>
              </a:buClr>
              <a:buFont typeface="Arial"/>
              <a:buNone/>
            </a:pPr>
            <a:endParaRPr sz="1050" kern="0">
              <a:solidFill>
                <a:srgbClr val="000000"/>
              </a:solidFill>
              <a:latin typeface="Arvo"/>
              <a:ea typeface="Arvo"/>
              <a:cs typeface="Arvo"/>
              <a:sym typeface="Arvo"/>
            </a:endParaRPr>
          </a:p>
        </p:txBody>
      </p:sp>
      <p:grpSp>
        <p:nvGrpSpPr>
          <p:cNvPr id="7" name="Google Shape;11;p2">
            <a:extLst>
              <a:ext uri="{FF2B5EF4-FFF2-40B4-BE49-F238E27FC236}">
                <a16:creationId xmlns:a16="http://schemas.microsoft.com/office/drawing/2014/main" id="{BF5D14EE-5E7F-4936-B9EB-55BED7F38DA5}"/>
              </a:ext>
            </a:extLst>
          </p:cNvPr>
          <p:cNvGrpSpPr/>
          <p:nvPr userDrawn="1"/>
        </p:nvGrpSpPr>
        <p:grpSpPr>
          <a:xfrm>
            <a:off x="0" y="2564905"/>
            <a:ext cx="11764142" cy="3548136"/>
            <a:chOff x="0" y="-7088"/>
            <a:chExt cx="8630240" cy="5143500"/>
          </a:xfrm>
          <a:solidFill>
            <a:srgbClr val="FFE2A6"/>
          </a:solidFill>
        </p:grpSpPr>
        <p:sp>
          <p:nvSpPr>
            <p:cNvPr id="8" name="Google Shape;12;p2">
              <a:extLst>
                <a:ext uri="{FF2B5EF4-FFF2-40B4-BE49-F238E27FC236}">
                  <a16:creationId xmlns:a16="http://schemas.microsoft.com/office/drawing/2014/main" id="{5C689941-7DB9-43EA-B2E1-09DCDE5DBDB7}"/>
                </a:ext>
              </a:extLst>
            </p:cNvPr>
            <p:cNvSpPr/>
            <p:nvPr/>
          </p:nvSpPr>
          <p:spPr>
            <a:xfrm>
              <a:off x="0" y="-7087"/>
              <a:ext cx="3525000" cy="5117942"/>
            </a:xfrm>
            <a:prstGeom prst="rect">
              <a:avLst/>
            </a:prstGeom>
            <a:grpFill/>
            <a:ln>
              <a:noFill/>
            </a:ln>
          </p:spPr>
          <p:txBody>
            <a:bodyPr spcFirstLastPara="1" wrap="square" lIns="91425" tIns="91425" rIns="91425" bIns="91425" anchor="ctr" anchorCtr="0">
              <a:noAutofit/>
            </a:bodyPr>
            <a:lstStyle/>
            <a:p>
              <a:pPr>
                <a:buClr>
                  <a:srgbClr val="000000"/>
                </a:buClr>
                <a:buFont typeface="Arial"/>
                <a:buNone/>
              </a:pPr>
              <a:endParaRPr sz="1050" kern="0">
                <a:solidFill>
                  <a:srgbClr val="000000"/>
                </a:solidFill>
                <a:latin typeface="Arial"/>
                <a:cs typeface="Arial"/>
                <a:sym typeface="Arial"/>
              </a:endParaRPr>
            </a:p>
          </p:txBody>
        </p:sp>
        <p:sp>
          <p:nvSpPr>
            <p:cNvPr id="9" name="Google Shape;13;p2">
              <a:extLst>
                <a:ext uri="{FF2B5EF4-FFF2-40B4-BE49-F238E27FC236}">
                  <a16:creationId xmlns:a16="http://schemas.microsoft.com/office/drawing/2014/main" id="{57A642B3-C222-4389-A619-9E672726439D}"/>
                </a:ext>
              </a:extLst>
            </p:cNvPr>
            <p:cNvSpPr/>
            <p:nvPr/>
          </p:nvSpPr>
          <p:spPr>
            <a:xfrm rot="10800000" flipH="1">
              <a:off x="3486741" y="-7088"/>
              <a:ext cx="5143499" cy="5143500"/>
            </a:xfrm>
            <a:prstGeom prst="rtTriangle">
              <a:avLst/>
            </a:prstGeom>
            <a:grpFill/>
            <a:ln>
              <a:noFill/>
            </a:ln>
          </p:spPr>
          <p:txBody>
            <a:bodyPr spcFirstLastPara="1" wrap="square" lIns="91425" tIns="91425" rIns="91425" bIns="91425" anchor="ctr" anchorCtr="0">
              <a:noAutofit/>
            </a:bodyPr>
            <a:lstStyle/>
            <a:p>
              <a:pPr>
                <a:buClr>
                  <a:srgbClr val="000000"/>
                </a:buClr>
                <a:buFont typeface="Arial"/>
                <a:buNone/>
              </a:pPr>
              <a:endParaRPr sz="1050" kern="0">
                <a:solidFill>
                  <a:srgbClr val="000000"/>
                </a:solidFill>
                <a:latin typeface="Arvo"/>
                <a:ea typeface="Arvo"/>
                <a:cs typeface="Arvo"/>
                <a:sym typeface="Arvo"/>
              </a:endParaRPr>
            </a:p>
          </p:txBody>
        </p:sp>
      </p:grpSp>
      <p:grpSp>
        <p:nvGrpSpPr>
          <p:cNvPr id="10" name="Google Shape;14;p2">
            <a:extLst>
              <a:ext uri="{FF2B5EF4-FFF2-40B4-BE49-F238E27FC236}">
                <a16:creationId xmlns:a16="http://schemas.microsoft.com/office/drawing/2014/main" id="{BC0BF025-244F-40BD-B793-1BA17551CE9E}"/>
              </a:ext>
            </a:extLst>
          </p:cNvPr>
          <p:cNvGrpSpPr/>
          <p:nvPr userDrawn="1"/>
        </p:nvGrpSpPr>
        <p:grpSpPr>
          <a:xfrm rot="10800000" flipH="1">
            <a:off x="0" y="3117382"/>
            <a:ext cx="12191996" cy="2690023"/>
            <a:chOff x="-8178042" y="-4493119"/>
            <a:chExt cx="19490999" cy="6522601"/>
          </a:xfrm>
          <a:gradFill>
            <a:gsLst>
              <a:gs pos="0">
                <a:srgbClr val="738EC5"/>
              </a:gs>
              <a:gs pos="50000">
                <a:srgbClr val="80A6D5"/>
              </a:gs>
              <a:gs pos="100000">
                <a:srgbClr val="8DBEE6"/>
              </a:gs>
            </a:gsLst>
            <a:lin ang="5400000" scaled="1"/>
          </a:gradFill>
        </p:grpSpPr>
        <p:sp>
          <p:nvSpPr>
            <p:cNvPr id="11" name="Google Shape;15;p2">
              <a:extLst>
                <a:ext uri="{FF2B5EF4-FFF2-40B4-BE49-F238E27FC236}">
                  <a16:creationId xmlns:a16="http://schemas.microsoft.com/office/drawing/2014/main" id="{B57BDEE7-9862-4E6D-A42E-5747DCA53B0E}"/>
                </a:ext>
              </a:extLst>
            </p:cNvPr>
            <p:cNvSpPr/>
            <p:nvPr/>
          </p:nvSpPr>
          <p:spPr>
            <a:xfrm>
              <a:off x="-8178042" y="-4493118"/>
              <a:ext cx="12968400" cy="6522600"/>
            </a:xfrm>
            <a:prstGeom prst="rect">
              <a:avLst/>
            </a:prstGeom>
            <a:gradFill>
              <a:gsLst>
                <a:gs pos="0">
                  <a:srgbClr val="D18201"/>
                </a:gs>
                <a:gs pos="50000">
                  <a:srgbClr val="FEB632"/>
                </a:gs>
                <a:gs pos="100000">
                  <a:srgbClr val="FECB63"/>
                </a:gs>
              </a:gsLst>
              <a:lin ang="5400000" scaled="1"/>
            </a:gradFill>
            <a:ln>
              <a:noFill/>
            </a:ln>
          </p:spPr>
          <p:txBody>
            <a:bodyPr spcFirstLastPara="1" wrap="square" lIns="91425" tIns="91425" rIns="91425" bIns="91425" anchor="ctr" anchorCtr="0">
              <a:noAutofit/>
            </a:bodyPr>
            <a:lstStyle/>
            <a:p>
              <a:pPr>
                <a:buClr>
                  <a:srgbClr val="000000"/>
                </a:buClr>
                <a:buFont typeface="Arial"/>
                <a:buNone/>
              </a:pPr>
              <a:endParaRPr sz="1050" kern="0">
                <a:solidFill>
                  <a:srgbClr val="000000"/>
                </a:solidFill>
                <a:latin typeface="Arvo"/>
                <a:ea typeface="Arvo"/>
                <a:cs typeface="Arvo"/>
                <a:sym typeface="Arvo"/>
              </a:endParaRPr>
            </a:p>
          </p:txBody>
        </p:sp>
        <p:sp>
          <p:nvSpPr>
            <p:cNvPr id="12" name="Google Shape;16;p2">
              <a:extLst>
                <a:ext uri="{FF2B5EF4-FFF2-40B4-BE49-F238E27FC236}">
                  <a16:creationId xmlns:a16="http://schemas.microsoft.com/office/drawing/2014/main" id="{4E0AD8A8-D59C-4BF5-8EE1-7FBEAE80F489}"/>
                </a:ext>
              </a:extLst>
            </p:cNvPr>
            <p:cNvSpPr/>
            <p:nvPr/>
          </p:nvSpPr>
          <p:spPr>
            <a:xfrm>
              <a:off x="4790357" y="-4493119"/>
              <a:ext cx="6522600" cy="6522599"/>
            </a:xfrm>
            <a:prstGeom prst="rtTriangle">
              <a:avLst/>
            </a:prstGeom>
            <a:gradFill>
              <a:gsLst>
                <a:gs pos="0">
                  <a:srgbClr val="D18201"/>
                </a:gs>
                <a:gs pos="50000">
                  <a:srgbClr val="FEB632"/>
                </a:gs>
                <a:gs pos="100000">
                  <a:srgbClr val="FECB63"/>
                </a:gs>
              </a:gsLst>
              <a:lin ang="5400000" scaled="1"/>
            </a:gradFill>
            <a:ln>
              <a:noFill/>
            </a:ln>
          </p:spPr>
          <p:txBody>
            <a:bodyPr spcFirstLastPara="1" wrap="square" lIns="91425" tIns="91425" rIns="91425" bIns="91425" anchor="ctr" anchorCtr="0">
              <a:noAutofit/>
            </a:bodyPr>
            <a:lstStyle/>
            <a:p>
              <a:pPr>
                <a:buClr>
                  <a:srgbClr val="000000"/>
                </a:buClr>
                <a:buFont typeface="Arial"/>
                <a:buNone/>
              </a:pPr>
              <a:endParaRPr sz="1050" kern="0">
                <a:solidFill>
                  <a:srgbClr val="000000"/>
                </a:solidFill>
                <a:latin typeface="Arvo"/>
                <a:ea typeface="Arvo"/>
                <a:cs typeface="Arvo"/>
                <a:sym typeface="Arvo"/>
              </a:endParaRPr>
            </a:p>
          </p:txBody>
        </p:sp>
      </p:grpSp>
      <p:grpSp>
        <p:nvGrpSpPr>
          <p:cNvPr id="15" name="Google Shape;19;p2">
            <a:extLst>
              <a:ext uri="{FF2B5EF4-FFF2-40B4-BE49-F238E27FC236}">
                <a16:creationId xmlns:a16="http://schemas.microsoft.com/office/drawing/2014/main" id="{4CD1C265-3ED5-4D24-8BDE-693724046896}"/>
              </a:ext>
            </a:extLst>
          </p:cNvPr>
          <p:cNvGrpSpPr/>
          <p:nvPr/>
        </p:nvGrpSpPr>
        <p:grpSpPr>
          <a:xfrm flipH="1">
            <a:off x="5069561" y="6113041"/>
            <a:ext cx="7122435" cy="298740"/>
            <a:chOff x="-24158734" y="330081"/>
            <a:chExt cx="49262762" cy="1699500"/>
          </a:xfrm>
          <a:solidFill>
            <a:srgbClr val="FEA91A"/>
          </a:solidFill>
        </p:grpSpPr>
        <p:sp>
          <p:nvSpPr>
            <p:cNvPr id="16" name="Google Shape;20;p2">
              <a:extLst>
                <a:ext uri="{FF2B5EF4-FFF2-40B4-BE49-F238E27FC236}">
                  <a16:creationId xmlns:a16="http://schemas.microsoft.com/office/drawing/2014/main" id="{3DB59117-5597-406A-BE77-071B4407D953}"/>
                </a:ext>
              </a:extLst>
            </p:cNvPr>
            <p:cNvSpPr/>
            <p:nvPr/>
          </p:nvSpPr>
          <p:spPr>
            <a:xfrm>
              <a:off x="-24158734" y="330081"/>
              <a:ext cx="46229829" cy="1699500"/>
            </a:xfrm>
            <a:prstGeom prst="rect">
              <a:avLst/>
            </a:prstGeom>
            <a:grpFill/>
            <a:ln>
              <a:noFill/>
            </a:ln>
          </p:spPr>
          <p:txBody>
            <a:bodyPr spcFirstLastPara="1" wrap="square" lIns="91425" tIns="91425" rIns="91425" bIns="91425" anchor="ctr" anchorCtr="0">
              <a:noAutofit/>
            </a:bodyPr>
            <a:lstStyle/>
            <a:p>
              <a:pPr>
                <a:buClr>
                  <a:srgbClr val="000000"/>
                </a:buClr>
                <a:buFont typeface="Arial"/>
                <a:buNone/>
              </a:pPr>
              <a:endParaRPr sz="1050" kern="0">
                <a:solidFill>
                  <a:srgbClr val="000000"/>
                </a:solidFill>
                <a:latin typeface="Arial"/>
                <a:cs typeface="Arial"/>
                <a:sym typeface="Arial"/>
              </a:endParaRPr>
            </a:p>
          </p:txBody>
        </p:sp>
        <p:sp>
          <p:nvSpPr>
            <p:cNvPr id="17" name="Google Shape;21;p2">
              <a:extLst>
                <a:ext uri="{FF2B5EF4-FFF2-40B4-BE49-F238E27FC236}">
                  <a16:creationId xmlns:a16="http://schemas.microsoft.com/office/drawing/2014/main" id="{8A0EDAFC-613F-4F1D-B146-D4975FEB3B18}"/>
                </a:ext>
              </a:extLst>
            </p:cNvPr>
            <p:cNvSpPr/>
            <p:nvPr/>
          </p:nvSpPr>
          <p:spPr>
            <a:xfrm>
              <a:off x="22071095" y="330081"/>
              <a:ext cx="3032933" cy="1699500"/>
            </a:xfrm>
            <a:prstGeom prst="rtTriangle">
              <a:avLst/>
            </a:prstGeom>
            <a:grpFill/>
            <a:ln>
              <a:noFill/>
            </a:ln>
          </p:spPr>
          <p:txBody>
            <a:bodyPr spcFirstLastPara="1" wrap="square" lIns="91425" tIns="91425" rIns="91425" bIns="91425" anchor="ctr" anchorCtr="0">
              <a:noAutofit/>
            </a:bodyPr>
            <a:lstStyle/>
            <a:p>
              <a:pPr>
                <a:buClr>
                  <a:srgbClr val="000000"/>
                </a:buClr>
                <a:buFont typeface="Arial"/>
                <a:buNone/>
              </a:pPr>
              <a:endParaRPr sz="1050" kern="0">
                <a:solidFill>
                  <a:srgbClr val="000000"/>
                </a:solidFill>
                <a:latin typeface="Arial"/>
                <a:cs typeface="Arial"/>
                <a:sym typeface="Arial"/>
              </a:endParaRPr>
            </a:p>
          </p:txBody>
        </p:sp>
      </p:grpSp>
      <p:pic>
        <p:nvPicPr>
          <p:cNvPr id="18" name="Picture 17" descr="A close up of a sign&#10;&#10;Description generated with high confidence">
            <a:extLst>
              <a:ext uri="{FF2B5EF4-FFF2-40B4-BE49-F238E27FC236}">
                <a16:creationId xmlns:a16="http://schemas.microsoft.com/office/drawing/2014/main" id="{B5FA23B0-DD49-4CE1-99E8-6D377FBFEF6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25476" y="5581272"/>
            <a:ext cx="1125605" cy="1123771"/>
          </a:xfrm>
          <a:prstGeom prst="rect">
            <a:avLst/>
          </a:prstGeom>
        </p:spPr>
      </p:pic>
      <p:pic>
        <p:nvPicPr>
          <p:cNvPr id="19" name="Picture 18">
            <a:extLst>
              <a:ext uri="{FF2B5EF4-FFF2-40B4-BE49-F238E27FC236}">
                <a16:creationId xmlns:a16="http://schemas.microsoft.com/office/drawing/2014/main" id="{B35C1F4C-09D7-45FC-B97A-FC12417A01C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47323" y="6203104"/>
            <a:ext cx="1769863" cy="541705"/>
          </a:xfrm>
          <a:prstGeom prst="rect">
            <a:avLst/>
          </a:prstGeom>
        </p:spPr>
      </p:pic>
    </p:spTree>
    <p:extLst>
      <p:ext uri="{BB962C8B-B14F-4D97-AF65-F5344CB8AC3E}">
        <p14:creationId xmlns:p14="http://schemas.microsoft.com/office/powerpoint/2010/main" val="536334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Tree>
    <p:extLst>
      <p:ext uri="{BB962C8B-B14F-4D97-AF65-F5344CB8AC3E}">
        <p14:creationId xmlns:p14="http://schemas.microsoft.com/office/powerpoint/2010/main" val="59752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userDrawn="1">
  <p:cSld name="normal2">
    <p:spTree>
      <p:nvGrpSpPr>
        <p:cNvPr id="1" name=""/>
        <p:cNvGrpSpPr/>
        <p:nvPr/>
      </p:nvGrpSpPr>
      <p:grpSpPr>
        <a:xfrm>
          <a:off x="0" y="0"/>
          <a:ext cx="0" cy="0"/>
          <a:chOff x="0" y="0"/>
          <a:chExt cx="0" cy="0"/>
        </a:xfrm>
      </p:grpSpPr>
      <p:grpSp>
        <p:nvGrpSpPr>
          <p:cNvPr id="15" name="Google Shape;62;p5">
            <a:extLst>
              <a:ext uri="{FF2B5EF4-FFF2-40B4-BE49-F238E27FC236}">
                <a16:creationId xmlns:a16="http://schemas.microsoft.com/office/drawing/2014/main" id="{C440A045-121A-4D5C-BE3C-2BBDE106FAD8}"/>
              </a:ext>
            </a:extLst>
          </p:cNvPr>
          <p:cNvGrpSpPr/>
          <p:nvPr userDrawn="1"/>
        </p:nvGrpSpPr>
        <p:grpSpPr>
          <a:xfrm>
            <a:off x="0" y="-7354"/>
            <a:ext cx="9696400" cy="795572"/>
            <a:chOff x="-4" y="39"/>
            <a:chExt cx="7072430" cy="1152718"/>
          </a:xfrm>
          <a:solidFill>
            <a:srgbClr val="0093D5"/>
          </a:solidFill>
        </p:grpSpPr>
        <p:sp>
          <p:nvSpPr>
            <p:cNvPr id="16" name="Google Shape;63;p5">
              <a:extLst>
                <a:ext uri="{FF2B5EF4-FFF2-40B4-BE49-F238E27FC236}">
                  <a16:creationId xmlns:a16="http://schemas.microsoft.com/office/drawing/2014/main" id="{BEB445F0-58BC-408F-892F-FB1686114DE3}"/>
                </a:ext>
              </a:extLst>
            </p:cNvPr>
            <p:cNvSpPr/>
            <p:nvPr/>
          </p:nvSpPr>
          <p:spPr>
            <a:xfrm>
              <a:off x="6292649" y="126425"/>
              <a:ext cx="779700" cy="259800"/>
            </a:xfrm>
            <a:prstGeom prst="triangle">
              <a:avLst>
                <a:gd name="adj" fmla="val 32425"/>
              </a:avLst>
            </a:prstGeom>
            <a:solidFill>
              <a:srgbClr val="FEA91A"/>
            </a:solid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grpSp>
          <p:nvGrpSpPr>
            <p:cNvPr id="17" name="Google Shape;64;p5">
              <a:extLst>
                <a:ext uri="{FF2B5EF4-FFF2-40B4-BE49-F238E27FC236}">
                  <a16:creationId xmlns:a16="http://schemas.microsoft.com/office/drawing/2014/main" id="{295E6139-C61A-4236-916C-DCF09E2CAC07}"/>
                </a:ext>
              </a:extLst>
            </p:cNvPr>
            <p:cNvGrpSpPr/>
            <p:nvPr/>
          </p:nvGrpSpPr>
          <p:grpSpPr>
            <a:xfrm rot="10800000" flipH="1">
              <a:off x="3" y="39"/>
              <a:ext cx="6756167" cy="1152718"/>
              <a:chOff x="-2168138" y="553632"/>
              <a:chExt cx="8650662" cy="1475953"/>
            </a:xfrm>
            <a:grpFill/>
          </p:grpSpPr>
          <p:sp>
            <p:nvSpPr>
              <p:cNvPr id="21" name="Google Shape;65;p5">
                <a:extLst>
                  <a:ext uri="{FF2B5EF4-FFF2-40B4-BE49-F238E27FC236}">
                    <a16:creationId xmlns:a16="http://schemas.microsoft.com/office/drawing/2014/main" id="{185D05F4-72BB-4394-8D6D-38D6EE92D3E4}"/>
                  </a:ext>
                </a:extLst>
              </p:cNvPr>
              <p:cNvSpPr/>
              <p:nvPr/>
            </p:nvSpPr>
            <p:spPr>
              <a:xfrm>
                <a:off x="-2168138" y="553639"/>
                <a:ext cx="6958200" cy="1475946"/>
              </a:xfrm>
              <a:prstGeom prst="rect">
                <a:avLst/>
              </a:prstGeom>
              <a:solidFill>
                <a:srgbClr val="FFE2A6"/>
              </a:solid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sp>
            <p:nvSpPr>
              <p:cNvPr id="22" name="Google Shape;66;p5">
                <a:extLst>
                  <a:ext uri="{FF2B5EF4-FFF2-40B4-BE49-F238E27FC236}">
                    <a16:creationId xmlns:a16="http://schemas.microsoft.com/office/drawing/2014/main" id="{3F5AA1A5-71B9-4F26-8544-48657CFAB55C}"/>
                  </a:ext>
                </a:extLst>
              </p:cNvPr>
              <p:cNvSpPr/>
              <p:nvPr/>
            </p:nvSpPr>
            <p:spPr>
              <a:xfrm>
                <a:off x="4783024" y="553632"/>
                <a:ext cx="1699500" cy="1475946"/>
              </a:xfrm>
              <a:prstGeom prst="rtTriangle">
                <a:avLst/>
              </a:prstGeom>
              <a:solidFill>
                <a:srgbClr val="FFE2A6"/>
              </a:solid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grpSp>
        <p:grpSp>
          <p:nvGrpSpPr>
            <p:cNvPr id="18" name="Google Shape;67;p5">
              <a:extLst>
                <a:ext uri="{FF2B5EF4-FFF2-40B4-BE49-F238E27FC236}">
                  <a16:creationId xmlns:a16="http://schemas.microsoft.com/office/drawing/2014/main" id="{5601ABEA-5676-4E14-AF2F-8332F0A12DCA}"/>
                </a:ext>
              </a:extLst>
            </p:cNvPr>
            <p:cNvGrpSpPr/>
            <p:nvPr/>
          </p:nvGrpSpPr>
          <p:grpSpPr>
            <a:xfrm rot="10800000" flipH="1">
              <a:off x="-4" y="381007"/>
              <a:ext cx="7072430" cy="771744"/>
              <a:chOff x="-9092084" y="330075"/>
              <a:chExt cx="15574609" cy="1699501"/>
            </a:xfrm>
            <a:grpFill/>
          </p:grpSpPr>
          <p:sp>
            <p:nvSpPr>
              <p:cNvPr id="19" name="Google Shape;68;p5">
                <a:extLst>
                  <a:ext uri="{FF2B5EF4-FFF2-40B4-BE49-F238E27FC236}">
                    <a16:creationId xmlns:a16="http://schemas.microsoft.com/office/drawing/2014/main" id="{61A830C0-E87F-48FC-9BED-F58FC52A37A0}"/>
                  </a:ext>
                </a:extLst>
              </p:cNvPr>
              <p:cNvSpPr/>
              <p:nvPr/>
            </p:nvSpPr>
            <p:spPr>
              <a:xfrm>
                <a:off x="-9092084" y="330076"/>
                <a:ext cx="13882200" cy="1699500"/>
              </a:xfrm>
              <a:prstGeom prst="rect">
                <a:avLst/>
              </a:prstGeom>
              <a:gradFill>
                <a:gsLst>
                  <a:gs pos="0">
                    <a:srgbClr val="D18201"/>
                  </a:gs>
                  <a:gs pos="50000">
                    <a:srgbClr val="FEB632"/>
                  </a:gs>
                  <a:gs pos="100000">
                    <a:srgbClr val="FECB63"/>
                  </a:gs>
                </a:gsLst>
                <a:lin ang="5400000" scaled="1"/>
              </a:grad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sp>
            <p:nvSpPr>
              <p:cNvPr id="20" name="Google Shape;69;p5">
                <a:extLst>
                  <a:ext uri="{FF2B5EF4-FFF2-40B4-BE49-F238E27FC236}">
                    <a16:creationId xmlns:a16="http://schemas.microsoft.com/office/drawing/2014/main" id="{AE0BF170-107B-4D5E-80EA-5EE25E6BE04A}"/>
                  </a:ext>
                </a:extLst>
              </p:cNvPr>
              <p:cNvSpPr/>
              <p:nvPr/>
            </p:nvSpPr>
            <p:spPr>
              <a:xfrm>
                <a:off x="4783025" y="330075"/>
                <a:ext cx="1699500" cy="1699500"/>
              </a:xfrm>
              <a:prstGeom prst="rtTriangle">
                <a:avLst/>
              </a:prstGeom>
              <a:gradFill>
                <a:gsLst>
                  <a:gs pos="0">
                    <a:srgbClr val="D18201"/>
                  </a:gs>
                  <a:gs pos="50000">
                    <a:srgbClr val="FEB632"/>
                  </a:gs>
                  <a:gs pos="100000">
                    <a:srgbClr val="FECB63"/>
                  </a:gs>
                </a:gsLst>
                <a:lin ang="5400000" scaled="1"/>
              </a:grad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grpSp>
      </p:grpSp>
      <p:pic>
        <p:nvPicPr>
          <p:cNvPr id="10" name="Picture 9">
            <a:extLst>
              <a:ext uri="{FF2B5EF4-FFF2-40B4-BE49-F238E27FC236}">
                <a16:creationId xmlns:a16="http://schemas.microsoft.com/office/drawing/2014/main" id="{6B041DFC-AF8F-6560-6598-05945F959E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3836" y="6370489"/>
            <a:ext cx="1260672" cy="385856"/>
          </a:xfrm>
          <a:prstGeom prst="rect">
            <a:avLst/>
          </a:prstGeom>
        </p:spPr>
      </p:pic>
      <p:grpSp>
        <p:nvGrpSpPr>
          <p:cNvPr id="2" name="Group 1">
            <a:extLst>
              <a:ext uri="{FF2B5EF4-FFF2-40B4-BE49-F238E27FC236}">
                <a16:creationId xmlns:a16="http://schemas.microsoft.com/office/drawing/2014/main" id="{22F40B72-F4CE-485E-B115-2BD0F7EA53B9}"/>
              </a:ext>
            </a:extLst>
          </p:cNvPr>
          <p:cNvGrpSpPr/>
          <p:nvPr userDrawn="1"/>
        </p:nvGrpSpPr>
        <p:grpSpPr>
          <a:xfrm>
            <a:off x="10667614" y="6163457"/>
            <a:ext cx="1524380" cy="698248"/>
            <a:chOff x="10667614" y="6163457"/>
            <a:chExt cx="1524380" cy="698248"/>
          </a:xfrm>
        </p:grpSpPr>
        <p:grpSp>
          <p:nvGrpSpPr>
            <p:cNvPr id="38" name="Google Shape;62;p5">
              <a:extLst>
                <a:ext uri="{FF2B5EF4-FFF2-40B4-BE49-F238E27FC236}">
                  <a16:creationId xmlns:a16="http://schemas.microsoft.com/office/drawing/2014/main" id="{84FBD07E-C875-F4E0-980F-D5ADCB4A5FEE}"/>
                </a:ext>
              </a:extLst>
            </p:cNvPr>
            <p:cNvGrpSpPr/>
            <p:nvPr userDrawn="1"/>
          </p:nvGrpSpPr>
          <p:grpSpPr>
            <a:xfrm flipH="1" flipV="1">
              <a:off x="10667614" y="6492868"/>
              <a:ext cx="1524380" cy="368837"/>
              <a:chOff x="-4" y="39"/>
              <a:chExt cx="7072430" cy="1325315"/>
            </a:xfrm>
            <a:solidFill>
              <a:srgbClr val="0093D5"/>
            </a:solidFill>
          </p:grpSpPr>
          <p:sp>
            <p:nvSpPr>
              <p:cNvPr id="39" name="Google Shape;63;p5">
                <a:extLst>
                  <a:ext uri="{FF2B5EF4-FFF2-40B4-BE49-F238E27FC236}">
                    <a16:creationId xmlns:a16="http://schemas.microsoft.com/office/drawing/2014/main" id="{C0C0D398-4522-3FB3-3E60-6CA085B781D4}"/>
                  </a:ext>
                </a:extLst>
              </p:cNvPr>
              <p:cNvSpPr/>
              <p:nvPr/>
            </p:nvSpPr>
            <p:spPr>
              <a:xfrm>
                <a:off x="6292649" y="126425"/>
                <a:ext cx="779700" cy="259800"/>
              </a:xfrm>
              <a:prstGeom prst="triangle">
                <a:avLst>
                  <a:gd name="adj" fmla="val 32425"/>
                </a:avLst>
              </a:prstGeom>
              <a:solidFill>
                <a:srgbClr val="FEA91A"/>
              </a:solid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grpSp>
            <p:nvGrpSpPr>
              <p:cNvPr id="40" name="Google Shape;64;p5">
                <a:extLst>
                  <a:ext uri="{FF2B5EF4-FFF2-40B4-BE49-F238E27FC236}">
                    <a16:creationId xmlns:a16="http://schemas.microsoft.com/office/drawing/2014/main" id="{0B95D0FC-E2F4-5C83-C5A1-C24CA6C55DDE}"/>
                  </a:ext>
                </a:extLst>
              </p:cNvPr>
              <p:cNvGrpSpPr/>
              <p:nvPr/>
            </p:nvGrpSpPr>
            <p:grpSpPr>
              <a:xfrm rot="10800000" flipH="1">
                <a:off x="3" y="39"/>
                <a:ext cx="6756167" cy="1325315"/>
                <a:chOff x="-2168138" y="332637"/>
                <a:chExt cx="8650662" cy="1696948"/>
              </a:xfrm>
              <a:grpFill/>
            </p:grpSpPr>
            <p:sp>
              <p:nvSpPr>
                <p:cNvPr id="44" name="Google Shape;65;p5">
                  <a:extLst>
                    <a:ext uri="{FF2B5EF4-FFF2-40B4-BE49-F238E27FC236}">
                      <a16:creationId xmlns:a16="http://schemas.microsoft.com/office/drawing/2014/main" id="{44F36E18-067F-C489-8F2D-113722A8E323}"/>
                    </a:ext>
                  </a:extLst>
                </p:cNvPr>
                <p:cNvSpPr/>
                <p:nvPr/>
              </p:nvSpPr>
              <p:spPr>
                <a:xfrm>
                  <a:off x="-2168138" y="332646"/>
                  <a:ext cx="6958202" cy="1696939"/>
                </a:xfrm>
                <a:prstGeom prst="rect">
                  <a:avLst/>
                </a:prstGeom>
                <a:solidFill>
                  <a:srgbClr val="FFE2A6"/>
                </a:solid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sp>
              <p:nvSpPr>
                <p:cNvPr id="45" name="Google Shape;66;p5">
                  <a:extLst>
                    <a:ext uri="{FF2B5EF4-FFF2-40B4-BE49-F238E27FC236}">
                      <a16:creationId xmlns:a16="http://schemas.microsoft.com/office/drawing/2014/main" id="{1FB7AD0C-F28A-17E4-0AEB-8D4DD03D7BEF}"/>
                    </a:ext>
                  </a:extLst>
                </p:cNvPr>
                <p:cNvSpPr/>
                <p:nvPr/>
              </p:nvSpPr>
              <p:spPr>
                <a:xfrm>
                  <a:off x="4783024" y="332637"/>
                  <a:ext cx="1699500" cy="1696939"/>
                </a:xfrm>
                <a:prstGeom prst="rtTriangle">
                  <a:avLst/>
                </a:prstGeom>
                <a:solidFill>
                  <a:srgbClr val="FFE2A6"/>
                </a:solid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grpSp>
          <p:grpSp>
            <p:nvGrpSpPr>
              <p:cNvPr id="41" name="Google Shape;67;p5">
                <a:extLst>
                  <a:ext uri="{FF2B5EF4-FFF2-40B4-BE49-F238E27FC236}">
                    <a16:creationId xmlns:a16="http://schemas.microsoft.com/office/drawing/2014/main" id="{4215D0D3-B0B1-6B63-ECA0-FC0DB467B0F4}"/>
                  </a:ext>
                </a:extLst>
              </p:cNvPr>
              <p:cNvGrpSpPr/>
              <p:nvPr/>
            </p:nvGrpSpPr>
            <p:grpSpPr>
              <a:xfrm rot="10800000" flipH="1">
                <a:off x="-4" y="381007"/>
                <a:ext cx="7072430" cy="771744"/>
                <a:chOff x="-9092084" y="330075"/>
                <a:chExt cx="15574609" cy="1699501"/>
              </a:xfrm>
              <a:grpFill/>
            </p:grpSpPr>
            <p:sp>
              <p:nvSpPr>
                <p:cNvPr id="42" name="Google Shape;68;p5">
                  <a:extLst>
                    <a:ext uri="{FF2B5EF4-FFF2-40B4-BE49-F238E27FC236}">
                      <a16:creationId xmlns:a16="http://schemas.microsoft.com/office/drawing/2014/main" id="{63D2CD06-11E3-98A1-66B4-F57168F86C5C}"/>
                    </a:ext>
                  </a:extLst>
                </p:cNvPr>
                <p:cNvSpPr/>
                <p:nvPr/>
              </p:nvSpPr>
              <p:spPr>
                <a:xfrm>
                  <a:off x="-9092084" y="330076"/>
                  <a:ext cx="13882200" cy="1699500"/>
                </a:xfrm>
                <a:prstGeom prst="rect">
                  <a:avLst/>
                </a:prstGeom>
                <a:gradFill>
                  <a:gsLst>
                    <a:gs pos="0">
                      <a:srgbClr val="FEA91A"/>
                    </a:gs>
                    <a:gs pos="50000">
                      <a:srgbClr val="FEB632"/>
                    </a:gs>
                    <a:gs pos="100000">
                      <a:srgbClr val="FECB63"/>
                    </a:gs>
                  </a:gsLst>
                  <a:lin ang="5400000" scaled="1"/>
                </a:gradFill>
                <a:ln>
                  <a:noFill/>
                </a:ln>
              </p:spPr>
              <p:txBody>
                <a:bodyPr spcFirstLastPara="1" wrap="square" lIns="91425" tIns="91425" rIns="91425" bIns="91425" anchor="ctr" anchorCtr="0">
                  <a:noAutofit/>
                </a:bodyPr>
                <a:lstStyle/>
                <a:p>
                  <a:pPr>
                    <a:defRPr/>
                  </a:pPr>
                  <a:endParaRPr sz="1800">
                    <a:sym typeface="Arvo"/>
                  </a:endParaRPr>
                </a:p>
              </p:txBody>
            </p:sp>
            <p:sp>
              <p:nvSpPr>
                <p:cNvPr id="43" name="Google Shape;69;p5">
                  <a:extLst>
                    <a:ext uri="{FF2B5EF4-FFF2-40B4-BE49-F238E27FC236}">
                      <a16:creationId xmlns:a16="http://schemas.microsoft.com/office/drawing/2014/main" id="{AFE1940D-A5F8-70AB-545A-076E90EB559F}"/>
                    </a:ext>
                  </a:extLst>
                </p:cNvPr>
                <p:cNvSpPr/>
                <p:nvPr/>
              </p:nvSpPr>
              <p:spPr>
                <a:xfrm>
                  <a:off x="4783025" y="330075"/>
                  <a:ext cx="1699500" cy="1699500"/>
                </a:xfrm>
                <a:prstGeom prst="rtTriangle">
                  <a:avLst/>
                </a:prstGeom>
                <a:gradFill>
                  <a:gsLst>
                    <a:gs pos="0">
                      <a:srgbClr val="FEA91A"/>
                    </a:gs>
                    <a:gs pos="50000">
                      <a:srgbClr val="FEB632"/>
                    </a:gs>
                    <a:gs pos="100000">
                      <a:srgbClr val="FECB63"/>
                    </a:gs>
                  </a:gsLst>
                  <a:lin ang="5400000" scaled="1"/>
                </a:gradFill>
                <a:ln>
                  <a:noFill/>
                </a:ln>
              </p:spPr>
              <p:txBody>
                <a:bodyPr spcFirstLastPara="1" wrap="square" lIns="91425" tIns="91425" rIns="91425" bIns="91425" anchor="ctr" anchorCtr="0">
                  <a:noAutofit/>
                </a:bodyPr>
                <a:lstStyle/>
                <a:p>
                  <a:pPr>
                    <a:defRPr/>
                  </a:pPr>
                  <a:endParaRPr sz="1800">
                    <a:solidFill>
                      <a:srgbClr val="000000"/>
                    </a:solidFill>
                    <a:latin typeface="Arvo"/>
                    <a:ea typeface="Arvo"/>
                    <a:cs typeface="Arvo"/>
                    <a:sym typeface="Arvo"/>
                  </a:endParaRPr>
                </a:p>
              </p:txBody>
            </p:sp>
          </p:grpSp>
        </p:grpSp>
        <p:pic>
          <p:nvPicPr>
            <p:cNvPr id="25" name="Picture 24" descr="A close up of a sign&#10;&#10;Description generated with high confidence">
              <a:extLst>
                <a:ext uri="{FF2B5EF4-FFF2-40B4-BE49-F238E27FC236}">
                  <a16:creationId xmlns:a16="http://schemas.microsoft.com/office/drawing/2014/main" id="{6209F9F8-882D-4F04-9946-EE763DF1439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02136" y="6163457"/>
              <a:ext cx="659909" cy="658833"/>
            </a:xfrm>
            <a:prstGeom prst="rect">
              <a:avLst/>
            </a:prstGeom>
          </p:spPr>
        </p:pic>
      </p:grpSp>
    </p:spTree>
    <p:extLst>
      <p:ext uri="{BB962C8B-B14F-4D97-AF65-F5344CB8AC3E}">
        <p14:creationId xmlns:p14="http://schemas.microsoft.com/office/powerpoint/2010/main" val="2982807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7" name="object 2">
            <a:extLst>
              <a:ext uri="{FF2B5EF4-FFF2-40B4-BE49-F238E27FC236}">
                <a16:creationId xmlns:a16="http://schemas.microsoft.com/office/drawing/2014/main" id="{BE52D1BD-6DCE-1118-C0A6-F49741447F19}"/>
              </a:ext>
            </a:extLst>
          </p:cNvPr>
          <p:cNvGrpSpPr/>
          <p:nvPr userDrawn="1"/>
        </p:nvGrpSpPr>
        <p:grpSpPr>
          <a:xfrm>
            <a:off x="0" y="0"/>
            <a:ext cx="12192000" cy="6858000"/>
            <a:chOff x="0" y="0"/>
            <a:chExt cx="12192000" cy="6858000"/>
          </a:xfrm>
        </p:grpSpPr>
        <p:sp>
          <p:nvSpPr>
            <p:cNvPr id="8" name="object 3">
              <a:extLst>
                <a:ext uri="{FF2B5EF4-FFF2-40B4-BE49-F238E27FC236}">
                  <a16:creationId xmlns:a16="http://schemas.microsoft.com/office/drawing/2014/main" id="{E43F5045-6D47-EDEF-AA12-25E8B431A0F2}"/>
                </a:ext>
              </a:extLst>
            </p:cNvPr>
            <p:cNvSpPr/>
            <p:nvPr/>
          </p:nvSpPr>
          <p:spPr>
            <a:xfrm>
              <a:off x="2438400" y="4578096"/>
              <a:ext cx="9753600" cy="2280285"/>
            </a:xfrm>
            <a:custGeom>
              <a:avLst/>
              <a:gdLst/>
              <a:ahLst/>
              <a:cxnLst/>
              <a:rect l="l" t="t" r="r" b="b"/>
              <a:pathLst>
                <a:path w="9753600" h="2280284">
                  <a:moveTo>
                    <a:pt x="0" y="2279904"/>
                  </a:moveTo>
                  <a:lnTo>
                    <a:pt x="9753574" y="2279904"/>
                  </a:lnTo>
                  <a:lnTo>
                    <a:pt x="9753574" y="0"/>
                  </a:lnTo>
                  <a:lnTo>
                    <a:pt x="0" y="0"/>
                  </a:lnTo>
                  <a:lnTo>
                    <a:pt x="0" y="2279904"/>
                  </a:lnTo>
                  <a:close/>
                </a:path>
              </a:pathLst>
            </a:custGeom>
            <a:solidFill>
              <a:srgbClr val="0099D6"/>
            </a:solidFill>
          </p:spPr>
          <p:txBody>
            <a:bodyPr wrap="square" lIns="0" tIns="0" rIns="0" bIns="0" rtlCol="0"/>
            <a:lstStyle/>
            <a:p>
              <a:endParaRPr sz="1800"/>
            </a:p>
          </p:txBody>
        </p:sp>
        <p:sp>
          <p:nvSpPr>
            <p:cNvPr id="9" name="object 4">
              <a:extLst>
                <a:ext uri="{FF2B5EF4-FFF2-40B4-BE49-F238E27FC236}">
                  <a16:creationId xmlns:a16="http://schemas.microsoft.com/office/drawing/2014/main" id="{BB1354D8-AF38-2EEC-A2AF-67329E18C493}"/>
                </a:ext>
              </a:extLst>
            </p:cNvPr>
            <p:cNvSpPr/>
            <p:nvPr/>
          </p:nvSpPr>
          <p:spPr>
            <a:xfrm>
              <a:off x="0" y="4578096"/>
              <a:ext cx="2438400" cy="2280285"/>
            </a:xfrm>
            <a:custGeom>
              <a:avLst/>
              <a:gdLst/>
              <a:ahLst/>
              <a:cxnLst/>
              <a:rect l="l" t="t" r="r" b="b"/>
              <a:pathLst>
                <a:path w="2438400" h="2280284">
                  <a:moveTo>
                    <a:pt x="2438400" y="0"/>
                  </a:moveTo>
                  <a:lnTo>
                    <a:pt x="0" y="0"/>
                  </a:lnTo>
                  <a:lnTo>
                    <a:pt x="0" y="2279904"/>
                  </a:lnTo>
                  <a:lnTo>
                    <a:pt x="2438400" y="2279904"/>
                  </a:lnTo>
                  <a:lnTo>
                    <a:pt x="2438400" y="0"/>
                  </a:lnTo>
                  <a:close/>
                </a:path>
              </a:pathLst>
            </a:custGeom>
            <a:solidFill>
              <a:srgbClr val="5050CD"/>
            </a:solidFill>
          </p:spPr>
          <p:txBody>
            <a:bodyPr wrap="square" lIns="0" tIns="0" rIns="0" bIns="0" rtlCol="0"/>
            <a:lstStyle/>
            <a:p>
              <a:endParaRPr sz="1800"/>
            </a:p>
          </p:txBody>
        </p:sp>
        <p:sp>
          <p:nvSpPr>
            <p:cNvPr id="10" name="object 5">
              <a:extLst>
                <a:ext uri="{FF2B5EF4-FFF2-40B4-BE49-F238E27FC236}">
                  <a16:creationId xmlns:a16="http://schemas.microsoft.com/office/drawing/2014/main" id="{2E219ED6-4859-625C-6C3B-2B1FDB3CB664}"/>
                </a:ext>
              </a:extLst>
            </p:cNvPr>
            <p:cNvSpPr/>
            <p:nvPr/>
          </p:nvSpPr>
          <p:spPr>
            <a:xfrm>
              <a:off x="9753574" y="2289060"/>
              <a:ext cx="2438400" cy="2289175"/>
            </a:xfrm>
            <a:custGeom>
              <a:avLst/>
              <a:gdLst/>
              <a:ahLst/>
              <a:cxnLst/>
              <a:rect l="l" t="t" r="r" b="b"/>
              <a:pathLst>
                <a:path w="2438400" h="2289175">
                  <a:moveTo>
                    <a:pt x="2438400" y="0"/>
                  </a:moveTo>
                  <a:lnTo>
                    <a:pt x="0" y="0"/>
                  </a:lnTo>
                  <a:lnTo>
                    <a:pt x="0" y="2289035"/>
                  </a:lnTo>
                  <a:lnTo>
                    <a:pt x="2438400" y="2289035"/>
                  </a:lnTo>
                  <a:lnTo>
                    <a:pt x="2438400" y="0"/>
                  </a:lnTo>
                  <a:close/>
                </a:path>
              </a:pathLst>
            </a:custGeom>
            <a:solidFill>
              <a:srgbClr val="A6228B"/>
            </a:solidFill>
          </p:spPr>
          <p:txBody>
            <a:bodyPr wrap="square" lIns="0" tIns="0" rIns="0" bIns="0" rtlCol="0"/>
            <a:lstStyle/>
            <a:p>
              <a:endParaRPr sz="1800"/>
            </a:p>
          </p:txBody>
        </p:sp>
        <p:sp>
          <p:nvSpPr>
            <p:cNvPr id="11" name="object 6">
              <a:extLst>
                <a:ext uri="{FF2B5EF4-FFF2-40B4-BE49-F238E27FC236}">
                  <a16:creationId xmlns:a16="http://schemas.microsoft.com/office/drawing/2014/main" id="{978FF692-D140-6AB3-994E-F9FE22967273}"/>
                </a:ext>
              </a:extLst>
            </p:cNvPr>
            <p:cNvSpPr/>
            <p:nvPr/>
          </p:nvSpPr>
          <p:spPr>
            <a:xfrm>
              <a:off x="9753574" y="0"/>
              <a:ext cx="2438400" cy="2289175"/>
            </a:xfrm>
            <a:custGeom>
              <a:avLst/>
              <a:gdLst/>
              <a:ahLst/>
              <a:cxnLst/>
              <a:rect l="l" t="t" r="r" b="b"/>
              <a:pathLst>
                <a:path w="2438400" h="2289175">
                  <a:moveTo>
                    <a:pt x="2438400" y="0"/>
                  </a:moveTo>
                  <a:lnTo>
                    <a:pt x="0" y="0"/>
                  </a:lnTo>
                  <a:lnTo>
                    <a:pt x="0" y="2289048"/>
                  </a:lnTo>
                  <a:lnTo>
                    <a:pt x="2438400" y="2289048"/>
                  </a:lnTo>
                  <a:lnTo>
                    <a:pt x="2438400" y="0"/>
                  </a:lnTo>
                  <a:close/>
                </a:path>
              </a:pathLst>
            </a:custGeom>
            <a:solidFill>
              <a:srgbClr val="008B9B"/>
            </a:solidFill>
          </p:spPr>
          <p:txBody>
            <a:bodyPr wrap="square" lIns="0" tIns="0" rIns="0" bIns="0" rtlCol="0"/>
            <a:lstStyle/>
            <a:p>
              <a:endParaRPr sz="1800"/>
            </a:p>
          </p:txBody>
        </p:sp>
        <p:sp>
          <p:nvSpPr>
            <p:cNvPr id="12" name="object 7">
              <a:extLst>
                <a:ext uri="{FF2B5EF4-FFF2-40B4-BE49-F238E27FC236}">
                  <a16:creationId xmlns:a16="http://schemas.microsoft.com/office/drawing/2014/main" id="{F9DB4026-FA32-0D3C-56D6-5C0EB30D85B5}"/>
                </a:ext>
              </a:extLst>
            </p:cNvPr>
            <p:cNvSpPr/>
            <p:nvPr/>
          </p:nvSpPr>
          <p:spPr>
            <a:xfrm>
              <a:off x="0" y="0"/>
              <a:ext cx="9753600" cy="4581525"/>
            </a:xfrm>
            <a:custGeom>
              <a:avLst/>
              <a:gdLst/>
              <a:ahLst/>
              <a:cxnLst/>
              <a:rect l="l" t="t" r="r" b="b"/>
              <a:pathLst>
                <a:path w="9753600" h="4581525">
                  <a:moveTo>
                    <a:pt x="9753587" y="0"/>
                  </a:moveTo>
                  <a:lnTo>
                    <a:pt x="0" y="0"/>
                  </a:lnTo>
                  <a:lnTo>
                    <a:pt x="0" y="4581144"/>
                  </a:lnTo>
                  <a:lnTo>
                    <a:pt x="9753587" y="4581144"/>
                  </a:lnTo>
                  <a:lnTo>
                    <a:pt x="9753587" y="0"/>
                  </a:lnTo>
                  <a:close/>
                </a:path>
              </a:pathLst>
            </a:custGeom>
            <a:solidFill>
              <a:srgbClr val="182857"/>
            </a:solidFill>
          </p:spPr>
          <p:txBody>
            <a:bodyPr wrap="square" lIns="0" tIns="0" rIns="0" bIns="0" rtlCol="0"/>
            <a:lstStyle/>
            <a:p>
              <a:endParaRPr sz="1800"/>
            </a:p>
          </p:txBody>
        </p:sp>
      </p:grpSp>
      <p:sp>
        <p:nvSpPr>
          <p:cNvPr id="2" name="Holder 2"/>
          <p:cNvSpPr>
            <a:spLocks noGrp="1"/>
          </p:cNvSpPr>
          <p:nvPr>
            <p:ph type="ctrTitle"/>
          </p:nvPr>
        </p:nvSpPr>
        <p:spPr>
          <a:xfrm>
            <a:off x="634118" y="1021279"/>
            <a:ext cx="7249325" cy="553998"/>
          </a:xfrm>
          <a:prstGeom prst="rect">
            <a:avLst/>
          </a:prstGeom>
        </p:spPr>
        <p:txBody>
          <a:bodyPr wrap="square" lIns="0" tIns="0" rIns="0" bIns="0">
            <a:spAutoFit/>
          </a:bodyPr>
          <a:lstStyle>
            <a:lvl1pPr>
              <a:defRPr sz="3600" b="1" i="0">
                <a:solidFill>
                  <a:schemeClr val="bg1"/>
                </a:solidFill>
                <a:latin typeface="+mj-lt"/>
                <a:cs typeface="Open Sans"/>
              </a:defRPr>
            </a:lvl1pPr>
          </a:lstStyle>
          <a:p>
            <a:r>
              <a:rPr lang="en-GB"/>
              <a:t>Click to edit Master title style</a:t>
            </a:r>
            <a:endParaRPr/>
          </a:p>
        </p:txBody>
      </p:sp>
      <p:sp>
        <p:nvSpPr>
          <p:cNvPr id="3" name="Holder 3"/>
          <p:cNvSpPr>
            <a:spLocks noGrp="1"/>
          </p:cNvSpPr>
          <p:nvPr>
            <p:ph type="subTitle" idx="4" hasCustomPrompt="1"/>
          </p:nvPr>
        </p:nvSpPr>
        <p:spPr>
          <a:xfrm>
            <a:off x="648041" y="3512556"/>
            <a:ext cx="7249325" cy="276999"/>
          </a:xfrm>
          <a:prstGeom prst="rect">
            <a:avLst/>
          </a:prstGeom>
        </p:spPr>
        <p:txBody>
          <a:bodyPr wrap="square" lIns="0" tIns="0" rIns="0" bIns="0">
            <a:spAutoFit/>
          </a:bodyPr>
          <a:lstStyle>
            <a:lvl1pPr>
              <a:defRPr>
                <a:solidFill>
                  <a:schemeClr val="bg1"/>
                </a:solidFill>
                <a:latin typeface="+mj-lt"/>
              </a:defRPr>
            </a:lvl1pPr>
          </a:lstStyle>
          <a:p>
            <a:r>
              <a:rPr lang="en-US"/>
              <a:t>Click to add presenter names</a:t>
            </a:r>
          </a:p>
        </p:txBody>
      </p:sp>
      <p:pic>
        <p:nvPicPr>
          <p:cNvPr id="43" name="Picture 42" descr="A blue bottle with white outline&#10;&#10;AI-generated content may be incorrect.">
            <a:extLst>
              <a:ext uri="{FF2B5EF4-FFF2-40B4-BE49-F238E27FC236}">
                <a16:creationId xmlns:a16="http://schemas.microsoft.com/office/drawing/2014/main" id="{A6E7B8CE-AD96-486C-774E-B327981FD49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971691" y="890458"/>
            <a:ext cx="2667000" cy="4940300"/>
          </a:xfrm>
          <a:prstGeom prst="rect">
            <a:avLst/>
          </a:prstGeom>
        </p:spPr>
      </p:pic>
      <p:pic>
        <p:nvPicPr>
          <p:cNvPr id="45" name="Picture 44" descr="A black and white logo&#10;&#10;AI-generated content may be incorrect.">
            <a:extLst>
              <a:ext uri="{FF2B5EF4-FFF2-40B4-BE49-F238E27FC236}">
                <a16:creationId xmlns:a16="http://schemas.microsoft.com/office/drawing/2014/main" id="{7D005B3F-E4AB-570F-1DEA-DB4B6B71F0D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5801" y="6126709"/>
            <a:ext cx="1033731" cy="394827"/>
          </a:xfrm>
          <a:prstGeom prst="rect">
            <a:avLst/>
          </a:prstGeom>
        </p:spPr>
      </p:pic>
      <p:pic>
        <p:nvPicPr>
          <p:cNvPr id="47" name="Picture 46" descr="A close-up of a logo&#10;&#10;AI-generated content may be incorrect.">
            <a:extLst>
              <a:ext uri="{FF2B5EF4-FFF2-40B4-BE49-F238E27FC236}">
                <a16:creationId xmlns:a16="http://schemas.microsoft.com/office/drawing/2014/main" id="{874DEF05-5EE3-3012-4DF0-65FD955A0AC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042587" y="6049850"/>
            <a:ext cx="1521006" cy="465249"/>
          </a:xfrm>
          <a:prstGeom prst="rect">
            <a:avLst/>
          </a:prstGeom>
        </p:spPr>
      </p:pic>
      <p:sp>
        <p:nvSpPr>
          <p:cNvPr id="5" name="Text Placeholder 4">
            <a:extLst>
              <a:ext uri="{FF2B5EF4-FFF2-40B4-BE49-F238E27FC236}">
                <a16:creationId xmlns:a16="http://schemas.microsoft.com/office/drawing/2014/main" id="{492DA8E1-66B0-BEE4-1020-9C87FC1F2297}"/>
              </a:ext>
            </a:extLst>
          </p:cNvPr>
          <p:cNvSpPr>
            <a:spLocks noGrp="1"/>
          </p:cNvSpPr>
          <p:nvPr>
            <p:ph type="body" sz="quarter" idx="10" hasCustomPrompt="1"/>
          </p:nvPr>
        </p:nvSpPr>
        <p:spPr>
          <a:xfrm>
            <a:off x="634117" y="1581672"/>
            <a:ext cx="7235825" cy="553998"/>
          </a:xfrm>
        </p:spPr>
        <p:txBody>
          <a:bodyPr/>
          <a:lstStyle>
            <a:lvl1pPr>
              <a:defRPr sz="3600">
                <a:solidFill>
                  <a:schemeClr val="bg1"/>
                </a:solidFill>
                <a:latin typeface="+mj-lt"/>
              </a:defRPr>
            </a:lvl1pPr>
          </a:lstStyle>
          <a:p>
            <a:pPr lvl="0"/>
            <a:r>
              <a:rPr lang="en-US"/>
              <a:t>Click to add subtitle</a:t>
            </a:r>
          </a:p>
        </p:txBody>
      </p:sp>
      <p:sp>
        <p:nvSpPr>
          <p:cNvPr id="13" name="Text Placeholder 12">
            <a:extLst>
              <a:ext uri="{FF2B5EF4-FFF2-40B4-BE49-F238E27FC236}">
                <a16:creationId xmlns:a16="http://schemas.microsoft.com/office/drawing/2014/main" id="{29C724FB-C5C4-2B46-BA18-99D76CB0F89D}"/>
              </a:ext>
            </a:extLst>
          </p:cNvPr>
          <p:cNvSpPr>
            <a:spLocks noGrp="1"/>
          </p:cNvSpPr>
          <p:nvPr>
            <p:ph type="body" sz="quarter" idx="11" hasCustomPrompt="1"/>
          </p:nvPr>
        </p:nvSpPr>
        <p:spPr>
          <a:xfrm>
            <a:off x="8686800" y="6216399"/>
            <a:ext cx="3124200" cy="215444"/>
          </a:xfrm>
        </p:spPr>
        <p:txBody>
          <a:bodyPr/>
          <a:lstStyle>
            <a:lvl1pPr>
              <a:defRPr sz="1400">
                <a:solidFill>
                  <a:schemeClr val="bg1"/>
                </a:solidFill>
              </a:defRPr>
            </a:lvl1pPr>
          </a:lstStyle>
          <a:p>
            <a:pPr lvl="0"/>
            <a:r>
              <a:rPr lang="en-US"/>
              <a:t>Click to add date</a:t>
            </a:r>
          </a:p>
        </p:txBody>
      </p:sp>
    </p:spTree>
    <p:extLst>
      <p:ext uri="{BB962C8B-B14F-4D97-AF65-F5344CB8AC3E}">
        <p14:creationId xmlns:p14="http://schemas.microsoft.com/office/powerpoint/2010/main" val="509124940"/>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ivider Slide Teal">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26C82-C677-86CA-D24B-5741646AE96D}"/>
              </a:ext>
            </a:extLst>
          </p:cNvPr>
          <p:cNvSpPr>
            <a:spLocks noGrp="1"/>
          </p:cNvSpPr>
          <p:nvPr>
            <p:ph type="title" hasCustomPrompt="1"/>
          </p:nvPr>
        </p:nvSpPr>
        <p:spPr>
          <a:xfrm>
            <a:off x="304800" y="1789323"/>
            <a:ext cx="6451462" cy="2031325"/>
          </a:xfrm>
        </p:spPr>
        <p:txBody>
          <a:bodyPr/>
          <a:lstStyle>
            <a:lvl1pPr>
              <a:defRPr sz="6000">
                <a:latin typeface="+mj-lt"/>
              </a:defRPr>
            </a:lvl1pPr>
          </a:lstStyle>
          <a:p>
            <a:r>
              <a:rPr lang="en-US"/>
              <a:t>Click to add section title</a:t>
            </a:r>
          </a:p>
        </p:txBody>
      </p:sp>
      <p:sp>
        <p:nvSpPr>
          <p:cNvPr id="3" name="Slide Number Placeholder 2">
            <a:extLst>
              <a:ext uri="{FF2B5EF4-FFF2-40B4-BE49-F238E27FC236}">
                <a16:creationId xmlns:a16="http://schemas.microsoft.com/office/drawing/2014/main" id="{1FA95034-D76B-340A-F1F8-EF4CD1382EC2}"/>
              </a:ext>
            </a:extLst>
          </p:cNvPr>
          <p:cNvSpPr>
            <a:spLocks noGrp="1"/>
          </p:cNvSpPr>
          <p:nvPr>
            <p:ph type="sldNum" sz="quarter" idx="10"/>
          </p:nvPr>
        </p:nvSpPr>
        <p:spPr/>
        <p:txBody>
          <a:bodyPr/>
          <a:lstStyle/>
          <a:p>
            <a:pPr marL="38098">
              <a:spcBef>
                <a:spcPts val="180"/>
              </a:spcBef>
            </a:pPr>
            <a:fld id="{81D60167-4931-47E6-BA6A-407CBD079E47}" type="slidenum">
              <a:rPr lang="en-US" spc="-50" smtClean="0"/>
              <a:pPr marL="38098">
                <a:spcBef>
                  <a:spcPts val="180"/>
                </a:spcBef>
              </a:pPr>
              <a:t>‹#›</a:t>
            </a:fld>
            <a:endParaRPr lang="en-US" spc="-50"/>
          </a:p>
        </p:txBody>
      </p:sp>
      <p:pic>
        <p:nvPicPr>
          <p:cNvPr id="5" name="Picture 4">
            <a:extLst>
              <a:ext uri="{FF2B5EF4-FFF2-40B4-BE49-F238E27FC236}">
                <a16:creationId xmlns:a16="http://schemas.microsoft.com/office/drawing/2014/main" id="{1EFBAF08-E530-1908-62C2-C363C8731F43}"/>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8953475" y="334834"/>
            <a:ext cx="2667000" cy="4940300"/>
          </a:xfrm>
          <a:prstGeom prst="rect">
            <a:avLst/>
          </a:prstGeom>
        </p:spPr>
      </p:pic>
      <p:sp>
        <p:nvSpPr>
          <p:cNvPr id="6" name="Rectangle 5">
            <a:extLst>
              <a:ext uri="{FF2B5EF4-FFF2-40B4-BE49-F238E27FC236}">
                <a16:creationId xmlns:a16="http://schemas.microsoft.com/office/drawing/2014/main" id="{66EAB9C9-49F1-7E6E-B69F-D559E40590FE}"/>
              </a:ext>
            </a:extLst>
          </p:cNvPr>
          <p:cNvSpPr/>
          <p:nvPr userDrawn="1"/>
        </p:nvSpPr>
        <p:spPr>
          <a:xfrm>
            <a:off x="8128000" y="5943600"/>
            <a:ext cx="4064000" cy="9144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218DDDF4-C4C6-FF31-9BA1-2329AA15CC1E}"/>
              </a:ext>
            </a:extLst>
          </p:cNvPr>
          <p:cNvSpPr/>
          <p:nvPr userDrawn="1"/>
        </p:nvSpPr>
        <p:spPr>
          <a:xfrm>
            <a:off x="4064001" y="5943600"/>
            <a:ext cx="4064000" cy="9144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72293387-61A1-00CF-BE6C-15F74CA29C02}"/>
              </a:ext>
            </a:extLst>
          </p:cNvPr>
          <p:cNvSpPr/>
          <p:nvPr userDrawn="1"/>
        </p:nvSpPr>
        <p:spPr>
          <a:xfrm>
            <a:off x="0" y="5943600"/>
            <a:ext cx="4064000" cy="9144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ext Placeholder 10">
            <a:extLst>
              <a:ext uri="{FF2B5EF4-FFF2-40B4-BE49-F238E27FC236}">
                <a16:creationId xmlns:a16="http://schemas.microsoft.com/office/drawing/2014/main" id="{855E19B9-C7E0-D263-1D13-6FBA6855BF8D}"/>
              </a:ext>
            </a:extLst>
          </p:cNvPr>
          <p:cNvSpPr>
            <a:spLocks noGrp="1"/>
          </p:cNvSpPr>
          <p:nvPr>
            <p:ph type="body" sz="quarter" idx="11" hasCustomPrompt="1"/>
          </p:nvPr>
        </p:nvSpPr>
        <p:spPr>
          <a:xfrm>
            <a:off x="304800" y="6265392"/>
            <a:ext cx="3662363" cy="276999"/>
          </a:xfrm>
        </p:spPr>
        <p:txBody>
          <a:bodyPr anchor="ctr" anchorCtr="0">
            <a:noAutofit/>
          </a:bodyPr>
          <a:lstStyle>
            <a:lvl1pPr>
              <a:defRPr>
                <a:solidFill>
                  <a:schemeClr val="bg1"/>
                </a:solidFill>
              </a:defRPr>
            </a:lvl1pPr>
          </a:lstStyle>
          <a:p>
            <a:pPr lvl="0"/>
            <a:r>
              <a:rPr lang="en-US"/>
              <a:t>Click to add section number</a:t>
            </a:r>
          </a:p>
        </p:txBody>
      </p:sp>
      <p:sp>
        <p:nvSpPr>
          <p:cNvPr id="12" name="Oval 11">
            <a:extLst>
              <a:ext uri="{FF2B5EF4-FFF2-40B4-BE49-F238E27FC236}">
                <a16:creationId xmlns:a16="http://schemas.microsoft.com/office/drawing/2014/main" id="{003BC057-9CA1-37CD-4A17-5BC26E19AF8C}"/>
              </a:ext>
            </a:extLst>
          </p:cNvPr>
          <p:cNvSpPr/>
          <p:nvPr userDrawn="1"/>
        </p:nvSpPr>
        <p:spPr>
          <a:xfrm>
            <a:off x="9083676" y="959535"/>
            <a:ext cx="381000" cy="38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Oval 12">
            <a:extLst>
              <a:ext uri="{FF2B5EF4-FFF2-40B4-BE49-F238E27FC236}">
                <a16:creationId xmlns:a16="http://schemas.microsoft.com/office/drawing/2014/main" id="{3E88BF13-E9FB-348D-6681-3A4F30698331}"/>
              </a:ext>
            </a:extLst>
          </p:cNvPr>
          <p:cNvSpPr/>
          <p:nvPr userDrawn="1"/>
        </p:nvSpPr>
        <p:spPr>
          <a:xfrm>
            <a:off x="11106151" y="959535"/>
            <a:ext cx="381000" cy="38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Oval 13">
            <a:extLst>
              <a:ext uri="{FF2B5EF4-FFF2-40B4-BE49-F238E27FC236}">
                <a16:creationId xmlns:a16="http://schemas.microsoft.com/office/drawing/2014/main" id="{7712C021-5E68-0CE1-7CC7-B9B7AC5A0F56}"/>
              </a:ext>
            </a:extLst>
          </p:cNvPr>
          <p:cNvSpPr/>
          <p:nvPr userDrawn="1"/>
        </p:nvSpPr>
        <p:spPr>
          <a:xfrm>
            <a:off x="10096476" y="464235"/>
            <a:ext cx="381000" cy="38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83578356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ivider Slide Pin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26C82-C677-86CA-D24B-5741646AE96D}"/>
              </a:ext>
            </a:extLst>
          </p:cNvPr>
          <p:cNvSpPr>
            <a:spLocks noGrp="1"/>
          </p:cNvSpPr>
          <p:nvPr>
            <p:ph type="title"/>
          </p:nvPr>
        </p:nvSpPr>
        <p:spPr>
          <a:xfrm>
            <a:off x="304800" y="1789322"/>
            <a:ext cx="6451462" cy="2031325"/>
          </a:xfrm>
        </p:spPr>
        <p:txBody>
          <a:bodyPr/>
          <a:lstStyle>
            <a:lvl1pPr>
              <a:defRPr sz="6000">
                <a:latin typeface="+mj-lt"/>
              </a:defRPr>
            </a:lvl1p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1FA95034-D76B-340A-F1F8-EF4CD1382EC2}"/>
              </a:ext>
            </a:extLst>
          </p:cNvPr>
          <p:cNvSpPr>
            <a:spLocks noGrp="1"/>
          </p:cNvSpPr>
          <p:nvPr>
            <p:ph type="sldNum" sz="quarter" idx="10"/>
          </p:nvPr>
        </p:nvSpPr>
        <p:spPr/>
        <p:txBody>
          <a:bodyPr/>
          <a:lstStyle/>
          <a:p>
            <a:pPr marL="38098">
              <a:spcBef>
                <a:spcPts val="180"/>
              </a:spcBef>
            </a:pPr>
            <a:fld id="{81D60167-4931-47E6-BA6A-407CBD079E47}" type="slidenum">
              <a:rPr lang="en-US" spc="-50" smtClean="0"/>
              <a:pPr marL="38098">
                <a:spcBef>
                  <a:spcPts val="180"/>
                </a:spcBef>
              </a:pPr>
              <a:t>‹#›</a:t>
            </a:fld>
            <a:endParaRPr lang="en-US" spc="-50"/>
          </a:p>
        </p:txBody>
      </p:sp>
      <p:pic>
        <p:nvPicPr>
          <p:cNvPr id="5" name="Picture 4">
            <a:extLst>
              <a:ext uri="{FF2B5EF4-FFF2-40B4-BE49-F238E27FC236}">
                <a16:creationId xmlns:a16="http://schemas.microsoft.com/office/drawing/2014/main" id="{1EFBAF08-E530-1908-62C2-C363C8731F43}"/>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8953475" y="334834"/>
            <a:ext cx="2667000" cy="4940300"/>
          </a:xfrm>
          <a:prstGeom prst="rect">
            <a:avLst/>
          </a:prstGeom>
        </p:spPr>
      </p:pic>
      <p:sp>
        <p:nvSpPr>
          <p:cNvPr id="6" name="Rectangle 5">
            <a:extLst>
              <a:ext uri="{FF2B5EF4-FFF2-40B4-BE49-F238E27FC236}">
                <a16:creationId xmlns:a16="http://schemas.microsoft.com/office/drawing/2014/main" id="{66EAB9C9-49F1-7E6E-B69F-D559E40590FE}"/>
              </a:ext>
            </a:extLst>
          </p:cNvPr>
          <p:cNvSpPr/>
          <p:nvPr userDrawn="1"/>
        </p:nvSpPr>
        <p:spPr>
          <a:xfrm>
            <a:off x="8128000" y="5943600"/>
            <a:ext cx="4064000" cy="9144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218DDDF4-C4C6-FF31-9BA1-2329AA15CC1E}"/>
              </a:ext>
            </a:extLst>
          </p:cNvPr>
          <p:cNvSpPr/>
          <p:nvPr userDrawn="1"/>
        </p:nvSpPr>
        <p:spPr>
          <a:xfrm>
            <a:off x="4064001" y="5943600"/>
            <a:ext cx="4064000" cy="9144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72293387-61A1-00CF-BE6C-15F74CA29C02}"/>
              </a:ext>
            </a:extLst>
          </p:cNvPr>
          <p:cNvSpPr/>
          <p:nvPr userDrawn="1"/>
        </p:nvSpPr>
        <p:spPr>
          <a:xfrm>
            <a:off x="0" y="5943600"/>
            <a:ext cx="4064000" cy="9144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 Placeholder 10">
            <a:extLst>
              <a:ext uri="{FF2B5EF4-FFF2-40B4-BE49-F238E27FC236}">
                <a16:creationId xmlns:a16="http://schemas.microsoft.com/office/drawing/2014/main" id="{79DF2300-94CF-B832-FBEA-9A9D99B9DA2A}"/>
              </a:ext>
            </a:extLst>
          </p:cNvPr>
          <p:cNvSpPr>
            <a:spLocks noGrp="1"/>
          </p:cNvSpPr>
          <p:nvPr>
            <p:ph type="body" sz="quarter" idx="11" hasCustomPrompt="1"/>
          </p:nvPr>
        </p:nvSpPr>
        <p:spPr>
          <a:xfrm>
            <a:off x="304800" y="6265392"/>
            <a:ext cx="3662363" cy="276999"/>
          </a:xfrm>
        </p:spPr>
        <p:txBody>
          <a:bodyPr anchor="ctr" anchorCtr="0">
            <a:noAutofit/>
          </a:bodyPr>
          <a:lstStyle>
            <a:lvl1pPr>
              <a:defRPr>
                <a:solidFill>
                  <a:schemeClr val="bg1"/>
                </a:solidFill>
              </a:defRPr>
            </a:lvl1pPr>
          </a:lstStyle>
          <a:p>
            <a:pPr lvl="0"/>
            <a:r>
              <a:rPr lang="en-US"/>
              <a:t>Click to add section number</a:t>
            </a:r>
          </a:p>
        </p:txBody>
      </p:sp>
      <p:sp>
        <p:nvSpPr>
          <p:cNvPr id="10" name="Oval 9">
            <a:extLst>
              <a:ext uri="{FF2B5EF4-FFF2-40B4-BE49-F238E27FC236}">
                <a16:creationId xmlns:a16="http://schemas.microsoft.com/office/drawing/2014/main" id="{5A721599-FC8B-3A1A-0812-AA707FCA9DFB}"/>
              </a:ext>
            </a:extLst>
          </p:cNvPr>
          <p:cNvSpPr/>
          <p:nvPr userDrawn="1"/>
        </p:nvSpPr>
        <p:spPr>
          <a:xfrm>
            <a:off x="9083676" y="959535"/>
            <a:ext cx="381000" cy="38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Oval 10">
            <a:extLst>
              <a:ext uri="{FF2B5EF4-FFF2-40B4-BE49-F238E27FC236}">
                <a16:creationId xmlns:a16="http://schemas.microsoft.com/office/drawing/2014/main" id="{67C50589-4D24-A40E-188F-68F34DB217C4}"/>
              </a:ext>
            </a:extLst>
          </p:cNvPr>
          <p:cNvSpPr/>
          <p:nvPr userDrawn="1"/>
        </p:nvSpPr>
        <p:spPr>
          <a:xfrm>
            <a:off x="11106151" y="959535"/>
            <a:ext cx="381000" cy="38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Oval 11">
            <a:extLst>
              <a:ext uri="{FF2B5EF4-FFF2-40B4-BE49-F238E27FC236}">
                <a16:creationId xmlns:a16="http://schemas.microsoft.com/office/drawing/2014/main" id="{B0A9D5B7-2E1D-CA95-E191-4489F06CEEEB}"/>
              </a:ext>
            </a:extLst>
          </p:cNvPr>
          <p:cNvSpPr/>
          <p:nvPr userDrawn="1"/>
        </p:nvSpPr>
        <p:spPr>
          <a:xfrm>
            <a:off x="10096476" y="464235"/>
            <a:ext cx="381000" cy="38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86490745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ivider Slide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26C82-C677-86CA-D24B-5741646AE96D}"/>
              </a:ext>
            </a:extLst>
          </p:cNvPr>
          <p:cNvSpPr>
            <a:spLocks noGrp="1"/>
          </p:cNvSpPr>
          <p:nvPr>
            <p:ph type="title"/>
          </p:nvPr>
        </p:nvSpPr>
        <p:spPr>
          <a:xfrm>
            <a:off x="304800" y="1789322"/>
            <a:ext cx="6451462" cy="2031325"/>
          </a:xfrm>
        </p:spPr>
        <p:txBody>
          <a:bodyPr/>
          <a:lstStyle>
            <a:lvl1pPr>
              <a:defRPr sz="6000">
                <a:latin typeface="+mj-lt"/>
              </a:defRPr>
            </a:lvl1p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1FA95034-D76B-340A-F1F8-EF4CD1382EC2}"/>
              </a:ext>
            </a:extLst>
          </p:cNvPr>
          <p:cNvSpPr>
            <a:spLocks noGrp="1"/>
          </p:cNvSpPr>
          <p:nvPr>
            <p:ph type="sldNum" sz="quarter" idx="10"/>
          </p:nvPr>
        </p:nvSpPr>
        <p:spPr/>
        <p:txBody>
          <a:bodyPr/>
          <a:lstStyle/>
          <a:p>
            <a:pPr marL="38098">
              <a:spcBef>
                <a:spcPts val="180"/>
              </a:spcBef>
            </a:pPr>
            <a:fld id="{81D60167-4931-47E6-BA6A-407CBD079E47}" type="slidenum">
              <a:rPr lang="en-US" spc="-50" smtClean="0"/>
              <a:pPr marL="38098">
                <a:spcBef>
                  <a:spcPts val="180"/>
                </a:spcBef>
              </a:pPr>
              <a:t>‹#›</a:t>
            </a:fld>
            <a:endParaRPr lang="en-US" spc="-50"/>
          </a:p>
        </p:txBody>
      </p:sp>
      <p:pic>
        <p:nvPicPr>
          <p:cNvPr id="5" name="Picture 4">
            <a:extLst>
              <a:ext uri="{FF2B5EF4-FFF2-40B4-BE49-F238E27FC236}">
                <a16:creationId xmlns:a16="http://schemas.microsoft.com/office/drawing/2014/main" id="{1EFBAF08-E530-1908-62C2-C363C8731F43}"/>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8953475" y="334834"/>
            <a:ext cx="2667000" cy="4940300"/>
          </a:xfrm>
          <a:prstGeom prst="rect">
            <a:avLst/>
          </a:prstGeom>
        </p:spPr>
      </p:pic>
      <p:sp>
        <p:nvSpPr>
          <p:cNvPr id="6" name="Rectangle 5">
            <a:extLst>
              <a:ext uri="{FF2B5EF4-FFF2-40B4-BE49-F238E27FC236}">
                <a16:creationId xmlns:a16="http://schemas.microsoft.com/office/drawing/2014/main" id="{66EAB9C9-49F1-7E6E-B69F-D559E40590FE}"/>
              </a:ext>
            </a:extLst>
          </p:cNvPr>
          <p:cNvSpPr/>
          <p:nvPr userDrawn="1"/>
        </p:nvSpPr>
        <p:spPr>
          <a:xfrm>
            <a:off x="8128000" y="5943600"/>
            <a:ext cx="4064000" cy="9144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218DDDF4-C4C6-FF31-9BA1-2329AA15CC1E}"/>
              </a:ext>
            </a:extLst>
          </p:cNvPr>
          <p:cNvSpPr/>
          <p:nvPr userDrawn="1"/>
        </p:nvSpPr>
        <p:spPr>
          <a:xfrm>
            <a:off x="4064001" y="5943600"/>
            <a:ext cx="4064000" cy="9144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72293387-61A1-00CF-BE6C-15F74CA29C02}"/>
              </a:ext>
            </a:extLst>
          </p:cNvPr>
          <p:cNvSpPr/>
          <p:nvPr userDrawn="1"/>
        </p:nvSpPr>
        <p:spPr>
          <a:xfrm>
            <a:off x="0" y="5943600"/>
            <a:ext cx="4064000" cy="9144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 Placeholder 10">
            <a:extLst>
              <a:ext uri="{FF2B5EF4-FFF2-40B4-BE49-F238E27FC236}">
                <a16:creationId xmlns:a16="http://schemas.microsoft.com/office/drawing/2014/main" id="{757CC425-0F59-F106-7DB6-741DA9DDFB86}"/>
              </a:ext>
            </a:extLst>
          </p:cNvPr>
          <p:cNvSpPr>
            <a:spLocks noGrp="1"/>
          </p:cNvSpPr>
          <p:nvPr>
            <p:ph type="body" sz="quarter" idx="11" hasCustomPrompt="1"/>
          </p:nvPr>
        </p:nvSpPr>
        <p:spPr>
          <a:xfrm>
            <a:off x="304800" y="6265392"/>
            <a:ext cx="3662363" cy="276999"/>
          </a:xfrm>
        </p:spPr>
        <p:txBody>
          <a:bodyPr anchor="ctr" anchorCtr="0">
            <a:noAutofit/>
          </a:bodyPr>
          <a:lstStyle>
            <a:lvl1pPr>
              <a:defRPr>
                <a:solidFill>
                  <a:schemeClr val="bg1"/>
                </a:solidFill>
              </a:defRPr>
            </a:lvl1pPr>
          </a:lstStyle>
          <a:p>
            <a:pPr lvl="0"/>
            <a:r>
              <a:rPr lang="en-US"/>
              <a:t>Click to add section number</a:t>
            </a:r>
          </a:p>
        </p:txBody>
      </p:sp>
      <p:sp>
        <p:nvSpPr>
          <p:cNvPr id="10" name="Oval 9">
            <a:extLst>
              <a:ext uri="{FF2B5EF4-FFF2-40B4-BE49-F238E27FC236}">
                <a16:creationId xmlns:a16="http://schemas.microsoft.com/office/drawing/2014/main" id="{DD3881B4-5137-8444-2ABA-E9D1344878EE}"/>
              </a:ext>
            </a:extLst>
          </p:cNvPr>
          <p:cNvSpPr/>
          <p:nvPr userDrawn="1"/>
        </p:nvSpPr>
        <p:spPr>
          <a:xfrm>
            <a:off x="9083676" y="959535"/>
            <a:ext cx="381000" cy="38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Oval 10">
            <a:extLst>
              <a:ext uri="{FF2B5EF4-FFF2-40B4-BE49-F238E27FC236}">
                <a16:creationId xmlns:a16="http://schemas.microsoft.com/office/drawing/2014/main" id="{43695964-C393-A87A-EB54-0D9E0CBE687F}"/>
              </a:ext>
            </a:extLst>
          </p:cNvPr>
          <p:cNvSpPr/>
          <p:nvPr userDrawn="1"/>
        </p:nvSpPr>
        <p:spPr>
          <a:xfrm>
            <a:off x="11106151" y="959535"/>
            <a:ext cx="381000" cy="38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Oval 11">
            <a:extLst>
              <a:ext uri="{FF2B5EF4-FFF2-40B4-BE49-F238E27FC236}">
                <a16:creationId xmlns:a16="http://schemas.microsoft.com/office/drawing/2014/main" id="{AFBA1BE7-5192-3190-91A1-FBB16A188ED5}"/>
              </a:ext>
            </a:extLst>
          </p:cNvPr>
          <p:cNvSpPr/>
          <p:nvPr userDrawn="1"/>
        </p:nvSpPr>
        <p:spPr>
          <a:xfrm>
            <a:off x="10096476" y="464235"/>
            <a:ext cx="381000" cy="38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310571649"/>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26C82-C677-86CA-D24B-5741646AE96D}"/>
              </a:ext>
            </a:extLst>
          </p:cNvPr>
          <p:cNvSpPr>
            <a:spLocks noGrp="1"/>
          </p:cNvSpPr>
          <p:nvPr>
            <p:ph type="title"/>
          </p:nvPr>
        </p:nvSpPr>
        <p:spPr>
          <a:xfrm>
            <a:off x="304800" y="1789322"/>
            <a:ext cx="6451462" cy="2031325"/>
          </a:xfrm>
        </p:spPr>
        <p:txBody>
          <a:bodyPr/>
          <a:lstStyle>
            <a:lvl1pPr>
              <a:defRPr sz="6000">
                <a:latin typeface="+mj-lt"/>
              </a:defRPr>
            </a:lvl1p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1FA95034-D76B-340A-F1F8-EF4CD1382EC2}"/>
              </a:ext>
            </a:extLst>
          </p:cNvPr>
          <p:cNvSpPr>
            <a:spLocks noGrp="1"/>
          </p:cNvSpPr>
          <p:nvPr>
            <p:ph type="sldNum" sz="quarter" idx="10"/>
          </p:nvPr>
        </p:nvSpPr>
        <p:spPr/>
        <p:txBody>
          <a:bodyPr/>
          <a:lstStyle/>
          <a:p>
            <a:pPr marL="38098">
              <a:spcBef>
                <a:spcPts val="180"/>
              </a:spcBef>
            </a:pPr>
            <a:fld id="{81D60167-4931-47E6-BA6A-407CBD079E47}" type="slidenum">
              <a:rPr lang="en-US" spc="-50" smtClean="0"/>
              <a:pPr marL="38098">
                <a:spcBef>
                  <a:spcPts val="180"/>
                </a:spcBef>
              </a:pPr>
              <a:t>‹#›</a:t>
            </a:fld>
            <a:endParaRPr lang="en-US" spc="-50"/>
          </a:p>
        </p:txBody>
      </p:sp>
      <p:pic>
        <p:nvPicPr>
          <p:cNvPr id="5" name="Picture 4">
            <a:extLst>
              <a:ext uri="{FF2B5EF4-FFF2-40B4-BE49-F238E27FC236}">
                <a16:creationId xmlns:a16="http://schemas.microsoft.com/office/drawing/2014/main" id="{1EFBAF08-E530-1908-62C2-C363C8731F43}"/>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8953475" y="334834"/>
            <a:ext cx="2667000" cy="4940300"/>
          </a:xfrm>
          <a:prstGeom prst="rect">
            <a:avLst/>
          </a:prstGeom>
        </p:spPr>
      </p:pic>
      <p:sp>
        <p:nvSpPr>
          <p:cNvPr id="6" name="Rectangle 5">
            <a:extLst>
              <a:ext uri="{FF2B5EF4-FFF2-40B4-BE49-F238E27FC236}">
                <a16:creationId xmlns:a16="http://schemas.microsoft.com/office/drawing/2014/main" id="{66EAB9C9-49F1-7E6E-B69F-D559E40590FE}"/>
              </a:ext>
            </a:extLst>
          </p:cNvPr>
          <p:cNvSpPr/>
          <p:nvPr userDrawn="1"/>
        </p:nvSpPr>
        <p:spPr>
          <a:xfrm>
            <a:off x="8128000" y="5943600"/>
            <a:ext cx="4064000" cy="9144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218DDDF4-C4C6-FF31-9BA1-2329AA15CC1E}"/>
              </a:ext>
            </a:extLst>
          </p:cNvPr>
          <p:cNvSpPr/>
          <p:nvPr userDrawn="1"/>
        </p:nvSpPr>
        <p:spPr>
          <a:xfrm>
            <a:off x="4064001" y="5943600"/>
            <a:ext cx="4064000" cy="9144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72293387-61A1-00CF-BE6C-15F74CA29C02}"/>
              </a:ext>
            </a:extLst>
          </p:cNvPr>
          <p:cNvSpPr/>
          <p:nvPr userDrawn="1"/>
        </p:nvSpPr>
        <p:spPr>
          <a:xfrm>
            <a:off x="0" y="5943600"/>
            <a:ext cx="4064000" cy="9144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Oval 3">
            <a:extLst>
              <a:ext uri="{FF2B5EF4-FFF2-40B4-BE49-F238E27FC236}">
                <a16:creationId xmlns:a16="http://schemas.microsoft.com/office/drawing/2014/main" id="{FE559A9E-8D46-4469-2EF8-F2D17D52573A}"/>
              </a:ext>
            </a:extLst>
          </p:cNvPr>
          <p:cNvSpPr/>
          <p:nvPr userDrawn="1"/>
        </p:nvSpPr>
        <p:spPr>
          <a:xfrm>
            <a:off x="9083676" y="959535"/>
            <a:ext cx="381000" cy="38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 Placeholder 10">
            <a:extLst>
              <a:ext uri="{FF2B5EF4-FFF2-40B4-BE49-F238E27FC236}">
                <a16:creationId xmlns:a16="http://schemas.microsoft.com/office/drawing/2014/main" id="{8C0D7B38-04A7-B014-DD7C-C87828F48004}"/>
              </a:ext>
            </a:extLst>
          </p:cNvPr>
          <p:cNvSpPr>
            <a:spLocks noGrp="1"/>
          </p:cNvSpPr>
          <p:nvPr>
            <p:ph type="body" sz="quarter" idx="11" hasCustomPrompt="1"/>
          </p:nvPr>
        </p:nvSpPr>
        <p:spPr>
          <a:xfrm>
            <a:off x="304800" y="6265392"/>
            <a:ext cx="3662363" cy="276999"/>
          </a:xfrm>
        </p:spPr>
        <p:txBody>
          <a:bodyPr anchor="ctr" anchorCtr="0">
            <a:noAutofit/>
          </a:bodyPr>
          <a:lstStyle>
            <a:lvl1pPr>
              <a:defRPr>
                <a:solidFill>
                  <a:schemeClr val="bg1"/>
                </a:solidFill>
              </a:defRPr>
            </a:lvl1pPr>
          </a:lstStyle>
          <a:p>
            <a:pPr lvl="0"/>
            <a:r>
              <a:rPr lang="en-US"/>
              <a:t>Click to add section number</a:t>
            </a:r>
          </a:p>
        </p:txBody>
      </p:sp>
      <p:sp>
        <p:nvSpPr>
          <p:cNvPr id="10" name="Oval 9">
            <a:extLst>
              <a:ext uri="{FF2B5EF4-FFF2-40B4-BE49-F238E27FC236}">
                <a16:creationId xmlns:a16="http://schemas.microsoft.com/office/drawing/2014/main" id="{8AEE6867-D997-676C-8A4D-644CE8AF263F}"/>
              </a:ext>
            </a:extLst>
          </p:cNvPr>
          <p:cNvSpPr/>
          <p:nvPr userDrawn="1"/>
        </p:nvSpPr>
        <p:spPr>
          <a:xfrm>
            <a:off x="11106151" y="959535"/>
            <a:ext cx="381000" cy="38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Oval 10">
            <a:extLst>
              <a:ext uri="{FF2B5EF4-FFF2-40B4-BE49-F238E27FC236}">
                <a16:creationId xmlns:a16="http://schemas.microsoft.com/office/drawing/2014/main" id="{C657112D-C94D-3C7F-1D41-788552E0AE24}"/>
              </a:ext>
            </a:extLst>
          </p:cNvPr>
          <p:cNvSpPr/>
          <p:nvPr userDrawn="1"/>
        </p:nvSpPr>
        <p:spPr>
          <a:xfrm>
            <a:off x="10096476" y="464235"/>
            <a:ext cx="381000" cy="38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31020513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30338" y="344177"/>
            <a:ext cx="11518735" cy="738664"/>
          </a:xfrm>
          <a:solidFill>
            <a:schemeClr val="tx2"/>
          </a:solidFill>
        </p:spPr>
        <p:txBody>
          <a:bodyPr lIns="91440" tIns="91440" rIns="182880" bIns="91440">
            <a:noAutofit/>
          </a:bodyPr>
          <a:lstStyle>
            <a:lvl1pPr>
              <a:defRPr sz="3200" b="1" i="0">
                <a:solidFill>
                  <a:schemeClr val="bg1"/>
                </a:solidFill>
                <a:latin typeface="+mj-lt"/>
                <a:cs typeface="Open Sans"/>
              </a:defRPr>
            </a:lvl1pPr>
          </a:lstStyle>
          <a:p>
            <a:r>
              <a:rPr lang="en-GB"/>
              <a:t>Click to edit Master title style</a:t>
            </a:r>
            <a:endParaRPr/>
          </a:p>
        </p:txBody>
      </p:sp>
      <p:sp>
        <p:nvSpPr>
          <p:cNvPr id="3" name="Holder 3"/>
          <p:cNvSpPr>
            <a:spLocks noGrp="1"/>
          </p:cNvSpPr>
          <p:nvPr>
            <p:ph type="body" idx="1"/>
          </p:nvPr>
        </p:nvSpPr>
        <p:spPr/>
        <p:txBody>
          <a:bodyPr lIns="0" tIns="0" rIns="0" bIns="0">
            <a:noAutofit/>
          </a:bodyPr>
          <a:lstStyle>
            <a:lvl1pPr>
              <a:defRPr/>
            </a:lvl1pPr>
          </a:lstStyle>
          <a:p>
            <a:pPr lvl="0"/>
            <a:r>
              <a:rPr lang="en-GB"/>
              <a:t>Click to edit Master text styles</a:t>
            </a:r>
          </a:p>
        </p:txBody>
      </p:sp>
      <p:sp>
        <p:nvSpPr>
          <p:cNvPr id="6" name="Holder 6"/>
          <p:cNvSpPr>
            <a:spLocks noGrp="1"/>
          </p:cNvSpPr>
          <p:nvPr>
            <p:ph type="sldNum" sz="quarter" idx="7"/>
          </p:nvPr>
        </p:nvSpPr>
        <p:spPr/>
        <p:txBody>
          <a:bodyPr lIns="0" tIns="0" rIns="0" bIns="0"/>
          <a:lstStyle>
            <a:lvl1pPr>
              <a:defRPr sz="1200" b="1" i="0">
                <a:solidFill>
                  <a:srgbClr val="182857"/>
                </a:solidFill>
                <a:latin typeface="Open Sans"/>
                <a:cs typeface="Open Sans"/>
              </a:defRPr>
            </a:lvl1pPr>
          </a:lstStyle>
          <a:p>
            <a:pPr marL="38098">
              <a:spcBef>
                <a:spcPts val="180"/>
              </a:spcBef>
            </a:pPr>
            <a:fld id="{81D60167-4931-47E6-BA6A-407CBD079E47}" type="slidenum">
              <a:rPr lang="en-US" spc="-50" smtClean="0"/>
              <a:pPr marL="38098">
                <a:spcBef>
                  <a:spcPts val="180"/>
                </a:spcBef>
              </a:pPr>
              <a:t>‹#›</a:t>
            </a:fld>
            <a:endParaRPr lang="en-US" spc="-50"/>
          </a:p>
        </p:txBody>
      </p:sp>
    </p:spTree>
    <p:extLst>
      <p:ext uri="{BB962C8B-B14F-4D97-AF65-F5344CB8AC3E}">
        <p14:creationId xmlns:p14="http://schemas.microsoft.com/office/powerpoint/2010/main" val="47769219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hart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DAD92-DA72-A57E-6E25-C189147356E2}"/>
              </a:ext>
            </a:extLst>
          </p:cNvPr>
          <p:cNvSpPr>
            <a:spLocks noGrp="1"/>
          </p:cNvSpPr>
          <p:nvPr>
            <p:ph type="title"/>
          </p:nvPr>
        </p:nvSpPr>
        <p:spPr>
          <a:solidFill>
            <a:schemeClr val="tx2"/>
          </a:solidFill>
        </p:spPr>
        <p:txBody>
          <a:bodyPr>
            <a:noAutofit/>
          </a:bodyPr>
          <a:lstStyle>
            <a:lvl1pPr>
              <a:defRPr sz="3200">
                <a:latin typeface="+mj-lt"/>
              </a:defRPr>
            </a:lvl1p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FDB4714D-88A6-E6EE-0844-3F3DB85DE257}"/>
              </a:ext>
            </a:extLst>
          </p:cNvPr>
          <p:cNvSpPr>
            <a:spLocks noGrp="1"/>
          </p:cNvSpPr>
          <p:nvPr>
            <p:ph type="sldNum" sz="quarter" idx="10"/>
          </p:nvPr>
        </p:nvSpPr>
        <p:spPr/>
        <p:txBody>
          <a:bodyPr/>
          <a:lstStyle/>
          <a:p>
            <a:pPr marL="38098">
              <a:spcBef>
                <a:spcPts val="180"/>
              </a:spcBef>
            </a:pPr>
            <a:fld id="{81D60167-4931-47E6-BA6A-407CBD079E47}" type="slidenum">
              <a:rPr lang="en-US" spc="-50" smtClean="0"/>
              <a:pPr marL="38098">
                <a:spcBef>
                  <a:spcPts val="180"/>
                </a:spcBef>
              </a:pPr>
              <a:t>‹#›</a:t>
            </a:fld>
            <a:endParaRPr lang="en-US" spc="-50"/>
          </a:p>
        </p:txBody>
      </p:sp>
      <p:sp>
        <p:nvSpPr>
          <p:cNvPr id="4" name="object 2">
            <a:extLst>
              <a:ext uri="{FF2B5EF4-FFF2-40B4-BE49-F238E27FC236}">
                <a16:creationId xmlns:a16="http://schemas.microsoft.com/office/drawing/2014/main" id="{DE0EAEFC-1761-8D6B-DB22-974A78E755D2}"/>
              </a:ext>
            </a:extLst>
          </p:cNvPr>
          <p:cNvSpPr/>
          <p:nvPr userDrawn="1"/>
        </p:nvSpPr>
        <p:spPr>
          <a:xfrm>
            <a:off x="4066019" y="1889252"/>
            <a:ext cx="7717790" cy="4170045"/>
          </a:xfrm>
          <a:custGeom>
            <a:avLst/>
            <a:gdLst/>
            <a:ahLst/>
            <a:cxnLst/>
            <a:rect l="l" t="t" r="r" b="b"/>
            <a:pathLst>
              <a:path w="7717790" h="4170045">
                <a:moveTo>
                  <a:pt x="0" y="4169664"/>
                </a:moveTo>
                <a:lnTo>
                  <a:pt x="7717535" y="4169664"/>
                </a:lnTo>
                <a:lnTo>
                  <a:pt x="7717535" y="0"/>
                </a:lnTo>
                <a:lnTo>
                  <a:pt x="0" y="0"/>
                </a:lnTo>
                <a:lnTo>
                  <a:pt x="0" y="4169664"/>
                </a:lnTo>
                <a:close/>
              </a:path>
            </a:pathLst>
          </a:custGeom>
          <a:solidFill>
            <a:srgbClr val="F4ECE7"/>
          </a:solidFill>
        </p:spPr>
        <p:txBody>
          <a:bodyPr wrap="square" lIns="0" tIns="0" rIns="0" bIns="0" rtlCol="0"/>
          <a:lstStyle/>
          <a:p>
            <a:endParaRPr sz="1800"/>
          </a:p>
        </p:txBody>
      </p:sp>
      <p:sp>
        <p:nvSpPr>
          <p:cNvPr id="10" name="Chart Placeholder 9">
            <a:extLst>
              <a:ext uri="{FF2B5EF4-FFF2-40B4-BE49-F238E27FC236}">
                <a16:creationId xmlns:a16="http://schemas.microsoft.com/office/drawing/2014/main" id="{AA7B269D-1DC4-1D3E-0BE5-FCD6789B89ED}"/>
              </a:ext>
            </a:extLst>
          </p:cNvPr>
          <p:cNvSpPr>
            <a:spLocks noGrp="1"/>
          </p:cNvSpPr>
          <p:nvPr>
            <p:ph type="chart" sz="quarter" idx="12"/>
          </p:nvPr>
        </p:nvSpPr>
        <p:spPr>
          <a:xfrm>
            <a:off x="4238625" y="2076451"/>
            <a:ext cx="7351713" cy="276999"/>
          </a:xfrm>
        </p:spPr>
        <p:txBody>
          <a:bodyPr/>
          <a:lstStyle/>
          <a:p>
            <a:r>
              <a:rPr lang="en-GB"/>
              <a:t>Click icon to add chart</a:t>
            </a:r>
            <a:endParaRPr lang="en-US"/>
          </a:p>
        </p:txBody>
      </p:sp>
      <p:sp>
        <p:nvSpPr>
          <p:cNvPr id="17" name="Text Placeholder 16">
            <a:extLst>
              <a:ext uri="{FF2B5EF4-FFF2-40B4-BE49-F238E27FC236}">
                <a16:creationId xmlns:a16="http://schemas.microsoft.com/office/drawing/2014/main" id="{5E55EA62-AC01-3F47-7C1C-4573BCC68E1F}"/>
              </a:ext>
            </a:extLst>
          </p:cNvPr>
          <p:cNvSpPr>
            <a:spLocks noGrp="1"/>
          </p:cNvSpPr>
          <p:nvPr>
            <p:ph type="body" sz="quarter" idx="14"/>
          </p:nvPr>
        </p:nvSpPr>
        <p:spPr>
          <a:xfrm>
            <a:off x="568325" y="1457326"/>
            <a:ext cx="3175000" cy="4602163"/>
          </a:xfrm>
        </p:spPr>
        <p:txBody>
          <a:bodyPr>
            <a:noAutofit/>
          </a:bodyPr>
          <a:lstStyle>
            <a:lvl1pPr>
              <a:defRPr sz="1400" b="1"/>
            </a:lvl1pPr>
            <a:lvl2pPr marL="11112" indent="0">
              <a:spcBef>
                <a:spcPts val="600"/>
              </a:spcBef>
              <a:tabLst/>
              <a:defRPr sz="1400"/>
            </a:lvl2pPr>
            <a:lvl3pPr marL="468291" indent="-234939">
              <a:buFont typeface="Arial Bold"/>
              <a:buChar char="»"/>
              <a:tabLst/>
              <a:defRPr sz="1400" b="0"/>
            </a:lvl3pPr>
            <a:lvl4pPr>
              <a:defRPr sz="1400"/>
            </a:lvl4pPr>
            <a:lvl5pPr>
              <a:defRPr sz="1400"/>
            </a:lvl5pPr>
          </a:lstStyle>
          <a:p>
            <a:pPr lvl="0"/>
            <a:r>
              <a:rPr lang="en-GB"/>
              <a:t>Click to edit Master text styles</a:t>
            </a:r>
          </a:p>
          <a:p>
            <a:pPr lvl="1"/>
            <a:r>
              <a:rPr lang="en-GB"/>
              <a:t>Second level</a:t>
            </a:r>
          </a:p>
          <a:p>
            <a:pPr lvl="2"/>
            <a:r>
              <a:rPr lang="en-GB"/>
              <a:t>Third level</a:t>
            </a:r>
          </a:p>
        </p:txBody>
      </p:sp>
      <p:sp>
        <p:nvSpPr>
          <p:cNvPr id="14" name="Text Placeholder 11">
            <a:extLst>
              <a:ext uri="{FF2B5EF4-FFF2-40B4-BE49-F238E27FC236}">
                <a16:creationId xmlns:a16="http://schemas.microsoft.com/office/drawing/2014/main" id="{E7DB34B6-2578-0E0A-E940-B543797B1DCC}"/>
              </a:ext>
            </a:extLst>
          </p:cNvPr>
          <p:cNvSpPr>
            <a:spLocks noGrp="1"/>
          </p:cNvSpPr>
          <p:nvPr>
            <p:ph type="body" sz="quarter" idx="13"/>
          </p:nvPr>
        </p:nvSpPr>
        <p:spPr>
          <a:xfrm>
            <a:off x="4065589" y="1303339"/>
            <a:ext cx="7718425" cy="585215"/>
          </a:xfrm>
          <a:solidFill>
            <a:schemeClr val="accent3"/>
          </a:solidFill>
        </p:spPr>
        <p:txBody>
          <a:bodyPr lIns="91440" rIns="91440" anchor="ctr" anchorCtr="0">
            <a:noAutofit/>
          </a:bodyPr>
          <a:lstStyle>
            <a:lvl1pPr>
              <a:defRPr sz="1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79371583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Holder 5"/>
          <p:cNvSpPr>
            <a:spLocks noGrp="1"/>
          </p:cNvSpPr>
          <p:nvPr>
            <p:ph type="sldNum" sz="quarter" idx="7"/>
          </p:nvPr>
        </p:nvSpPr>
        <p:spPr/>
        <p:txBody>
          <a:bodyPr lIns="0" tIns="0" rIns="0" bIns="0"/>
          <a:lstStyle>
            <a:lvl1pPr>
              <a:defRPr sz="1200" b="1" i="0">
                <a:solidFill>
                  <a:srgbClr val="182857"/>
                </a:solidFill>
                <a:latin typeface="Open Sans"/>
                <a:cs typeface="Open Sans"/>
              </a:defRPr>
            </a:lvl1pPr>
          </a:lstStyle>
          <a:p>
            <a:pPr marL="38098">
              <a:spcBef>
                <a:spcPts val="180"/>
              </a:spcBef>
            </a:pPr>
            <a:fld id="{81D60167-4931-47E6-BA6A-407CBD079E47}" type="slidenum">
              <a:rPr lang="en-US" spc="-50" smtClean="0"/>
              <a:pPr marL="38098">
                <a:spcBef>
                  <a:spcPts val="180"/>
                </a:spcBef>
              </a:pPr>
              <a:t>‹#›</a:t>
            </a:fld>
            <a:endParaRPr lang="en-US" spc="-50"/>
          </a:p>
        </p:txBody>
      </p:sp>
      <p:sp>
        <p:nvSpPr>
          <p:cNvPr id="6" name="Holder 2">
            <a:extLst>
              <a:ext uri="{FF2B5EF4-FFF2-40B4-BE49-F238E27FC236}">
                <a16:creationId xmlns:a16="http://schemas.microsoft.com/office/drawing/2014/main" id="{4C2DD7CD-B740-4C4D-5A25-59990D0CD7C5}"/>
              </a:ext>
            </a:extLst>
          </p:cNvPr>
          <p:cNvSpPr>
            <a:spLocks noGrp="1"/>
          </p:cNvSpPr>
          <p:nvPr>
            <p:ph type="title"/>
          </p:nvPr>
        </p:nvSpPr>
        <p:spPr>
          <a:xfrm>
            <a:off x="330338" y="344177"/>
            <a:ext cx="11518735" cy="738664"/>
          </a:xfrm>
          <a:solidFill>
            <a:schemeClr val="tx2"/>
          </a:solidFill>
        </p:spPr>
        <p:txBody>
          <a:bodyPr lIns="91440" tIns="91440" rIns="182880" bIns="91440">
            <a:noAutofit/>
          </a:bodyPr>
          <a:lstStyle>
            <a:lvl1pPr>
              <a:defRPr sz="3200" b="1" i="0">
                <a:solidFill>
                  <a:schemeClr val="bg1"/>
                </a:solidFill>
                <a:latin typeface="+mj-lt"/>
                <a:cs typeface="Open Sans"/>
              </a:defRPr>
            </a:lvl1pPr>
          </a:lstStyle>
          <a:p>
            <a:r>
              <a:rPr lang="en-GB"/>
              <a:t>Click to edit Master title style</a:t>
            </a:r>
            <a:endParaRPr/>
          </a:p>
        </p:txBody>
      </p:sp>
    </p:spTree>
    <p:extLst>
      <p:ext uri="{BB962C8B-B14F-4D97-AF65-F5344CB8AC3E}">
        <p14:creationId xmlns:p14="http://schemas.microsoft.com/office/powerpoint/2010/main" val="2281143946"/>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4" name="Holder 4"/>
          <p:cNvSpPr>
            <a:spLocks noGrp="1"/>
          </p:cNvSpPr>
          <p:nvPr>
            <p:ph type="sldNum" sz="quarter" idx="7"/>
          </p:nvPr>
        </p:nvSpPr>
        <p:spPr/>
        <p:txBody>
          <a:bodyPr lIns="0" tIns="0" rIns="0" bIns="0"/>
          <a:lstStyle>
            <a:lvl1pPr>
              <a:defRPr sz="1200" b="1" i="0">
                <a:solidFill>
                  <a:srgbClr val="182857"/>
                </a:solidFill>
                <a:latin typeface="Open Sans"/>
                <a:cs typeface="Open Sans"/>
              </a:defRPr>
            </a:lvl1pPr>
          </a:lstStyle>
          <a:p>
            <a:pPr marL="38098">
              <a:spcBef>
                <a:spcPts val="180"/>
              </a:spcBef>
            </a:pPr>
            <a:fld id="{81D60167-4931-47E6-BA6A-407CBD079E47}" type="slidenum">
              <a:rPr lang="en-US" spc="-50" smtClean="0"/>
              <a:pPr marL="38098">
                <a:spcBef>
                  <a:spcPts val="180"/>
                </a:spcBef>
              </a:pPr>
              <a:t>‹#›</a:t>
            </a:fld>
            <a:endParaRPr lang="en-US" spc="-50"/>
          </a:p>
        </p:txBody>
      </p:sp>
    </p:spTree>
    <p:extLst>
      <p:ext uri="{BB962C8B-B14F-4D97-AF65-F5344CB8AC3E}">
        <p14:creationId xmlns:p14="http://schemas.microsoft.com/office/powerpoint/2010/main" val="1299434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321103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Holder 3"/>
          <p:cNvSpPr>
            <a:spLocks noGrp="1"/>
          </p:cNvSpPr>
          <p:nvPr>
            <p:ph sz="half" idx="2"/>
          </p:nvPr>
        </p:nvSpPr>
        <p:spPr>
          <a:xfrm>
            <a:off x="375585" y="1565204"/>
            <a:ext cx="5486400" cy="276999"/>
          </a:xfrm>
          <a:prstGeom prst="rect">
            <a:avLst/>
          </a:prstGeom>
        </p:spPr>
        <p:txBody>
          <a:bodyPr wrap="square" lIns="0" tIns="0" rIns="0" bIns="0">
            <a:spAutoFit/>
          </a:bodyPr>
          <a:lstStyle>
            <a:lvl1pPr>
              <a:defRPr/>
            </a:lvl1pPr>
          </a:lstStyle>
          <a:p>
            <a:pPr lvl="0"/>
            <a:r>
              <a:rPr lang="en-GB"/>
              <a:t>Click to edit Master text styles</a:t>
            </a:r>
          </a:p>
        </p:txBody>
      </p:sp>
      <p:sp>
        <p:nvSpPr>
          <p:cNvPr id="4" name="Holder 4"/>
          <p:cNvSpPr>
            <a:spLocks noGrp="1"/>
          </p:cNvSpPr>
          <p:nvPr>
            <p:ph sz="half" idx="3"/>
          </p:nvPr>
        </p:nvSpPr>
        <p:spPr>
          <a:xfrm>
            <a:off x="6330015" y="1565204"/>
            <a:ext cx="5486400" cy="276999"/>
          </a:xfrm>
          <a:prstGeom prst="rect">
            <a:avLst/>
          </a:prstGeom>
        </p:spPr>
        <p:txBody>
          <a:bodyPr wrap="square" lIns="0" tIns="0" rIns="0" bIns="0">
            <a:spAutoFit/>
          </a:bodyPr>
          <a:lstStyle>
            <a:lvl1pPr>
              <a:defRPr/>
            </a:lvl1pPr>
          </a:lstStyle>
          <a:p>
            <a:pPr lvl="0"/>
            <a:r>
              <a:rPr lang="en-GB"/>
              <a:t>Click to edit Master text styles</a:t>
            </a:r>
          </a:p>
        </p:txBody>
      </p:sp>
      <p:sp>
        <p:nvSpPr>
          <p:cNvPr id="7" name="Holder 7"/>
          <p:cNvSpPr>
            <a:spLocks noGrp="1"/>
          </p:cNvSpPr>
          <p:nvPr>
            <p:ph type="sldNum" sz="quarter" idx="7"/>
          </p:nvPr>
        </p:nvSpPr>
        <p:spPr/>
        <p:txBody>
          <a:bodyPr lIns="0" tIns="0" rIns="0" bIns="0"/>
          <a:lstStyle>
            <a:lvl1pPr>
              <a:defRPr sz="1200" b="1" i="0">
                <a:solidFill>
                  <a:srgbClr val="182857"/>
                </a:solidFill>
                <a:latin typeface="Open Sans"/>
                <a:cs typeface="Open Sans"/>
              </a:defRPr>
            </a:lvl1pPr>
          </a:lstStyle>
          <a:p>
            <a:pPr marL="38098">
              <a:spcBef>
                <a:spcPts val="180"/>
              </a:spcBef>
            </a:pPr>
            <a:fld id="{81D60167-4931-47E6-BA6A-407CBD079E47}" type="slidenum">
              <a:rPr lang="en-US" spc="-50" smtClean="0"/>
              <a:pPr marL="38098">
                <a:spcBef>
                  <a:spcPts val="180"/>
                </a:spcBef>
              </a:pPr>
              <a:t>‹#›</a:t>
            </a:fld>
            <a:endParaRPr lang="en-US" spc="-50"/>
          </a:p>
        </p:txBody>
      </p:sp>
      <p:sp>
        <p:nvSpPr>
          <p:cNvPr id="8" name="Holder 2">
            <a:extLst>
              <a:ext uri="{FF2B5EF4-FFF2-40B4-BE49-F238E27FC236}">
                <a16:creationId xmlns:a16="http://schemas.microsoft.com/office/drawing/2014/main" id="{6180456B-3C0A-30A6-2E22-910C42EF9C71}"/>
              </a:ext>
            </a:extLst>
          </p:cNvPr>
          <p:cNvSpPr>
            <a:spLocks noGrp="1"/>
          </p:cNvSpPr>
          <p:nvPr>
            <p:ph type="title"/>
          </p:nvPr>
        </p:nvSpPr>
        <p:spPr>
          <a:xfrm>
            <a:off x="330338" y="344177"/>
            <a:ext cx="11518735" cy="738664"/>
          </a:xfrm>
          <a:solidFill>
            <a:schemeClr val="tx2"/>
          </a:solidFill>
        </p:spPr>
        <p:txBody>
          <a:bodyPr lIns="91440" tIns="91440" rIns="182880" bIns="91440">
            <a:noAutofit/>
          </a:bodyPr>
          <a:lstStyle>
            <a:lvl1pPr>
              <a:defRPr sz="3200" b="1" i="0">
                <a:solidFill>
                  <a:schemeClr val="bg1"/>
                </a:solidFill>
                <a:latin typeface="+mj-lt"/>
                <a:cs typeface="Open Sans"/>
              </a:defRPr>
            </a:lvl1pPr>
          </a:lstStyle>
          <a:p>
            <a:r>
              <a:rPr lang="en-GB"/>
              <a:t>Click to edit Master title style</a:t>
            </a:r>
            <a:endParaRPr/>
          </a:p>
        </p:txBody>
      </p:sp>
    </p:spTree>
    <p:extLst>
      <p:ext uri="{BB962C8B-B14F-4D97-AF65-F5344CB8AC3E}">
        <p14:creationId xmlns:p14="http://schemas.microsoft.com/office/powerpoint/2010/main" val="323425458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Graphic Righ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506397" y="6482886"/>
            <a:ext cx="2112197" cy="111982"/>
          </a:xfrm>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a:xfrm>
            <a:off x="2854743" y="6482886"/>
            <a:ext cx="897196" cy="111982"/>
          </a:xfrm>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06396" y="459732"/>
            <a:ext cx="7246760" cy="403133"/>
          </a:xfrm>
        </p:spPr>
        <p:txBody>
          <a:bodyPr lIns="0" tIns="0" rIns="0" bIns="0" anchor="t" anchorCtr="0"/>
          <a:lstStyle>
            <a:lvl1pPr>
              <a:defRPr/>
            </a:lvl1pPr>
          </a:lstStyle>
          <a:p>
            <a:r>
              <a:rPr lang="en-GB"/>
              <a:t>Click to edit Master title style</a:t>
            </a: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15061" y="1996560"/>
            <a:ext cx="3165635" cy="1268809"/>
          </a:xfrm>
        </p:spPr>
        <p:txBody>
          <a:bodyPr/>
          <a:lstStyle>
            <a:lvl1pPr marL="207925" indent="-20792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15061" y="1529131"/>
            <a:ext cx="3165635" cy="609719"/>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1407396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Graphic Main">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06397" y="6482886"/>
            <a:ext cx="7575715" cy="111982"/>
          </a:xfrm>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a:xfrm>
            <a:off x="10788408" y="6482886"/>
            <a:ext cx="897196" cy="111982"/>
          </a:xfrm>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06396" y="459732"/>
            <a:ext cx="7789138" cy="403133"/>
          </a:xfrm>
        </p:spPr>
        <p:txBody>
          <a:bodyPr lIns="0" tIns="0" rIns="0" bIns="0" anchor="t" anchorCtr="0"/>
          <a:lstStyle/>
          <a:p>
            <a:r>
              <a:rPr lang="en-GB"/>
              <a:t>Click to edit Master title style</a:t>
            </a:r>
          </a:p>
        </p:txBody>
      </p:sp>
    </p:spTree>
    <p:extLst>
      <p:ext uri="{BB962C8B-B14F-4D97-AF65-F5344CB8AC3E}">
        <p14:creationId xmlns:p14="http://schemas.microsoft.com/office/powerpoint/2010/main" val="1541189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36718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565829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6"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130410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1"/>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2"/>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2"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7" y="2773429"/>
            <a:ext cx="3471601" cy="1311145"/>
          </a:xfrm>
          <a:prstGeom prst="rect">
            <a:avLst/>
          </a:prstGeom>
        </p:spPr>
      </p:pic>
    </p:spTree>
    <p:extLst>
      <p:ext uri="{BB962C8B-B14F-4D97-AF65-F5344CB8AC3E}">
        <p14:creationId xmlns:p14="http://schemas.microsoft.com/office/powerpoint/2010/main" val="792793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1"/>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2"/>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2"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158419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1"/>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2"/>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2"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8" y="2220890"/>
            <a:ext cx="2454959" cy="1819430"/>
          </a:xfrm>
          <a:prstGeom prst="rect">
            <a:avLst/>
          </a:prstGeom>
        </p:spPr>
      </p:pic>
    </p:spTree>
    <p:extLst>
      <p:ext uri="{BB962C8B-B14F-4D97-AF65-F5344CB8AC3E}">
        <p14:creationId xmlns:p14="http://schemas.microsoft.com/office/powerpoint/2010/main" val="4097798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2011896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GB" sz="970" b="0" i="0">
                <a:solidFill>
                  <a:schemeClr val="tx1"/>
                </a:solidFill>
              </a:rPr>
              <a:t>Click to edit Master text styles</a:t>
            </a:r>
          </a:p>
        </p:txBody>
      </p:sp>
    </p:spTree>
    <p:extLst>
      <p:ext uri="{BB962C8B-B14F-4D97-AF65-F5344CB8AC3E}">
        <p14:creationId xmlns:p14="http://schemas.microsoft.com/office/powerpoint/2010/main" val="4249757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6" y="5756444"/>
            <a:ext cx="750929" cy="554493"/>
          </a:xfrm>
          <a:prstGeom prst="rect">
            <a:avLst/>
          </a:prstGeom>
        </p:spPr>
      </p:pic>
    </p:spTree>
    <p:extLst>
      <p:ext uri="{BB962C8B-B14F-4D97-AF65-F5344CB8AC3E}">
        <p14:creationId xmlns:p14="http://schemas.microsoft.com/office/powerpoint/2010/main" val="2810796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9"/>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Tree>
    <p:extLst>
      <p:ext uri="{BB962C8B-B14F-4D97-AF65-F5344CB8AC3E}">
        <p14:creationId xmlns:p14="http://schemas.microsoft.com/office/powerpoint/2010/main" val="1438726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887" indent="-311887">
              <a:spcAft>
                <a:spcPts val="0"/>
              </a:spcAft>
              <a:buFont typeface="+mj-lt"/>
              <a:buAutoNum type="arabicPeriod"/>
              <a:defRPr sz="1940" b="0" i="0">
                <a:solidFill>
                  <a:schemeClr val="tx1"/>
                </a:solidFill>
                <a:latin typeface="Poppins Medium" pitchFamily="2" charset="77"/>
                <a:cs typeface="Poppins Medium" pitchFamily="2" charset="77"/>
              </a:defRPr>
            </a:lvl1pPr>
            <a:lvl2pPr marL="311887" indent="-311887">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5" y="2299041"/>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553324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8" y="2342856"/>
            <a:ext cx="11042887" cy="3007436"/>
          </a:xfrm>
        </p:spPr>
        <p:txBody>
          <a:bodyPr wrap="square" numCol="2" spcCol="756000">
            <a:noAutofit/>
          </a:bodyPr>
          <a:lstStyle>
            <a:lvl1pPr marL="311887" indent="-311887">
              <a:spcAft>
                <a:spcPts val="0"/>
              </a:spcAft>
              <a:buFont typeface="+mj-lt"/>
              <a:buAutoNum type="arabicPeriod"/>
              <a:defRPr sz="1940" b="0" i="0">
                <a:solidFill>
                  <a:schemeClr val="tx1"/>
                </a:solidFill>
                <a:latin typeface="Poppins Medium" pitchFamily="2" charset="77"/>
                <a:cs typeface="Poppins Medium" pitchFamily="2" charset="77"/>
              </a:defRPr>
            </a:lvl1pPr>
            <a:lvl2pPr marL="311887" indent="-311887">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27920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225439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5" y="2299041"/>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1639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51861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7"/>
            <a:ext cx="5081284" cy="1571475"/>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43030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9"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9"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9"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Tree>
    <p:extLst>
      <p:ext uri="{BB962C8B-B14F-4D97-AF65-F5344CB8AC3E}">
        <p14:creationId xmlns:p14="http://schemas.microsoft.com/office/powerpoint/2010/main" val="370040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1" y="1612707"/>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7"/>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4" y="1613917"/>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7"/>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7" y="1613917"/>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7"/>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2"/>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2"/>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2"/>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60"/>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60"/>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60"/>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1" y="2822289"/>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4" y="2823499"/>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7" y="2823499"/>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1" y="403187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4"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7"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1" y="5241452"/>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4" y="5242662"/>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7" y="5242662"/>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396556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425750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Tree>
    <p:extLst>
      <p:ext uri="{BB962C8B-B14F-4D97-AF65-F5344CB8AC3E}">
        <p14:creationId xmlns:p14="http://schemas.microsoft.com/office/powerpoint/2010/main" val="662488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2905315"/>
            <a:ext cx="11036725" cy="1658869"/>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9559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1682567"/>
            <a:ext cx="11036725" cy="1674747"/>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50859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1682567"/>
            <a:ext cx="11036725" cy="1674747"/>
          </a:xfrm>
        </p:spPr>
        <p:txBody>
          <a:bodyPr numCol="2" spcCol="1440000"/>
          <a:lstStyle>
            <a:lvl1pPr marL="207925" indent="-20792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07798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1682567"/>
            <a:ext cx="11036725" cy="1674747"/>
          </a:xfrm>
        </p:spPr>
        <p:txBody>
          <a:bodyPr numCol="2" spcCol="1440000"/>
          <a:lstStyle>
            <a:lvl1pPr marL="277233" indent="-277233">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84846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9"/>
            <a:ext cx="5081283" cy="810030"/>
          </a:xfr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3"/>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333583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80" y="2"/>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3"/>
            <a:ext cx="5081284" cy="1571475"/>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4"/>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1"/>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30028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5081284" cy="1571475"/>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3" y="644598"/>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3" y="3509479"/>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1885262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5081284" cy="1571475"/>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3"/>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9"/>
            <a:ext cx="474911" cy="401189"/>
          </a:xfrm>
          <a:prstGeom prst="rect">
            <a:avLst/>
          </a:prstGeom>
        </p:spPr>
      </p:pic>
    </p:spTree>
    <p:extLst>
      <p:ext uri="{BB962C8B-B14F-4D97-AF65-F5344CB8AC3E}">
        <p14:creationId xmlns:p14="http://schemas.microsoft.com/office/powerpoint/2010/main" val="4084319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11042887" cy="403133"/>
          </a:xfrm>
        </p:spPr>
        <p:txBody>
          <a:bodyPr lIns="0" tIns="0" rIns="0" bIns="0" anchor="t" anchorCtr="0"/>
          <a:lstStyle/>
          <a:p>
            <a:r>
              <a:rPr lang="en-GB"/>
              <a:t>Click to edit Master title styl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9" y="1245960"/>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40"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83517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9"/>
            <a:ext cx="5081283" cy="810030"/>
          </a:xfr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801870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99671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VB 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9"/>
            <a:ext cx="5081283" cy="810030"/>
          </a:xfrm>
        </p:spPr>
        <p:txBody>
          <a:bodyPr lIns="0" tIns="0" rIns="0" bIns="0" anchor="t" anchorCtr="0"/>
          <a:lstStyle/>
          <a:p>
            <a:r>
              <a:rPr lang="en-GB"/>
              <a:t>Click to edit Master title style</a:t>
            </a:r>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81752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5" y="1996560"/>
            <a:ext cx="5335021" cy="1268809"/>
          </a:xfrm>
        </p:spPr>
        <p:txBody>
          <a:bodyPr/>
          <a:lstStyle>
            <a:lvl1pPr marL="207925" indent="-20792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6" y="1996560"/>
            <a:ext cx="5335021" cy="1268809"/>
          </a:xfrm>
        </p:spPr>
        <p:txBody>
          <a:bodyPr/>
          <a:lstStyle>
            <a:lvl1pPr marL="207925" indent="-20792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5"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6" y="1529132"/>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66" rtl="0" eaLnBrk="1" latinLnBrk="0" hangingPunct="1">
              <a:lnSpc>
                <a:spcPct val="120000"/>
              </a:lnSpc>
              <a:spcBef>
                <a:spcPts val="606"/>
              </a:spcBef>
              <a:spcAft>
                <a:spcPts val="728"/>
              </a:spcAft>
              <a:buSzPct val="75000"/>
              <a:buFontTx/>
              <a:buNone/>
            </a:pPr>
            <a:r>
              <a:rPr lang="en-GB"/>
              <a:t>Click to edit Master text styles</a:t>
            </a:r>
          </a:p>
        </p:txBody>
      </p:sp>
    </p:spTree>
    <p:extLst>
      <p:ext uri="{BB962C8B-B14F-4D97-AF65-F5344CB8AC3E}">
        <p14:creationId xmlns:p14="http://schemas.microsoft.com/office/powerpoint/2010/main" val="3639283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2"/>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66" rtl="0" eaLnBrk="1" latinLnBrk="0" hangingPunct="1">
              <a:lnSpc>
                <a:spcPct val="120000"/>
              </a:lnSpc>
              <a:spcBef>
                <a:spcPts val="606"/>
              </a:spcBef>
              <a:spcAft>
                <a:spcPts val="728"/>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2"/>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66" rtl="0" eaLnBrk="1" latinLnBrk="0" hangingPunct="1">
              <a:lnSpc>
                <a:spcPct val="120000"/>
              </a:lnSpc>
              <a:spcBef>
                <a:spcPts val="606"/>
              </a:spcBef>
              <a:spcAft>
                <a:spcPts val="728"/>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25" indent="-20792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25" indent="-20792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25" indent="-20792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81296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35207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2"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4"/>
            <a:ext cx="2909728" cy="190437"/>
          </a:xfrm>
        </p:spPr>
        <p:txBody>
          <a:bodyPr/>
          <a:lstStyle>
            <a:lvl1pPr>
              <a:defRPr sz="1092"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4"/>
            <a:ext cx="2909728" cy="190437"/>
          </a:xfrm>
        </p:spPr>
        <p:txBody>
          <a:bodyPr/>
          <a:lstStyle>
            <a:lvl1pPr>
              <a:defRPr sz="1092"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4"/>
            <a:ext cx="2909728" cy="190437"/>
          </a:xfrm>
        </p:spPr>
        <p:txBody>
          <a:bodyPr/>
          <a:lstStyle>
            <a:lvl1pPr>
              <a:defRPr sz="1092" b="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231483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5"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6"/>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8" y="2350102"/>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66"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66"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20953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8"/>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1"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3"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3" y="3035787"/>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8" y="3035787"/>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7" y="3035787"/>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7"/>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115428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8"/>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1"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3" y="2276560"/>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66"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3"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3"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Tree>
    <p:extLst>
      <p:ext uri="{BB962C8B-B14F-4D97-AF65-F5344CB8AC3E}">
        <p14:creationId xmlns:p14="http://schemas.microsoft.com/office/powerpoint/2010/main" val="362180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8"/>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1"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60"/>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66"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321094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3" y="2730108"/>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1"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60"/>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66"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66" rtl="0" eaLnBrk="1" fontAlgn="auto" latinLnBrk="0" hangingPunct="1">
              <a:lnSpc>
                <a:spcPct val="120000"/>
              </a:lnSpc>
              <a:spcBef>
                <a:spcPts val="0"/>
              </a:spcBef>
              <a:spcAft>
                <a:spcPts val="1455"/>
              </a:spcAft>
              <a:buClrTx/>
              <a:buSzTx/>
              <a:buFontTx/>
              <a:buNone/>
              <a:tabLst/>
              <a:defRPr/>
            </a:pPr>
            <a:r>
              <a:rPr lang="en-GB" sz="970" b="0" i="0">
                <a:solidFill>
                  <a:schemeClr val="tx1"/>
                </a:solidFill>
              </a:rPr>
              <a:t>Click to edit Master text styles</a:t>
            </a:r>
          </a:p>
        </p:txBody>
      </p:sp>
    </p:spTree>
    <p:extLst>
      <p:ext uri="{BB962C8B-B14F-4D97-AF65-F5344CB8AC3E}">
        <p14:creationId xmlns:p14="http://schemas.microsoft.com/office/powerpoint/2010/main" val="2631738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88413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1"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60"/>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60"/>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7"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Tree>
    <p:extLst>
      <p:ext uri="{BB962C8B-B14F-4D97-AF65-F5344CB8AC3E}">
        <p14:creationId xmlns:p14="http://schemas.microsoft.com/office/powerpoint/2010/main" val="425678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567423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3" y="1487596"/>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3" y="1904146"/>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89" indent="-216589">
              <a:defRPr/>
            </a:lvl2pPr>
            <a:lvl3pPr marL="381195" indent="-174234">
              <a:defRPr/>
            </a:lvl3pPr>
            <a:lvl4pPr marL="926036" indent="-183859">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6751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3" y="1487596"/>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3" y="1904146"/>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9"/>
            <a:ext cx="2873834" cy="253787"/>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9"/>
            <a:ext cx="2873834" cy="253787"/>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89" indent="-216589">
              <a:defRPr/>
            </a:lvl2pPr>
            <a:lvl3pPr marL="381195" indent="-174234">
              <a:defRPr/>
            </a:lvl3pPr>
            <a:lvl4pPr marL="926036" indent="-183859">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087862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5"/>
            <a:ext cx="9198321" cy="253787"/>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GB"/>
              <a:t>Click to edit Master text styles</a:t>
            </a:r>
          </a:p>
        </p:txBody>
      </p:sp>
    </p:spTree>
    <p:extLst>
      <p:ext uri="{BB962C8B-B14F-4D97-AF65-F5344CB8AC3E}">
        <p14:creationId xmlns:p14="http://schemas.microsoft.com/office/powerpoint/2010/main" val="106148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394042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5"/>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5"/>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5"/>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5"/>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5"/>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67891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1"/>
            <a:ext cx="11049048" cy="406867"/>
          </a:xfrm>
        </p:spPr>
        <p:txBody>
          <a:bodyPr numCol="6" spcCol="360000" anchor="b" anchorCtr="0"/>
          <a:lstStyle>
            <a:lvl1pPr marL="0" indent="21755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9" y="4145141"/>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17470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2"/>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2"/>
            <a:ext cx="11049048" cy="406867"/>
          </a:xfrm>
        </p:spPr>
        <p:txBody>
          <a:bodyPr numCol="3" spcCol="720000" anchor="t" anchorCtr="0"/>
          <a:lstStyle>
            <a:lvl1pPr marL="0" indent="21755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2"/>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2"/>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1012367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1"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5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8"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9"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51" indent="-217551">
              <a:defRPr lang="en-GB" sz="1092" kern="1200" dirty="0">
                <a:solidFill>
                  <a:schemeClr val="tx1"/>
                </a:solidFill>
                <a:latin typeface="+mn-lt"/>
                <a:ea typeface="+mn-ea"/>
                <a:cs typeface="+mn-cs"/>
              </a:defRPr>
            </a:lvl3pPr>
          </a:lstStyle>
          <a:p>
            <a:pPr marL="0" marR="0" lvl="0" indent="-217551" algn="l" defTabSz="554466"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3"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51" indent="-217551">
              <a:defRPr lang="en-GB" sz="1092" kern="1200" dirty="0">
                <a:solidFill>
                  <a:schemeClr val="tx1"/>
                </a:solidFill>
                <a:latin typeface="+mn-lt"/>
                <a:ea typeface="+mn-ea"/>
                <a:cs typeface="+mn-cs"/>
              </a:defRPr>
            </a:lvl3pPr>
          </a:lstStyle>
          <a:p>
            <a:pPr marL="0" marR="0" lvl="0" indent="-217551" algn="l" defTabSz="554466"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1"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51" indent="-217551">
              <a:defRPr lang="en-GB" sz="1092" kern="1200" dirty="0">
                <a:solidFill>
                  <a:schemeClr val="tx1"/>
                </a:solidFill>
                <a:latin typeface="+mn-lt"/>
                <a:ea typeface="+mn-ea"/>
                <a:cs typeface="+mn-cs"/>
              </a:defRPr>
            </a:lvl3pPr>
          </a:lstStyle>
          <a:p>
            <a:pPr marL="0" marR="0" lvl="0" indent="-217551" algn="l" defTabSz="554466" rtl="0" eaLnBrk="1" fontAlgn="auto" latinLnBrk="0" hangingPunct="1">
              <a:lnSpc>
                <a:spcPct val="120000"/>
              </a:lnSpc>
              <a:spcBef>
                <a:spcPts val="303"/>
              </a:spcBef>
              <a:spcAft>
                <a:spcPts val="364"/>
              </a:spcAft>
              <a:buClrTx/>
              <a:buSzPct val="75000"/>
              <a:tabLst/>
              <a:defRPr/>
            </a:pPr>
            <a:r>
              <a:rPr lang="en-GB"/>
              <a:t>Click to edit Master text styles</a:t>
            </a:r>
          </a:p>
        </p:txBody>
      </p:sp>
    </p:spTree>
    <p:extLst>
      <p:ext uri="{BB962C8B-B14F-4D97-AF65-F5344CB8AC3E}">
        <p14:creationId xmlns:p14="http://schemas.microsoft.com/office/powerpoint/2010/main" val="237002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806580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51" indent="-21755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51" indent="-21755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51" indent="-217551">
              <a:spcAft>
                <a:spcPts val="364"/>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51" indent="-21755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51" indent="-21755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944491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6"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6"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Tree>
    <p:extLst>
      <p:ext uri="{BB962C8B-B14F-4D97-AF65-F5344CB8AC3E}">
        <p14:creationId xmlns:p14="http://schemas.microsoft.com/office/powerpoint/2010/main" val="3912077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40"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9"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5"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5"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5"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298642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40"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3"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7"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4166458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7"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9" y="3480496"/>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GB"/>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81422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9" y="1509772"/>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9" y="537198"/>
            <a:ext cx="11013551" cy="403133"/>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51" indent="-21755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51" indent="-217551">
              <a:spcBef>
                <a:spcPts val="0"/>
              </a:spcBef>
              <a:buSzPct val="200000"/>
              <a:buFontTx/>
              <a:buBlip>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3"/>
            <a:ext cx="2314188" cy="171705"/>
          </a:xfrm>
        </p:spPr>
        <p:txBody>
          <a:bodyPr wrap="square" tIns="0" bIns="0" anchor="t" anchorCtr="0">
            <a:spAutoFit/>
          </a:bodyPr>
          <a:lstStyle>
            <a:lvl1pPr marL="217551" indent="-21755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3"/>
            <a:ext cx="2314188" cy="171705"/>
          </a:xfrm>
        </p:spPr>
        <p:txBody>
          <a:bodyPr wrap="square" tIns="0" bIns="0" anchor="t" anchorCtr="0">
            <a:spAutoFit/>
          </a:bodyPr>
          <a:lstStyle>
            <a:lvl1pPr marL="217551" indent="-217551">
              <a:spcBef>
                <a:spcPts val="0"/>
              </a:spcBef>
              <a:buSzPct val="200000"/>
              <a:buFontTx/>
              <a:buBlip>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43812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8" y="2162835"/>
            <a:ext cx="10991343" cy="571182"/>
          </a:xfrm>
        </p:spPr>
        <p:txBody>
          <a:bodyPr/>
          <a:lstStyle>
            <a:lvl1pPr algn="ctr">
              <a:defRPr sz="3275">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6"/>
            <a:ext cx="1696672"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6"/>
            <a:ext cx="1743798"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6" y="5241915"/>
            <a:ext cx="1743797"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83093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6"/>
            <a:ext cx="8255334" cy="296171"/>
          </a:xfrm>
        </p:spPr>
        <p:txBody>
          <a:bodyPr/>
          <a:lstStyle>
            <a:lvl1pPr algn="l">
              <a:defRPr sz="1698">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6"/>
            <a:ext cx="1880668"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4" y="5241915"/>
            <a:ext cx="2180486"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6" y="5241915"/>
            <a:ext cx="1459271"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1"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482220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8" y="2863650"/>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65910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5" y="3681456"/>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164600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GB"/>
              <a:t>Click to edit Master text styles</a:t>
            </a:r>
          </a:p>
        </p:txBody>
      </p:sp>
    </p:spTree>
    <p:extLst>
      <p:ext uri="{BB962C8B-B14F-4D97-AF65-F5344CB8AC3E}">
        <p14:creationId xmlns:p14="http://schemas.microsoft.com/office/powerpoint/2010/main" val="13812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285194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0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2336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9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792296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6"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916887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6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1"/>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2"/>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2"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7" y="2773429"/>
            <a:ext cx="3471601" cy="1311145"/>
          </a:xfrm>
          <a:prstGeom prst="rect">
            <a:avLst/>
          </a:prstGeom>
        </p:spPr>
      </p:pic>
    </p:spTree>
    <p:extLst>
      <p:ext uri="{BB962C8B-B14F-4D97-AF65-F5344CB8AC3E}">
        <p14:creationId xmlns:p14="http://schemas.microsoft.com/office/powerpoint/2010/main" val="361531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5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1"/>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2"/>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2"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164571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4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1"/>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2"/>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2"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8" y="2220890"/>
            <a:ext cx="2454959" cy="1819430"/>
          </a:xfrm>
          <a:prstGeom prst="rect">
            <a:avLst/>
          </a:prstGeom>
        </p:spPr>
      </p:pic>
    </p:spTree>
    <p:extLst>
      <p:ext uri="{BB962C8B-B14F-4D97-AF65-F5344CB8AC3E}">
        <p14:creationId xmlns:p14="http://schemas.microsoft.com/office/powerpoint/2010/main" val="175411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8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558633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7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6" y="5756444"/>
            <a:ext cx="750929" cy="554493"/>
          </a:xfrm>
          <a:prstGeom prst="rect">
            <a:avLst/>
          </a:prstGeom>
        </p:spPr>
      </p:pic>
    </p:spTree>
    <p:extLst>
      <p:ext uri="{BB962C8B-B14F-4D97-AF65-F5344CB8AC3E}">
        <p14:creationId xmlns:p14="http://schemas.microsoft.com/office/powerpoint/2010/main" val="64459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9" y="1509772"/>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9" y="537198"/>
            <a:ext cx="11013551" cy="403133"/>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51" indent="-21755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51" indent="-217551">
              <a:spcBef>
                <a:spcPts val="0"/>
              </a:spcBef>
              <a:buSzPct val="200000"/>
              <a:buFontTx/>
              <a:buBlip>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3"/>
            <a:ext cx="2314188" cy="171705"/>
          </a:xfrm>
        </p:spPr>
        <p:txBody>
          <a:bodyPr wrap="square" tIns="0" bIns="0" anchor="t" anchorCtr="0">
            <a:spAutoFit/>
          </a:bodyPr>
          <a:lstStyle>
            <a:lvl1pPr marL="217551" indent="-21755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3"/>
            <a:ext cx="2314188" cy="171705"/>
          </a:xfrm>
        </p:spPr>
        <p:txBody>
          <a:bodyPr wrap="square" tIns="0" bIns="0" anchor="t" anchorCtr="0">
            <a:spAutoFit/>
          </a:bodyPr>
          <a:lstStyle>
            <a:lvl1pPr marL="217551" indent="-217551">
              <a:spcBef>
                <a:spcPts val="0"/>
              </a:spcBef>
              <a:buSzPct val="200000"/>
              <a:buFontTx/>
              <a:buBlip>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822570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62092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5" y="3681456"/>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154272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115838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5310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85765C15-050B-3F46-BA7D-23E9D746CA77}"/>
              </a:ext>
            </a:extLst>
          </p:cNvPr>
          <p:cNvSpPr>
            <a:spLocks noGrp="1"/>
          </p:cNvSpPr>
          <p:nvPr>
            <p:ph type="ftr" sz="quarter" idx="13"/>
          </p:nvPr>
        </p:nvSpPr>
        <p:spPr>
          <a:xfrm>
            <a:off x="2553909" y="6225493"/>
            <a:ext cx="1314983" cy="168059"/>
          </a:xfrm>
        </p:spPr>
        <p:txBody>
          <a:bodyPr/>
          <a:lstStyle>
            <a:lvl1pPr marL="0" marR="0" indent="0" algn="r" defTabSz="554492" rtl="0" eaLnBrk="1" fontAlgn="auto" latinLnBrk="0" hangingPunct="1">
              <a:lnSpc>
                <a:spcPct val="100000"/>
              </a:lnSpc>
              <a:spcBef>
                <a:spcPts val="0"/>
              </a:spcBef>
              <a:spcAft>
                <a:spcPts val="0"/>
              </a:spcAft>
              <a:buClrTx/>
              <a:buSzTx/>
              <a:buFontTx/>
              <a:buNone/>
              <a:tabLst/>
              <a:defRPr>
                <a:solidFill>
                  <a:srgbClr val="999999"/>
                </a:solidFill>
              </a:defRPr>
            </a:lvl1pPr>
          </a:lstStyle>
          <a:p>
            <a:r>
              <a:rPr lang="en-GB" sz="1092">
                <a:latin typeface="Poppins Medium" pitchFamily="2" charset="77"/>
                <a:cs typeface="Poppins Medium" pitchFamily="2" charset="77"/>
              </a:rPr>
              <a:t>WUENIC 2021</a:t>
            </a:r>
          </a:p>
        </p:txBody>
      </p:sp>
      <p:sp>
        <p:nvSpPr>
          <p:cNvPr id="4" name="Slide Number Placeholder 3">
            <a:extLst>
              <a:ext uri="{FF2B5EF4-FFF2-40B4-BE49-F238E27FC236}">
                <a16:creationId xmlns:a16="http://schemas.microsoft.com/office/drawing/2014/main" id="{B5DAFA51-0F1A-9D4E-BF85-8D1047C752BC}"/>
              </a:ext>
            </a:extLst>
          </p:cNvPr>
          <p:cNvSpPr>
            <a:spLocks noGrp="1"/>
          </p:cNvSpPr>
          <p:nvPr>
            <p:ph type="sldNum" sz="quarter" idx="11"/>
          </p:nvPr>
        </p:nvSpPr>
        <p:spPr>
          <a:xfrm>
            <a:off x="506396" y="6225493"/>
            <a:ext cx="1048051" cy="167972"/>
          </a:xfrm>
        </p:spPr>
        <p:txBody>
          <a:bodyPr/>
          <a:lstStyle>
            <a:lvl1pPr algn="l">
              <a:defRPr sz="1092" b="0" i="0">
                <a:solidFill>
                  <a:srgbClr val="999999"/>
                </a:solidFill>
                <a:latin typeface="Poppins Medium" pitchFamily="2" charset="77"/>
                <a:cs typeface="Poppins Medium" pitchFamily="2" charset="77"/>
              </a:defRPr>
            </a:lvl1pPr>
          </a:lstStyle>
          <a:p>
            <a:fld id="{E2E31AFC-DF42-41A5-B57C-06A83BBA6616}" type="slidenum">
              <a:rPr lang="en-GB" smtClean="0"/>
              <a:pPr/>
              <a:t>‹#›</a:t>
            </a:fld>
            <a:r>
              <a:rPr lang="en-GB"/>
              <a:t> of 28</a:t>
            </a:r>
          </a:p>
        </p:txBody>
      </p:sp>
      <p:sp>
        <p:nvSpPr>
          <p:cNvPr id="8" name="Title 1">
            <a:extLst>
              <a:ext uri="{FF2B5EF4-FFF2-40B4-BE49-F238E27FC236}">
                <a16:creationId xmlns:a16="http://schemas.microsoft.com/office/drawing/2014/main" id="{98868AC3-E71E-584E-95BA-49ED20AC6B30}"/>
              </a:ext>
            </a:extLst>
          </p:cNvPr>
          <p:cNvSpPr>
            <a:spLocks noGrp="1"/>
          </p:cNvSpPr>
          <p:nvPr>
            <p:ph type="ctrTitle"/>
          </p:nvPr>
        </p:nvSpPr>
        <p:spPr>
          <a:xfrm>
            <a:off x="506396" y="467566"/>
            <a:ext cx="3493502" cy="996476"/>
          </a:xfrm>
        </p:spPr>
        <p:txBody>
          <a:bodyPr lIns="0" tIns="0" rIns="0" bIns="0" anchor="t" anchorCtr="0">
            <a:noAutofit/>
          </a:bodyPr>
          <a:lstStyle>
            <a:lvl1pPr algn="l">
              <a:lnSpc>
                <a:spcPts val="2456"/>
              </a:lnSpc>
              <a:defRPr sz="2062">
                <a:solidFill>
                  <a:schemeClr val="tx1"/>
                </a:solidFill>
              </a:defRPr>
            </a:lvl1pPr>
          </a:lstStyle>
          <a:p>
            <a:r>
              <a:rPr lang="en-GB"/>
              <a:t>Click to edit Master title style</a:t>
            </a:r>
          </a:p>
        </p:txBody>
      </p:sp>
    </p:spTree>
    <p:extLst>
      <p:ext uri="{BB962C8B-B14F-4D97-AF65-F5344CB8AC3E}">
        <p14:creationId xmlns:p14="http://schemas.microsoft.com/office/powerpoint/2010/main" val="46806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738968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68819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9435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425124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227773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1604413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168042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222256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13199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Tree>
    <p:extLst>
      <p:ext uri="{BB962C8B-B14F-4D97-AF65-F5344CB8AC3E}">
        <p14:creationId xmlns:p14="http://schemas.microsoft.com/office/powerpoint/2010/main" val="128345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602479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676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807115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12124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Tree>
    <p:extLst>
      <p:ext uri="{BB962C8B-B14F-4D97-AF65-F5344CB8AC3E}">
        <p14:creationId xmlns:p14="http://schemas.microsoft.com/office/powerpoint/2010/main" val="148403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39068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923967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421983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7641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00000"/>
              <a:buFont typeface="Wingdings" pitchFamily="2" charset="2"/>
              <a:buChar cha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87173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4916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3963723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417445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11875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42178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GB"/>
              <a:t>Click to edit Master title styl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318119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2606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4267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67392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Tree>
    <p:extLst>
      <p:ext uri="{BB962C8B-B14F-4D97-AF65-F5344CB8AC3E}">
        <p14:creationId xmlns:p14="http://schemas.microsoft.com/office/powerpoint/2010/main" val="1237812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481421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011574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88955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90677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3"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77754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28"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Tree>
    <p:extLst>
      <p:ext uri="{BB962C8B-B14F-4D97-AF65-F5344CB8AC3E}">
        <p14:creationId xmlns:p14="http://schemas.microsoft.com/office/powerpoint/2010/main" val="599668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221364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3"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GB" sz="970" b="0" i="0">
                <a:solidFill>
                  <a:schemeClr val="tx1"/>
                </a:solidFill>
              </a:rPr>
              <a:t>Click to edit Master text styles</a:t>
            </a:r>
          </a:p>
        </p:txBody>
      </p:sp>
    </p:spTree>
    <p:extLst>
      <p:ext uri="{BB962C8B-B14F-4D97-AF65-F5344CB8AC3E}">
        <p14:creationId xmlns:p14="http://schemas.microsoft.com/office/powerpoint/2010/main" val="2775976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Tree>
    <p:extLst>
      <p:ext uri="{BB962C8B-B14F-4D97-AF65-F5344CB8AC3E}">
        <p14:creationId xmlns:p14="http://schemas.microsoft.com/office/powerpoint/2010/main" val="1285258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Tree>
    <p:extLst>
      <p:ext uri="{BB962C8B-B14F-4D97-AF65-F5344CB8AC3E}">
        <p14:creationId xmlns:p14="http://schemas.microsoft.com/office/powerpoint/2010/main" val="3570225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52791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678209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0252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GB"/>
              <a:t>Click to edit Master text styles</a:t>
            </a:r>
          </a:p>
        </p:txBody>
      </p:sp>
    </p:spTree>
    <p:extLst>
      <p:ext uri="{BB962C8B-B14F-4D97-AF65-F5344CB8AC3E}">
        <p14:creationId xmlns:p14="http://schemas.microsoft.com/office/powerpoint/2010/main" val="1616536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81109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2951599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913924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174054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Tree>
    <p:extLst>
      <p:ext uri="{BB962C8B-B14F-4D97-AF65-F5344CB8AC3E}">
        <p14:creationId xmlns:p14="http://schemas.microsoft.com/office/powerpoint/2010/main" val="360954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86163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02725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385566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Tree>
    <p:extLst>
      <p:ext uri="{BB962C8B-B14F-4D97-AF65-F5344CB8AC3E}">
        <p14:creationId xmlns:p14="http://schemas.microsoft.com/office/powerpoint/2010/main" val="50264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1163753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28068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GB"/>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2043708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3193004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49027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560986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37135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344333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72366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Tree>
    <p:extLst>
      <p:ext uri="{BB962C8B-B14F-4D97-AF65-F5344CB8AC3E}">
        <p14:creationId xmlns:p14="http://schemas.microsoft.com/office/powerpoint/2010/main" val="3013908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7" y="291749"/>
            <a:ext cx="6967728" cy="492447"/>
          </a:xfrm>
        </p:spPr>
        <p:txBody>
          <a:bodyPr vert="horz"/>
          <a:lstStyle>
            <a:lvl1pPr rtl="0">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7" y="919251"/>
            <a:ext cx="6967728"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6" y="6434995"/>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pic>
        <p:nvPicPr>
          <p:cNvPr id="2" name="Picture 2" descr="Home — Make Polio History">
            <a:extLst>
              <a:ext uri="{FF2B5EF4-FFF2-40B4-BE49-F238E27FC236}">
                <a16:creationId xmlns:a16="http://schemas.microsoft.com/office/drawing/2014/main" id="{6BD1C208-BE58-3464-CF19-D4045FBD8124}"/>
              </a:ext>
            </a:extLst>
          </p:cNvPr>
          <p:cNvPicPr>
            <a:picLocks noChangeAspect="1" noChangeArrowheads="1"/>
          </p:cNvPicPr>
          <p:nvPr userDrawn="1"/>
        </p:nvPicPr>
        <p:blipFill>
          <a:blip r:embed="rId14" cstate="screen">
            <a:extLst>
              <a:ext uri="{28A0092B-C50C-407E-A947-70E740481C1C}">
                <a14:useLocalDpi xmlns:a14="http://schemas.microsoft.com/office/drawing/2010/main" val="0"/>
              </a:ext>
            </a:extLst>
          </a:blip>
          <a:srcRect/>
          <a:stretch>
            <a:fillRect/>
          </a:stretch>
        </p:blipFill>
        <p:spPr bwMode="ltGray">
          <a:xfrm>
            <a:off x="10349196" y="351259"/>
            <a:ext cx="1285592" cy="40526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Light">
            <a:extLst>
              <a:ext uri="{FF2B5EF4-FFF2-40B4-BE49-F238E27FC236}">
                <a16:creationId xmlns:a16="http://schemas.microsoft.com/office/drawing/2014/main" id="{9DDD4483-48C2-6A1A-3980-E9FD95594A06}"/>
              </a:ext>
            </a:extLst>
          </p:cNvPr>
          <p:cNvSpPr/>
          <p:nvPr userDrawn="1">
            <p:custDataLst>
              <p:tags r:id="rId8"/>
            </p:custDataLst>
          </p:nvPr>
        </p:nvSpPr>
        <p:spPr bwMode="ltGray">
          <a:xfrm>
            <a:off x="0" y="6624780"/>
            <a:ext cx="2643738" cy="23322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noProof="0">
              <a:solidFill>
                <a:srgbClr val="F0F0F0"/>
              </a:solidFill>
              <a:latin typeface="+mn-lt"/>
              <a:ea typeface="+mn-ea"/>
              <a:cs typeface="+mn-cs"/>
            </a:endParaRPr>
          </a:p>
        </p:txBody>
      </p:sp>
      <p:sp>
        <p:nvSpPr>
          <p:cNvPr id="8" name="RectangleLight">
            <a:extLst>
              <a:ext uri="{FF2B5EF4-FFF2-40B4-BE49-F238E27FC236}">
                <a16:creationId xmlns:a16="http://schemas.microsoft.com/office/drawing/2014/main" id="{AE2D0334-FCD0-C6F5-268D-5F270D136FC5}"/>
              </a:ext>
            </a:extLst>
          </p:cNvPr>
          <p:cNvSpPr/>
          <p:nvPr userDrawn="1">
            <p:custDataLst>
              <p:tags r:id="rId9"/>
            </p:custDataLst>
          </p:nvPr>
        </p:nvSpPr>
        <p:spPr bwMode="ltGray">
          <a:xfrm>
            <a:off x="2705100" y="6624780"/>
            <a:ext cx="9486900" cy="23322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buClr>
                <a:schemeClr val="lt1"/>
              </a:buClr>
            </a:pPr>
            <a:endParaRPr lang="en-US" sz="1800" noProof="0">
              <a:latin typeface="+mn-lt"/>
              <a:ea typeface="+mn-ea"/>
              <a:cs typeface="+mn-cs"/>
            </a:endParaRPr>
          </a:p>
        </p:txBody>
      </p:sp>
      <p:sp>
        <p:nvSpPr>
          <p:cNvPr id="9" name="Slide Number">
            <a:extLst>
              <a:ext uri="{FF2B5EF4-FFF2-40B4-BE49-F238E27FC236}">
                <a16:creationId xmlns:a16="http://schemas.microsoft.com/office/drawing/2014/main" id="{B55CC6BB-CA9F-22C4-6516-504856F1098A}"/>
              </a:ext>
            </a:extLst>
          </p:cNvPr>
          <p:cNvSpPr>
            <a:spLocks noChangeArrowheads="1"/>
          </p:cNvSpPr>
          <p:nvPr userDrawn="1">
            <p:custDataLst>
              <p:tags r:id="rId10"/>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4103575896"/>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noProof="0">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7" y="353305"/>
            <a:ext cx="7918704" cy="369332"/>
          </a:xfrm>
        </p:spPr>
        <p:txBody>
          <a:bodyPr vert="horz"/>
          <a:lstStyle>
            <a:lvl1pPr rtl="0">
              <a:defRPr sz="2400">
                <a:solidFill>
                  <a:schemeClr val="accent1"/>
                </a:solidFill>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7" y="919251"/>
            <a:ext cx="7918704" cy="246221"/>
          </a:xfrm>
          <a:prstGeom prst="rect">
            <a:avLst/>
          </a:prstGeom>
        </p:spPr>
        <p:txBody>
          <a:bodyPr wrap="square">
            <a:spAutoFit/>
          </a:bodyPr>
          <a:lstStyle>
            <a:lvl1pPr marL="0" indent="0" algn="l" rtl="0">
              <a:buNone/>
              <a:defRPr sz="1600" b="0" u="none" baseline="0">
                <a:solidFill>
                  <a:schemeClr val="tx1"/>
                </a:solidFill>
                <a:latin typeface="+mn-lt"/>
                <a:ea typeface="+mn-ea"/>
                <a:cs typeface="+mn-cs"/>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pic>
        <p:nvPicPr>
          <p:cNvPr id="2" name="Picture 2" descr="Home — Make Polio History">
            <a:extLst>
              <a:ext uri="{FF2B5EF4-FFF2-40B4-BE49-F238E27FC236}">
                <a16:creationId xmlns:a16="http://schemas.microsoft.com/office/drawing/2014/main" id="{7330C640-54F3-93EB-F2A4-40DF5F68CD51}"/>
              </a:ext>
            </a:extLst>
          </p:cNvPr>
          <p:cNvPicPr>
            <a:picLocks noChangeAspect="1" noChangeArrowheads="1"/>
          </p:cNvPicPr>
          <p:nvPr userDrawn="1"/>
        </p:nvPicPr>
        <p:blipFill>
          <a:blip r:embed="rId14" cstate="screen">
            <a:extLst>
              <a:ext uri="{28A0092B-C50C-407E-A947-70E740481C1C}">
                <a14:useLocalDpi xmlns:a14="http://schemas.microsoft.com/office/drawing/2010/main" val="0"/>
              </a:ext>
            </a:extLst>
          </a:blip>
          <a:srcRect/>
          <a:stretch>
            <a:fillRect/>
          </a:stretch>
        </p:blipFill>
        <p:spPr bwMode="ltGray">
          <a:xfrm>
            <a:off x="10349196" y="351259"/>
            <a:ext cx="1285592" cy="40526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Light">
            <a:extLst>
              <a:ext uri="{FF2B5EF4-FFF2-40B4-BE49-F238E27FC236}">
                <a16:creationId xmlns:a16="http://schemas.microsoft.com/office/drawing/2014/main" id="{6ACF3C31-0A9E-368D-EC0C-43C8E1A068D6}"/>
              </a:ext>
            </a:extLst>
          </p:cNvPr>
          <p:cNvSpPr/>
          <p:nvPr userDrawn="1">
            <p:custDataLst>
              <p:tags r:id="rId8"/>
            </p:custDataLst>
          </p:nvPr>
        </p:nvSpPr>
        <p:spPr bwMode="ltGray">
          <a:xfrm>
            <a:off x="0" y="6624780"/>
            <a:ext cx="2643738" cy="23322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noProof="0">
              <a:solidFill>
                <a:srgbClr val="F0F0F0"/>
              </a:solidFill>
              <a:latin typeface="+mn-lt"/>
              <a:ea typeface="+mn-ea"/>
              <a:cs typeface="+mn-cs"/>
            </a:endParaRPr>
          </a:p>
        </p:txBody>
      </p:sp>
      <p:sp>
        <p:nvSpPr>
          <p:cNvPr id="7" name="RectangleLight">
            <a:extLst>
              <a:ext uri="{FF2B5EF4-FFF2-40B4-BE49-F238E27FC236}">
                <a16:creationId xmlns:a16="http://schemas.microsoft.com/office/drawing/2014/main" id="{319286B3-5790-061E-F97C-7D43EFA1C73B}"/>
              </a:ext>
            </a:extLst>
          </p:cNvPr>
          <p:cNvSpPr/>
          <p:nvPr userDrawn="1">
            <p:custDataLst>
              <p:tags r:id="rId9"/>
            </p:custDataLst>
          </p:nvPr>
        </p:nvSpPr>
        <p:spPr bwMode="ltGray">
          <a:xfrm>
            <a:off x="2705100" y="6624780"/>
            <a:ext cx="9486900" cy="23322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buClr>
                <a:schemeClr val="lt1"/>
              </a:buClr>
            </a:pPr>
            <a:endParaRPr lang="en-US" sz="1800" noProof="0">
              <a:latin typeface="+mn-lt"/>
              <a:ea typeface="+mn-ea"/>
              <a:cs typeface="+mn-cs"/>
            </a:endParaRPr>
          </a:p>
        </p:txBody>
      </p:sp>
      <p:sp>
        <p:nvSpPr>
          <p:cNvPr id="8" name="Slide Number">
            <a:extLst>
              <a:ext uri="{FF2B5EF4-FFF2-40B4-BE49-F238E27FC236}">
                <a16:creationId xmlns:a16="http://schemas.microsoft.com/office/drawing/2014/main" id="{CD8538DE-575E-30F9-F1CD-7CDF898892DB}"/>
              </a:ext>
            </a:extLst>
          </p:cNvPr>
          <p:cNvSpPr>
            <a:spLocks noChangeArrowheads="1"/>
          </p:cNvSpPr>
          <p:nvPr userDrawn="1">
            <p:custDataLst>
              <p:tags r:id="rId10"/>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4108932147"/>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8" y="503070"/>
            <a:ext cx="9729907" cy="492447"/>
          </a:xfrm>
        </p:spPr>
        <p:txBody>
          <a:bodyPr vert="horz">
            <a:spAutoFit/>
          </a:bodyPr>
          <a:lstStyle>
            <a:lvl1pPr rtl="0">
              <a:defRPr>
                <a:latin typeface="+mj-lt"/>
                <a:ea typeface="+mj-ea"/>
                <a:cs typeface="+mj-cs"/>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pic>
        <p:nvPicPr>
          <p:cNvPr id="16" name="Picture 2" descr="Home — Make Polio History">
            <a:extLst>
              <a:ext uri="{FF2B5EF4-FFF2-40B4-BE49-F238E27FC236}">
                <a16:creationId xmlns:a16="http://schemas.microsoft.com/office/drawing/2014/main" id="{62AAD8CE-48FA-F1B2-9E66-5EE70C9FF9D4}"/>
              </a:ext>
            </a:extLst>
          </p:cNvPr>
          <p:cNvPicPr>
            <a:picLocks noChangeAspect="1" noChangeArrowheads="1"/>
          </p:cNvPicPr>
          <p:nvPr userDrawn="1"/>
        </p:nvPicPr>
        <p:blipFill>
          <a:blip r:embed="rId12" cstate="screen">
            <a:extLst>
              <a:ext uri="{28A0092B-C50C-407E-A947-70E740481C1C}">
                <a14:useLocalDpi xmlns:a14="http://schemas.microsoft.com/office/drawing/2010/main" val="0"/>
              </a:ext>
            </a:extLst>
          </a:blip>
          <a:srcRect/>
          <a:stretch>
            <a:fillRect/>
          </a:stretch>
        </p:blipFill>
        <p:spPr bwMode="ltGray">
          <a:xfrm>
            <a:off x="10349196" y="567159"/>
            <a:ext cx="1285592" cy="405262"/>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Light">
            <a:extLst>
              <a:ext uri="{FF2B5EF4-FFF2-40B4-BE49-F238E27FC236}">
                <a16:creationId xmlns:a16="http://schemas.microsoft.com/office/drawing/2014/main" id="{C05D1973-16AB-CAD8-8CEB-7C2F0F5BFD4F}"/>
              </a:ext>
            </a:extLst>
          </p:cNvPr>
          <p:cNvSpPr/>
          <p:nvPr userDrawn="1">
            <p:custDataLst>
              <p:tags r:id="rId6"/>
            </p:custDataLst>
          </p:nvPr>
        </p:nvSpPr>
        <p:spPr bwMode="ltGray">
          <a:xfrm>
            <a:off x="0" y="6624780"/>
            <a:ext cx="2643738" cy="23322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noProof="0">
              <a:solidFill>
                <a:srgbClr val="F0F0F0"/>
              </a:solidFill>
              <a:latin typeface="+mn-lt"/>
              <a:ea typeface="+mn-ea"/>
              <a:cs typeface="+mn-cs"/>
            </a:endParaRPr>
          </a:p>
        </p:txBody>
      </p:sp>
      <p:sp>
        <p:nvSpPr>
          <p:cNvPr id="18" name="RectangleLight">
            <a:extLst>
              <a:ext uri="{FF2B5EF4-FFF2-40B4-BE49-F238E27FC236}">
                <a16:creationId xmlns:a16="http://schemas.microsoft.com/office/drawing/2014/main" id="{84D431EE-2F70-F36B-9ADE-27D6C272186F}"/>
              </a:ext>
            </a:extLst>
          </p:cNvPr>
          <p:cNvSpPr/>
          <p:nvPr userDrawn="1">
            <p:custDataLst>
              <p:tags r:id="rId7"/>
            </p:custDataLst>
          </p:nvPr>
        </p:nvSpPr>
        <p:spPr bwMode="ltGray">
          <a:xfrm>
            <a:off x="2705100" y="6624780"/>
            <a:ext cx="9486900" cy="23322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buClr>
                <a:schemeClr val="lt1"/>
              </a:buClr>
            </a:pPr>
            <a:endParaRPr lang="en-US" sz="1800" noProof="0">
              <a:latin typeface="+mn-lt"/>
              <a:ea typeface="+mn-ea"/>
              <a:cs typeface="+mn-cs"/>
            </a:endParaRPr>
          </a:p>
        </p:txBody>
      </p:sp>
      <p:sp>
        <p:nvSpPr>
          <p:cNvPr id="19" name="Slide Number">
            <a:extLst>
              <a:ext uri="{FF2B5EF4-FFF2-40B4-BE49-F238E27FC236}">
                <a16:creationId xmlns:a16="http://schemas.microsoft.com/office/drawing/2014/main" id="{C2DFFEC5-A125-B69B-0A14-439A790F670E}"/>
              </a:ext>
            </a:extLst>
          </p:cNvPr>
          <p:cNvSpPr>
            <a:spLocks noChangeArrowheads="1"/>
          </p:cNvSpPr>
          <p:nvPr userDrawn="1">
            <p:custDataLst>
              <p:tags r:id="rId8"/>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774758702"/>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pic>
        <p:nvPicPr>
          <p:cNvPr id="3" name="Picture 2" descr="Home — Make Polio History">
            <a:extLst>
              <a:ext uri="{FF2B5EF4-FFF2-40B4-BE49-F238E27FC236}">
                <a16:creationId xmlns:a16="http://schemas.microsoft.com/office/drawing/2014/main" id="{9A9C9305-4160-A547-59D3-4B283BC37CEA}"/>
              </a:ext>
            </a:extLst>
          </p:cNvPr>
          <p:cNvPicPr>
            <a:picLocks noChangeAspect="1" noChangeArrowheads="1"/>
          </p:cNvPicPr>
          <p:nvPr userDrawn="1"/>
        </p:nvPicPr>
        <p:blipFill>
          <a:blip r:embed="rId10" cstate="screen">
            <a:extLst>
              <a:ext uri="{28A0092B-C50C-407E-A947-70E740481C1C}">
                <a14:useLocalDpi xmlns:a14="http://schemas.microsoft.com/office/drawing/2010/main" val="0"/>
              </a:ext>
            </a:extLst>
          </a:blip>
          <a:srcRect/>
          <a:stretch>
            <a:fillRect/>
          </a:stretch>
        </p:blipFill>
        <p:spPr bwMode="ltGray">
          <a:xfrm>
            <a:off x="10349196" y="351259"/>
            <a:ext cx="1285592" cy="40526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Light">
            <a:extLst>
              <a:ext uri="{FF2B5EF4-FFF2-40B4-BE49-F238E27FC236}">
                <a16:creationId xmlns:a16="http://schemas.microsoft.com/office/drawing/2014/main" id="{64ACD322-452F-6E7D-7983-E795B061E731}"/>
              </a:ext>
            </a:extLst>
          </p:cNvPr>
          <p:cNvSpPr/>
          <p:nvPr userDrawn="1">
            <p:custDataLst>
              <p:tags r:id="rId4"/>
            </p:custDataLst>
          </p:nvPr>
        </p:nvSpPr>
        <p:spPr bwMode="ltGray">
          <a:xfrm>
            <a:off x="0" y="6624780"/>
            <a:ext cx="2643738" cy="23322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noProof="0">
              <a:solidFill>
                <a:srgbClr val="F0F0F0"/>
              </a:solidFill>
              <a:latin typeface="+mn-lt"/>
              <a:ea typeface="+mn-ea"/>
              <a:cs typeface="+mn-cs"/>
            </a:endParaRPr>
          </a:p>
        </p:txBody>
      </p:sp>
      <p:sp>
        <p:nvSpPr>
          <p:cNvPr id="5" name="RectangleLight">
            <a:extLst>
              <a:ext uri="{FF2B5EF4-FFF2-40B4-BE49-F238E27FC236}">
                <a16:creationId xmlns:a16="http://schemas.microsoft.com/office/drawing/2014/main" id="{9F6777EE-EF37-5007-E817-3CB0E77A8728}"/>
              </a:ext>
            </a:extLst>
          </p:cNvPr>
          <p:cNvSpPr/>
          <p:nvPr userDrawn="1">
            <p:custDataLst>
              <p:tags r:id="rId5"/>
            </p:custDataLst>
          </p:nvPr>
        </p:nvSpPr>
        <p:spPr bwMode="ltGray">
          <a:xfrm>
            <a:off x="2705100" y="6624780"/>
            <a:ext cx="9486900" cy="23322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buClr>
                <a:schemeClr val="lt1"/>
              </a:buClr>
            </a:pPr>
            <a:endParaRPr lang="en-US" sz="1800" noProof="0">
              <a:latin typeface="+mn-lt"/>
              <a:ea typeface="+mn-ea"/>
              <a:cs typeface="+mn-cs"/>
            </a:endParaRPr>
          </a:p>
        </p:txBody>
      </p:sp>
      <p:sp>
        <p:nvSpPr>
          <p:cNvPr id="6" name="Slide Number">
            <a:extLst>
              <a:ext uri="{FF2B5EF4-FFF2-40B4-BE49-F238E27FC236}">
                <a16:creationId xmlns:a16="http://schemas.microsoft.com/office/drawing/2014/main" id="{83701DDB-0905-6E40-CEB5-6F32095144F4}"/>
              </a:ext>
            </a:extLst>
          </p:cNvPr>
          <p:cNvSpPr>
            <a:spLocks noChangeArrowheads="1"/>
          </p:cNvSpPr>
          <p:nvPr userDrawn="1">
            <p:custDataLst>
              <p:tags r:id="rId6"/>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34330817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pic>
        <p:nvPicPr>
          <p:cNvPr id="3" name="Picture 2" descr="Home — Make Polio History">
            <a:extLst>
              <a:ext uri="{FF2B5EF4-FFF2-40B4-BE49-F238E27FC236}">
                <a16:creationId xmlns:a16="http://schemas.microsoft.com/office/drawing/2014/main" id="{B16E8532-E964-9B3C-321E-2E7E70B5D79A}"/>
              </a:ext>
            </a:extLst>
          </p:cNvPr>
          <p:cNvPicPr>
            <a:picLocks noChangeAspect="1" noChangeArrowheads="1"/>
          </p:cNvPicPr>
          <p:nvPr userDrawn="1"/>
        </p:nvPicPr>
        <p:blipFill>
          <a:blip r:embed="rId6" cstate="screen">
            <a:extLst>
              <a:ext uri="{28A0092B-C50C-407E-A947-70E740481C1C}">
                <a14:useLocalDpi xmlns:a14="http://schemas.microsoft.com/office/drawing/2010/main" val="0"/>
              </a:ext>
            </a:extLst>
          </a:blip>
          <a:srcRect/>
          <a:stretch>
            <a:fillRect/>
          </a:stretch>
        </p:blipFill>
        <p:spPr bwMode="ltGray">
          <a:xfrm>
            <a:off x="3960760" y="2755900"/>
            <a:ext cx="4270482" cy="1346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1353117"/>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8" y="919251"/>
            <a:ext cx="972990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atin typeface="+mn-lt"/>
                <a:ea typeface="+mn-ea"/>
                <a:cs typeface="+mn-cs"/>
              </a:defRPr>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8"/>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latin typeface="+mn-lt"/>
                <a:ea typeface="+mn-ea"/>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8" y="172212"/>
            <a:ext cx="9729907" cy="731520"/>
          </a:xfrm>
          <a:prstGeom prst="rect">
            <a:avLst/>
          </a:prstGeom>
        </p:spPr>
        <p:txBody>
          <a:bodyPr vert="horz" wrap="square" lIns="0" tIns="0" rIns="0" bIns="0" rtlCol="0" anchor="ctr" anchorCtr="0">
            <a:noAutofit/>
          </a:bodyPr>
          <a:lstStyle>
            <a:lvl1pPr>
              <a:defRPr lang="en-US" dirty="0">
                <a:latin typeface="+mj-lt"/>
                <a:ea typeface="+mj-ea"/>
                <a:cs typeface="+mj-cs"/>
              </a:defRPr>
            </a:lvl1pPr>
          </a:lstStyle>
          <a:p>
            <a:pPr lvl="0"/>
            <a:r>
              <a:rPr lang="en-US"/>
              <a:t>Click to edit Master title style</a:t>
            </a:r>
          </a:p>
        </p:txBody>
      </p:sp>
      <p:sp>
        <p:nvSpPr>
          <p:cNvPr id="13" name="Slide Number">
            <a:extLst>
              <a:ext uri="{FF2B5EF4-FFF2-40B4-BE49-F238E27FC236}">
                <a16:creationId xmlns:a16="http://schemas.microsoft.com/office/drawing/2014/main" id="{66686DBA-90DA-4033-B950-94CBD0D7A425}"/>
              </a:ext>
            </a:extLst>
          </p:cNvPr>
          <p:cNvSpPr>
            <a:spLocks noChangeArrowheads="1"/>
          </p:cNvSpPr>
          <p:nvPr userDrawn="1">
            <p:custDataLst>
              <p:tags r:id="rId7"/>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737514241"/>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rtl="0"/>
            <a:endParaRPr lang="en-US" sz="1800">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70"/>
            <a:ext cx="2514600" cy="769441"/>
          </a:xfr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5"/>
            <a:ext cx="2514600" cy="492443"/>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6" y="41598"/>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pic>
        <p:nvPicPr>
          <p:cNvPr id="2" name="Picture 2" descr="Home — Make Polio History">
            <a:extLst>
              <a:ext uri="{FF2B5EF4-FFF2-40B4-BE49-F238E27FC236}">
                <a16:creationId xmlns:a16="http://schemas.microsoft.com/office/drawing/2014/main" id="{146BC1DB-97C2-2710-2B38-6C2B729E80B7}"/>
              </a:ext>
            </a:extLst>
          </p:cNvPr>
          <p:cNvPicPr>
            <a:picLocks noChangeAspect="1" noChangeArrowheads="1"/>
          </p:cNvPicPr>
          <p:nvPr userDrawn="1"/>
        </p:nvPicPr>
        <p:blipFill>
          <a:blip r:embed="rId14" cstate="screen">
            <a:extLst>
              <a:ext uri="{28A0092B-C50C-407E-A947-70E740481C1C}">
                <a14:useLocalDpi xmlns:a14="http://schemas.microsoft.com/office/drawing/2010/main" val="0"/>
              </a:ext>
            </a:extLst>
          </a:blip>
          <a:srcRect/>
          <a:stretch>
            <a:fillRect/>
          </a:stretch>
        </p:blipFill>
        <p:spPr bwMode="ltGray">
          <a:xfrm>
            <a:off x="10349196" y="351259"/>
            <a:ext cx="1285592" cy="40526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Light">
            <a:extLst>
              <a:ext uri="{FF2B5EF4-FFF2-40B4-BE49-F238E27FC236}">
                <a16:creationId xmlns:a16="http://schemas.microsoft.com/office/drawing/2014/main" id="{C0FBBA58-CCAB-80FD-B7B7-E2F99FE7F5C3}"/>
              </a:ext>
            </a:extLst>
          </p:cNvPr>
          <p:cNvSpPr/>
          <p:nvPr userDrawn="1">
            <p:custDataLst>
              <p:tags r:id="rId8"/>
            </p:custDataLst>
          </p:nvPr>
        </p:nvSpPr>
        <p:spPr bwMode="ltGray">
          <a:xfrm>
            <a:off x="0" y="6624780"/>
            <a:ext cx="2643738" cy="23322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noProof="0">
              <a:solidFill>
                <a:srgbClr val="F0F0F0"/>
              </a:solidFill>
              <a:latin typeface="+mn-lt"/>
              <a:ea typeface="+mn-ea"/>
              <a:cs typeface="+mn-cs"/>
            </a:endParaRPr>
          </a:p>
        </p:txBody>
      </p:sp>
      <p:sp>
        <p:nvSpPr>
          <p:cNvPr id="8" name="RectangleLight">
            <a:extLst>
              <a:ext uri="{FF2B5EF4-FFF2-40B4-BE49-F238E27FC236}">
                <a16:creationId xmlns:a16="http://schemas.microsoft.com/office/drawing/2014/main" id="{7B25D0A4-EF8B-9E20-4129-65BC4CCA3E10}"/>
              </a:ext>
            </a:extLst>
          </p:cNvPr>
          <p:cNvSpPr/>
          <p:nvPr userDrawn="1">
            <p:custDataLst>
              <p:tags r:id="rId9"/>
            </p:custDataLst>
          </p:nvPr>
        </p:nvSpPr>
        <p:spPr bwMode="ltGray">
          <a:xfrm>
            <a:off x="2705100" y="6624780"/>
            <a:ext cx="9486900" cy="23322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buClr>
                <a:schemeClr val="lt1"/>
              </a:buClr>
            </a:pPr>
            <a:endParaRPr lang="en-US" sz="1800" noProof="0">
              <a:latin typeface="+mn-lt"/>
              <a:ea typeface="+mn-ea"/>
              <a:cs typeface="+mn-cs"/>
            </a:endParaRPr>
          </a:p>
        </p:txBody>
      </p:sp>
      <p:sp>
        <p:nvSpPr>
          <p:cNvPr id="9" name="Slide Number">
            <a:extLst>
              <a:ext uri="{FF2B5EF4-FFF2-40B4-BE49-F238E27FC236}">
                <a16:creationId xmlns:a16="http://schemas.microsoft.com/office/drawing/2014/main" id="{678C283B-9C8A-BF4A-3F92-867FEA2014C0}"/>
              </a:ext>
            </a:extLst>
          </p:cNvPr>
          <p:cNvSpPr>
            <a:spLocks noChangeArrowheads="1"/>
          </p:cNvSpPr>
          <p:nvPr userDrawn="1">
            <p:custDataLst>
              <p:tags r:id="rId10"/>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4203438324"/>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rtl="0"/>
            <a:endParaRPr lang="en-US" sz="1800">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70"/>
            <a:ext cx="2514600" cy="769441"/>
          </a:xfr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5"/>
            <a:ext cx="2514600" cy="492443"/>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6" y="41598"/>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pic>
        <p:nvPicPr>
          <p:cNvPr id="2" name="Picture 2" descr="Home — Make Polio History">
            <a:extLst>
              <a:ext uri="{FF2B5EF4-FFF2-40B4-BE49-F238E27FC236}">
                <a16:creationId xmlns:a16="http://schemas.microsoft.com/office/drawing/2014/main" id="{146BC1DB-97C2-2710-2B38-6C2B729E80B7}"/>
              </a:ext>
            </a:extLst>
          </p:cNvPr>
          <p:cNvPicPr>
            <a:picLocks noChangeAspect="1" noChangeArrowheads="1"/>
          </p:cNvPicPr>
          <p:nvPr userDrawn="1"/>
        </p:nvPicPr>
        <p:blipFill>
          <a:blip r:embed="rId14" cstate="screen">
            <a:extLst>
              <a:ext uri="{28A0092B-C50C-407E-A947-70E740481C1C}">
                <a14:useLocalDpi xmlns:a14="http://schemas.microsoft.com/office/drawing/2010/main" val="0"/>
              </a:ext>
            </a:extLst>
          </a:blip>
          <a:srcRect/>
          <a:stretch>
            <a:fillRect/>
          </a:stretch>
        </p:blipFill>
        <p:spPr bwMode="ltGray">
          <a:xfrm>
            <a:off x="10349196" y="351259"/>
            <a:ext cx="1285592" cy="40526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Light">
            <a:extLst>
              <a:ext uri="{FF2B5EF4-FFF2-40B4-BE49-F238E27FC236}">
                <a16:creationId xmlns:a16="http://schemas.microsoft.com/office/drawing/2014/main" id="{C0FBBA58-CCAB-80FD-B7B7-E2F99FE7F5C3}"/>
              </a:ext>
            </a:extLst>
          </p:cNvPr>
          <p:cNvSpPr/>
          <p:nvPr userDrawn="1">
            <p:custDataLst>
              <p:tags r:id="rId8"/>
            </p:custDataLst>
          </p:nvPr>
        </p:nvSpPr>
        <p:spPr bwMode="ltGray">
          <a:xfrm>
            <a:off x="0" y="6624780"/>
            <a:ext cx="2643738" cy="23322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noProof="0">
              <a:solidFill>
                <a:srgbClr val="F0F0F0"/>
              </a:solidFill>
              <a:latin typeface="+mn-lt"/>
              <a:ea typeface="+mn-ea"/>
              <a:cs typeface="+mn-cs"/>
            </a:endParaRPr>
          </a:p>
        </p:txBody>
      </p:sp>
      <p:sp>
        <p:nvSpPr>
          <p:cNvPr id="8" name="RectangleLight">
            <a:extLst>
              <a:ext uri="{FF2B5EF4-FFF2-40B4-BE49-F238E27FC236}">
                <a16:creationId xmlns:a16="http://schemas.microsoft.com/office/drawing/2014/main" id="{7B25D0A4-EF8B-9E20-4129-65BC4CCA3E10}"/>
              </a:ext>
            </a:extLst>
          </p:cNvPr>
          <p:cNvSpPr/>
          <p:nvPr userDrawn="1">
            <p:custDataLst>
              <p:tags r:id="rId9"/>
            </p:custDataLst>
          </p:nvPr>
        </p:nvSpPr>
        <p:spPr bwMode="ltGray">
          <a:xfrm>
            <a:off x="2705100" y="6624780"/>
            <a:ext cx="9486900" cy="23322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buClr>
                <a:schemeClr val="lt1"/>
              </a:buClr>
            </a:pPr>
            <a:endParaRPr lang="en-US" sz="1800" noProof="0">
              <a:latin typeface="+mn-lt"/>
              <a:ea typeface="+mn-ea"/>
              <a:cs typeface="+mn-cs"/>
            </a:endParaRPr>
          </a:p>
        </p:txBody>
      </p:sp>
      <p:sp>
        <p:nvSpPr>
          <p:cNvPr id="9" name="Slide Number">
            <a:extLst>
              <a:ext uri="{FF2B5EF4-FFF2-40B4-BE49-F238E27FC236}">
                <a16:creationId xmlns:a16="http://schemas.microsoft.com/office/drawing/2014/main" id="{678C283B-9C8A-BF4A-3F92-867FEA2014C0}"/>
              </a:ext>
            </a:extLst>
          </p:cNvPr>
          <p:cNvSpPr>
            <a:spLocks noChangeArrowheads="1"/>
          </p:cNvSpPr>
          <p:nvPr userDrawn="1">
            <p:custDataLst>
              <p:tags r:id="rId10"/>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736677909"/>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70"/>
            <a:ext cx="3465576" cy="769441"/>
          </a:xfrm>
          <a:prstGeom prst="rect">
            <a:avLst/>
          </a:prstGeo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5"/>
            <a:ext cx="3465575"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8"/>
            <a:ext cx="3465577"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pic>
        <p:nvPicPr>
          <p:cNvPr id="2" name="Picture 2" descr="Home — Make Polio History">
            <a:extLst>
              <a:ext uri="{FF2B5EF4-FFF2-40B4-BE49-F238E27FC236}">
                <a16:creationId xmlns:a16="http://schemas.microsoft.com/office/drawing/2014/main" id="{F8BB1156-C1CD-449C-D9A2-CBC9B4294B8F}"/>
              </a:ext>
            </a:extLst>
          </p:cNvPr>
          <p:cNvPicPr>
            <a:picLocks noChangeAspect="1" noChangeArrowheads="1"/>
          </p:cNvPicPr>
          <p:nvPr userDrawn="1"/>
        </p:nvPicPr>
        <p:blipFill>
          <a:blip r:embed="rId14" cstate="screen">
            <a:extLst>
              <a:ext uri="{28A0092B-C50C-407E-A947-70E740481C1C}">
                <a14:useLocalDpi xmlns:a14="http://schemas.microsoft.com/office/drawing/2010/main" val="0"/>
              </a:ext>
            </a:extLst>
          </a:blip>
          <a:srcRect/>
          <a:stretch>
            <a:fillRect/>
          </a:stretch>
        </p:blipFill>
        <p:spPr bwMode="ltGray">
          <a:xfrm>
            <a:off x="10349196" y="351259"/>
            <a:ext cx="1285592" cy="40526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Light">
            <a:extLst>
              <a:ext uri="{FF2B5EF4-FFF2-40B4-BE49-F238E27FC236}">
                <a16:creationId xmlns:a16="http://schemas.microsoft.com/office/drawing/2014/main" id="{AAB9706E-B3CF-4452-307D-7CE320B89D46}"/>
              </a:ext>
            </a:extLst>
          </p:cNvPr>
          <p:cNvSpPr/>
          <p:nvPr userDrawn="1">
            <p:custDataLst>
              <p:tags r:id="rId8"/>
            </p:custDataLst>
          </p:nvPr>
        </p:nvSpPr>
        <p:spPr bwMode="ltGray">
          <a:xfrm>
            <a:off x="0" y="6624780"/>
            <a:ext cx="2643738" cy="23322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noProof="0">
              <a:solidFill>
                <a:srgbClr val="F0F0F0"/>
              </a:solidFill>
              <a:latin typeface="+mn-lt"/>
              <a:ea typeface="+mn-ea"/>
              <a:cs typeface="+mn-cs"/>
            </a:endParaRPr>
          </a:p>
        </p:txBody>
      </p:sp>
      <p:sp>
        <p:nvSpPr>
          <p:cNvPr id="8" name="RectangleLight">
            <a:extLst>
              <a:ext uri="{FF2B5EF4-FFF2-40B4-BE49-F238E27FC236}">
                <a16:creationId xmlns:a16="http://schemas.microsoft.com/office/drawing/2014/main" id="{60E9190B-76E4-C3C2-AC63-F9F09E08258F}"/>
              </a:ext>
            </a:extLst>
          </p:cNvPr>
          <p:cNvSpPr/>
          <p:nvPr userDrawn="1">
            <p:custDataLst>
              <p:tags r:id="rId9"/>
            </p:custDataLst>
          </p:nvPr>
        </p:nvSpPr>
        <p:spPr bwMode="ltGray">
          <a:xfrm>
            <a:off x="2705100" y="6624780"/>
            <a:ext cx="9486900" cy="23322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buClr>
                <a:schemeClr val="lt1"/>
              </a:buClr>
            </a:pPr>
            <a:endParaRPr lang="en-US" sz="1800" noProof="0">
              <a:latin typeface="+mn-lt"/>
              <a:ea typeface="+mn-ea"/>
              <a:cs typeface="+mn-cs"/>
            </a:endParaRPr>
          </a:p>
        </p:txBody>
      </p:sp>
      <p:sp>
        <p:nvSpPr>
          <p:cNvPr id="9" name="Slide Number">
            <a:extLst>
              <a:ext uri="{FF2B5EF4-FFF2-40B4-BE49-F238E27FC236}">
                <a16:creationId xmlns:a16="http://schemas.microsoft.com/office/drawing/2014/main" id="{6FA1D496-CC6C-7648-094A-C3FD6F2977E1}"/>
              </a:ext>
            </a:extLst>
          </p:cNvPr>
          <p:cNvSpPr>
            <a:spLocks noChangeArrowheads="1"/>
          </p:cNvSpPr>
          <p:nvPr userDrawn="1">
            <p:custDataLst>
              <p:tags r:id="rId10"/>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17663295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291749"/>
            <a:ext cx="5065776" cy="492447"/>
          </a:xfrm>
        </p:spPr>
        <p:txBody>
          <a:bodyPr vert="horz"/>
          <a:lstStyle>
            <a:lvl1pPr rtl="0">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1"/>
            <a:ext cx="5065776"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pic>
        <p:nvPicPr>
          <p:cNvPr id="2" name="Picture 2" descr="Home — Make Polio History">
            <a:extLst>
              <a:ext uri="{FF2B5EF4-FFF2-40B4-BE49-F238E27FC236}">
                <a16:creationId xmlns:a16="http://schemas.microsoft.com/office/drawing/2014/main" id="{2A2CC0C4-665D-3318-2BC6-3B44EC655436}"/>
              </a:ext>
            </a:extLst>
          </p:cNvPr>
          <p:cNvPicPr>
            <a:picLocks noChangeAspect="1" noChangeArrowheads="1"/>
          </p:cNvPicPr>
          <p:nvPr userDrawn="1"/>
        </p:nvPicPr>
        <p:blipFill>
          <a:blip r:embed="rId14" cstate="screen">
            <a:extLst>
              <a:ext uri="{28A0092B-C50C-407E-A947-70E740481C1C}">
                <a14:useLocalDpi xmlns:a14="http://schemas.microsoft.com/office/drawing/2010/main" val="0"/>
              </a:ext>
            </a:extLst>
          </a:blip>
          <a:srcRect/>
          <a:stretch>
            <a:fillRect/>
          </a:stretch>
        </p:blipFill>
        <p:spPr bwMode="ltGray">
          <a:xfrm>
            <a:off x="10349196" y="351259"/>
            <a:ext cx="1285592" cy="40526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Light">
            <a:extLst>
              <a:ext uri="{FF2B5EF4-FFF2-40B4-BE49-F238E27FC236}">
                <a16:creationId xmlns:a16="http://schemas.microsoft.com/office/drawing/2014/main" id="{BC09A30D-3488-6B2E-F61F-76631167FA29}"/>
              </a:ext>
            </a:extLst>
          </p:cNvPr>
          <p:cNvSpPr/>
          <p:nvPr userDrawn="1">
            <p:custDataLst>
              <p:tags r:id="rId8"/>
            </p:custDataLst>
          </p:nvPr>
        </p:nvSpPr>
        <p:spPr bwMode="ltGray">
          <a:xfrm>
            <a:off x="0" y="6624780"/>
            <a:ext cx="2643738" cy="23322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noProof="0">
              <a:solidFill>
                <a:srgbClr val="F0F0F0"/>
              </a:solidFill>
              <a:latin typeface="+mn-lt"/>
              <a:ea typeface="+mn-ea"/>
              <a:cs typeface="+mn-cs"/>
            </a:endParaRPr>
          </a:p>
        </p:txBody>
      </p:sp>
      <p:sp>
        <p:nvSpPr>
          <p:cNvPr id="8" name="RectangleLight">
            <a:extLst>
              <a:ext uri="{FF2B5EF4-FFF2-40B4-BE49-F238E27FC236}">
                <a16:creationId xmlns:a16="http://schemas.microsoft.com/office/drawing/2014/main" id="{89A2D520-044F-8BC3-787B-A570AF8981CB}"/>
              </a:ext>
            </a:extLst>
          </p:cNvPr>
          <p:cNvSpPr/>
          <p:nvPr userDrawn="1">
            <p:custDataLst>
              <p:tags r:id="rId9"/>
            </p:custDataLst>
          </p:nvPr>
        </p:nvSpPr>
        <p:spPr bwMode="ltGray">
          <a:xfrm>
            <a:off x="2705100" y="6624780"/>
            <a:ext cx="9486900" cy="23322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buClr>
                <a:schemeClr val="lt1"/>
              </a:buClr>
            </a:pPr>
            <a:endParaRPr lang="en-US" sz="1800" noProof="0">
              <a:latin typeface="+mn-lt"/>
              <a:ea typeface="+mn-ea"/>
              <a:cs typeface="+mn-cs"/>
            </a:endParaRPr>
          </a:p>
        </p:txBody>
      </p:sp>
      <p:sp>
        <p:nvSpPr>
          <p:cNvPr id="9" name="Slide Number">
            <a:extLst>
              <a:ext uri="{FF2B5EF4-FFF2-40B4-BE49-F238E27FC236}">
                <a16:creationId xmlns:a16="http://schemas.microsoft.com/office/drawing/2014/main" id="{8E39EB1E-383B-87AC-AD3D-EE5A64A5A79D}"/>
              </a:ext>
            </a:extLst>
          </p:cNvPr>
          <p:cNvSpPr>
            <a:spLocks noChangeArrowheads="1"/>
          </p:cNvSpPr>
          <p:nvPr userDrawn="1">
            <p:custDataLst>
              <p:tags r:id="rId10"/>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525549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77473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4"/>
            <a:ext cx="3813048" cy="769441"/>
          </a:xfrm>
          <a:prstGeom prst="rect">
            <a:avLst/>
          </a:prstGeom>
        </p:spPr>
        <p:txBody>
          <a:bodyPr vert="horz" anchor="t">
            <a:noAutofit/>
          </a:bodyPr>
          <a:lstStyle>
            <a:lvl1pPr rtl="0">
              <a:lnSpc>
                <a:spcPct val="100000"/>
              </a:lnSpc>
              <a:defRPr>
                <a:ln w="6350" cap="flat">
                  <a:noFill/>
                  <a:miter lim="800000"/>
                </a:ln>
                <a:latin typeface="+mj-lt"/>
                <a:ea typeface="+mj-ea"/>
                <a:cs typeface="+mj-cs"/>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5" name="Slide Number">
            <a:extLst>
              <a:ext uri="{FF2B5EF4-FFF2-40B4-BE49-F238E27FC236}">
                <a16:creationId xmlns:a16="http://schemas.microsoft.com/office/drawing/2014/main" id="{943356DB-D02C-2F1D-7476-5D1D8BD5013B}"/>
              </a:ext>
            </a:extLst>
          </p:cNvPr>
          <p:cNvSpPr>
            <a:spLocks noChangeArrowheads="1"/>
          </p:cNvSpPr>
          <p:nvPr userDrawn="1">
            <p:custDataLst>
              <p:tags r:id="rId6"/>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95784664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1"/>
            <a:ext cx="5065776" cy="769441"/>
          </a:xfrm>
          <a:prstGeom prst="rect">
            <a:avLst/>
          </a:prstGeom>
        </p:spPr>
        <p:txBody>
          <a:bodyPr vert="horz" rIns="365760" anchor="ctr">
            <a:noAutofit/>
          </a:bodyPr>
          <a:lstStyle>
            <a:lvl1pPr rtl="0">
              <a:defRPr>
                <a:ln w="6350" cap="flat">
                  <a:noFill/>
                  <a:miter lim="800000"/>
                </a:ln>
                <a:latin typeface="+mj-lt"/>
                <a:ea typeface="+mj-ea"/>
                <a:cs typeface="+mj-cs"/>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1461D5B6-E010-1091-B1DE-A0AD203ACF3F}"/>
              </a:ext>
            </a:extLst>
          </p:cNvPr>
          <p:cNvSpPr>
            <a:spLocks noChangeArrowheads="1"/>
          </p:cNvSpPr>
          <p:nvPr userDrawn="1">
            <p:custDataLst>
              <p:tags r:id="rId6"/>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596012829"/>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Mid Left">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1"/>
            <a:ext cx="7029405" cy="769441"/>
          </a:xfrm>
          <a:prstGeom prst="rect">
            <a:avLst/>
          </a:prstGeom>
        </p:spPr>
        <p:txBody>
          <a:bodyPr vert="horz" rIns="365760" anchor="ctr">
            <a:noAutofit/>
          </a:bodyPr>
          <a:lstStyle>
            <a:lvl1pPr rtl="0">
              <a:defRPr sz="4400" b="0">
                <a:ln w="6350" cap="flat">
                  <a:noFill/>
                  <a:miter lim="800000"/>
                </a:ln>
                <a:solidFill>
                  <a:schemeClr val="tx1"/>
                </a:solidFill>
                <a:latin typeface="Calibri Light" panose="020F0302020204030204" pitchFamily="34" charset="0"/>
                <a:ea typeface="+mj-ea"/>
                <a:cs typeface="Calibri Light" panose="020F0302020204030204" pitchFamily="34" charset="0"/>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1461D5B6-E010-1091-B1DE-A0AD203ACF3F}"/>
              </a:ext>
            </a:extLst>
          </p:cNvPr>
          <p:cNvSpPr>
            <a:spLocks noChangeArrowheads="1"/>
          </p:cNvSpPr>
          <p:nvPr userDrawn="1">
            <p:custDataLst>
              <p:tags r:id="rId6"/>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274774313"/>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_Mid Left">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7" y="3044281"/>
            <a:ext cx="7384408" cy="769441"/>
          </a:xfrm>
          <a:prstGeom prst="rect">
            <a:avLst/>
          </a:prstGeom>
        </p:spPr>
        <p:txBody>
          <a:bodyPr vert="horz" rIns="365760" anchor="ctr">
            <a:noAutofit/>
          </a:bodyPr>
          <a:lstStyle>
            <a:lvl1pPr rtl="0">
              <a:defRPr sz="4400" b="0">
                <a:ln w="6350" cap="flat">
                  <a:noFill/>
                  <a:miter lim="800000"/>
                </a:ln>
                <a:solidFill>
                  <a:schemeClr val="tx1"/>
                </a:solidFill>
                <a:latin typeface="Calibri Light" panose="020F0302020204030204" pitchFamily="34" charset="0"/>
                <a:ea typeface="+mj-ea"/>
                <a:cs typeface="Calibri Light" panose="020F0302020204030204" pitchFamily="34" charset="0"/>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1461D5B6-E010-1091-B1DE-A0AD203ACF3F}"/>
              </a:ext>
            </a:extLst>
          </p:cNvPr>
          <p:cNvSpPr>
            <a:spLocks noChangeArrowheads="1"/>
          </p:cNvSpPr>
          <p:nvPr userDrawn="1">
            <p:custDataLst>
              <p:tags r:id="rId6"/>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222063483"/>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3_Mid Left">
    <p:bg>
      <p:bgPr>
        <a:solidFill>
          <a:schemeClr val="accent6">
            <a:lumMod val="90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7" y="3044281"/>
            <a:ext cx="7384408" cy="769441"/>
          </a:xfrm>
          <a:prstGeom prst="rect">
            <a:avLst/>
          </a:prstGeom>
        </p:spPr>
        <p:txBody>
          <a:bodyPr vert="horz" rIns="365760" anchor="ctr">
            <a:noAutofit/>
          </a:bodyPr>
          <a:lstStyle>
            <a:lvl1pPr rtl="0">
              <a:defRPr sz="4400" b="0">
                <a:ln w="6350" cap="flat">
                  <a:noFill/>
                  <a:miter lim="800000"/>
                </a:ln>
                <a:solidFill>
                  <a:schemeClr val="tx1"/>
                </a:solidFill>
                <a:latin typeface="Calibri Light" panose="020F0302020204030204" pitchFamily="34" charset="0"/>
                <a:ea typeface="+mj-ea"/>
                <a:cs typeface="Calibri Light" panose="020F0302020204030204" pitchFamily="34" charset="0"/>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1461D5B6-E010-1091-B1DE-A0AD203ACF3F}"/>
              </a:ext>
            </a:extLst>
          </p:cNvPr>
          <p:cNvSpPr>
            <a:spLocks noChangeArrowheads="1"/>
          </p:cNvSpPr>
          <p:nvPr userDrawn="1">
            <p:custDataLst>
              <p:tags r:id="rId6"/>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4285152511"/>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18" name="Freeform: Shape 17">
            <a:extLst>
              <a:ext uri="{FF2B5EF4-FFF2-40B4-BE49-F238E27FC236}">
                <a16:creationId xmlns:a16="http://schemas.microsoft.com/office/drawing/2014/main" id="{70292B24-8CC7-8C03-9CBC-0B5074C04145}"/>
              </a:ext>
            </a:extLst>
          </p:cNvPr>
          <p:cNvSpPr/>
          <p:nvPr userDrawn="1">
            <p:custDataLst>
              <p:tags r:id="rId2"/>
            </p:custDataLst>
          </p:nvPr>
        </p:nvSpPr>
        <p:spPr bwMode="ltGray">
          <a:xfrm>
            <a:off x="0" y="0"/>
            <a:ext cx="12192000" cy="6858000"/>
          </a:xfrm>
          <a:custGeom>
            <a:avLst/>
            <a:gdLst>
              <a:gd name="connsiteX0" fmla="*/ 0 w 12192000"/>
              <a:gd name="connsiteY0" fmla="*/ 0 h 6858000"/>
              <a:gd name="connsiteX1" fmla="*/ 3413760 w 12192000"/>
              <a:gd name="connsiteY1" fmla="*/ 0 h 6858000"/>
              <a:gd name="connsiteX2" fmla="*/ 8778240 w 12192000"/>
              <a:gd name="connsiteY2" fmla="*/ 0 h 6858000"/>
              <a:gd name="connsiteX3" fmla="*/ 12192000 w 12192000"/>
              <a:gd name="connsiteY3" fmla="*/ 0 h 6858000"/>
              <a:gd name="connsiteX4" fmla="*/ 12192000 w 12192000"/>
              <a:gd name="connsiteY4" fmla="*/ 6858000 h 6858000"/>
              <a:gd name="connsiteX5" fmla="*/ 8778240 w 12192000"/>
              <a:gd name="connsiteY5" fmla="*/ 6858000 h 6858000"/>
              <a:gd name="connsiteX6" fmla="*/ 341376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3413760" y="0"/>
                </a:lnTo>
                <a:lnTo>
                  <a:pt x="8778240" y="0"/>
                </a:lnTo>
                <a:lnTo>
                  <a:pt x="12192000" y="0"/>
                </a:lnTo>
                <a:lnTo>
                  <a:pt x="12192000" y="6858000"/>
                </a:lnTo>
                <a:lnTo>
                  <a:pt x="8778240" y="6858000"/>
                </a:lnTo>
                <a:lnTo>
                  <a:pt x="3413760" y="6858000"/>
                </a:lnTo>
                <a:lnTo>
                  <a:pt x="0" y="6858000"/>
                </a:lnTo>
                <a:close/>
              </a:path>
            </a:pathLst>
          </a:cu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rtl="0"/>
            <a:endParaRPr lang="en-US" sz="1800">
              <a:solidFill>
                <a:srgbClr val="F0F0F0"/>
              </a:solidFill>
              <a:latin typeface="+mn-lt"/>
              <a:ea typeface="+mn-ea"/>
              <a:cs typeface="+mn-cs"/>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mn-lt"/>
              <a:ea typeface="+mn-ea"/>
              <a:cs typeface="+mn-cs"/>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0" name="RectangleLight">
            <a:extLst>
              <a:ext uri="{FF2B5EF4-FFF2-40B4-BE49-F238E27FC236}">
                <a16:creationId xmlns:a16="http://schemas.microsoft.com/office/drawing/2014/main" id="{4055C5CB-98DD-2A3E-3293-4CEE1259A7A6}"/>
              </a:ext>
            </a:extLst>
          </p:cNvPr>
          <p:cNvSpPr/>
          <p:nvPr userDrawn="1">
            <p:custDataLst>
              <p:tags r:id="rId6"/>
            </p:custDataLst>
          </p:nvPr>
        </p:nvSpPr>
        <p:spPr bwMode="ltGray">
          <a:xfrm>
            <a:off x="0" y="2761743"/>
            <a:ext cx="2643738" cy="1847633"/>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noProof="0">
              <a:solidFill>
                <a:srgbClr val="F0F0F0"/>
              </a:solidFill>
              <a:latin typeface="+mn-lt"/>
              <a:ea typeface="+mn-ea"/>
              <a:cs typeface="+mn-cs"/>
            </a:endParaRPr>
          </a:p>
        </p:txBody>
      </p:sp>
      <p:sp>
        <p:nvSpPr>
          <p:cNvPr id="11" name="RectangleLight">
            <a:extLst>
              <a:ext uri="{FF2B5EF4-FFF2-40B4-BE49-F238E27FC236}">
                <a16:creationId xmlns:a16="http://schemas.microsoft.com/office/drawing/2014/main" id="{C621A07A-9A76-74BA-4B66-A130FAD6B3AB}"/>
              </a:ext>
            </a:extLst>
          </p:cNvPr>
          <p:cNvSpPr/>
          <p:nvPr userDrawn="1">
            <p:custDataLst>
              <p:tags r:id="rId7"/>
            </p:custDataLst>
          </p:nvPr>
        </p:nvSpPr>
        <p:spPr bwMode="ltGray">
          <a:xfrm>
            <a:off x="2705100" y="2761743"/>
            <a:ext cx="9486900" cy="1847633"/>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buClr>
                <a:schemeClr val="lt1"/>
              </a:buClr>
            </a:pPr>
            <a:endParaRPr lang="en-US" sz="1800" noProof="0">
              <a:latin typeface="+mn-lt"/>
              <a:ea typeface="+mn-ea"/>
              <a:cs typeface="+mn-cs"/>
            </a:endParaRPr>
          </a:p>
        </p:txBody>
      </p:sp>
      <p:sp>
        <p:nvSpPr>
          <p:cNvPr id="12" name="Subtitle">
            <a:extLst>
              <a:ext uri="{FF2B5EF4-FFF2-40B4-BE49-F238E27FC236}">
                <a16:creationId xmlns:a16="http://schemas.microsoft.com/office/drawing/2014/main" id="{40632E73-8E6E-1EA6-87D9-0A6668C3A673}"/>
              </a:ext>
            </a:extLst>
          </p:cNvPr>
          <p:cNvSpPr>
            <a:spLocks noGrp="1"/>
          </p:cNvSpPr>
          <p:nvPr>
            <p:ph type="subTitle" idx="1" hasCustomPrompt="1"/>
            <p:custDataLst>
              <p:tags r:id="rId8"/>
            </p:custDataLst>
          </p:nvPr>
        </p:nvSpPr>
        <p:spPr>
          <a:xfrm>
            <a:off x="554735" y="3347005"/>
            <a:ext cx="1783653"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rtl="1">
              <a:defRPr lang="en-US" sz="4400" b="1" dirty="0">
                <a:solidFill>
                  <a:schemeClr val="accent1"/>
                </a:solidFill>
                <a:latin typeface="+mn-lt"/>
                <a:ea typeface="+mn-ea"/>
                <a:cs typeface="+mn-cs"/>
              </a:defRPr>
            </a:lvl1pPr>
          </a:lstStyle>
          <a:p>
            <a:pPr lvl="0"/>
            <a:r>
              <a:rPr lang="en-US"/>
              <a:t>00</a:t>
            </a:r>
          </a:p>
        </p:txBody>
      </p:sp>
      <p:sp>
        <p:nvSpPr>
          <p:cNvPr id="13" name="Title">
            <a:extLst>
              <a:ext uri="{FF2B5EF4-FFF2-40B4-BE49-F238E27FC236}">
                <a16:creationId xmlns:a16="http://schemas.microsoft.com/office/drawing/2014/main" id="{B9F96D41-6626-3BA0-DF80-61C5A0C719C2}"/>
              </a:ext>
            </a:extLst>
          </p:cNvPr>
          <p:cNvSpPr>
            <a:spLocks noGrp="1"/>
          </p:cNvSpPr>
          <p:nvPr>
            <p:ph type="title" hasCustomPrompt="1"/>
            <p:custDataLst>
              <p:tags r:id="rId9"/>
            </p:custDataLst>
          </p:nvPr>
        </p:nvSpPr>
        <p:spPr>
          <a:xfrm>
            <a:off x="2895600" y="3008451"/>
            <a:ext cx="87391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sz="4400" b="0" dirty="0">
                <a:solidFill>
                  <a:schemeClr val="bg2"/>
                </a:solidFill>
                <a:latin typeface="+mj-lt"/>
                <a:ea typeface="+mj-ea"/>
                <a:cs typeface="+mj-cs"/>
              </a:defRPr>
            </a:lvl1pPr>
          </a:lstStyle>
          <a:p>
            <a:pPr lvl="0"/>
            <a:r>
              <a:rPr lang="en-US"/>
              <a:t>Click to edit </a:t>
            </a:r>
            <a:br>
              <a:rPr lang="en-US"/>
            </a:br>
            <a:r>
              <a:rPr lang="en-US"/>
              <a:t>Master title style</a:t>
            </a:r>
          </a:p>
        </p:txBody>
      </p:sp>
      <p:pic>
        <p:nvPicPr>
          <p:cNvPr id="21" name="Picture 2" descr="Home — Make Polio History">
            <a:extLst>
              <a:ext uri="{FF2B5EF4-FFF2-40B4-BE49-F238E27FC236}">
                <a16:creationId xmlns:a16="http://schemas.microsoft.com/office/drawing/2014/main" id="{97AB7DD0-FAFA-3D72-391E-F72DD10B4AD2}"/>
              </a:ext>
            </a:extLst>
          </p:cNvPr>
          <p:cNvPicPr>
            <a:picLocks noChangeAspect="1" noChangeArrowheads="1"/>
          </p:cNvPicPr>
          <p:nvPr userDrawn="1"/>
        </p:nvPicPr>
        <p:blipFill>
          <a:blip r:embed="rId13" cstate="screen">
            <a:extLst>
              <a:ext uri="{28A0092B-C50C-407E-A947-70E740481C1C}">
                <a14:useLocalDpi xmlns:a14="http://schemas.microsoft.com/office/drawing/2010/main" val="0"/>
              </a:ext>
            </a:extLst>
          </a:blip>
          <a:srcRect/>
          <a:stretch>
            <a:fillRect/>
          </a:stretch>
        </p:blipFill>
        <p:spPr bwMode="ltGray">
          <a:xfrm>
            <a:off x="8535988" y="475776"/>
            <a:ext cx="3098800" cy="976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4225529"/>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3"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3" y="4284631"/>
            <a:ext cx="9180576"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43499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5" name="Slide Number">
            <a:extLst>
              <a:ext uri="{FF2B5EF4-FFF2-40B4-BE49-F238E27FC236}">
                <a16:creationId xmlns:a16="http://schemas.microsoft.com/office/drawing/2014/main" id="{73646EBB-47A3-C0C0-AB7D-5D3541FEA346}"/>
              </a:ext>
            </a:extLst>
          </p:cNvPr>
          <p:cNvSpPr>
            <a:spLocks noChangeArrowheads="1"/>
          </p:cNvSpPr>
          <p:nvPr userDrawn="1">
            <p:custDataLst>
              <p:tags r:id="rId7"/>
            </p:custDataLst>
          </p:nvPr>
        </p:nvSpPr>
        <p:spPr bwMode="black">
          <a:xfrm>
            <a:off x="2257912" y="6672141"/>
            <a:ext cx="325501" cy="138499"/>
          </a:xfrm>
          <a:prstGeom prst="rect">
            <a:avLst/>
          </a:prstGeom>
          <a:noFill/>
          <a:ln w="9525" algn="ctr">
            <a:noFill/>
            <a:miter lim="800000"/>
            <a:headEnd/>
            <a:tailEnd/>
          </a:ln>
          <a:effectLst/>
        </p:spPr>
        <p:txBody>
          <a:bodyPr wrap="square" lIns="0" tIns="0" rIns="0" bIns="0" anchor="b">
            <a:spAutoFit/>
          </a:bodyPr>
          <a:lstStyle/>
          <a:p>
            <a:pPr algn="r" defTabSz="610716"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16" rtl="0"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187427744"/>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42F1A4D4-B30B-26DF-F249-6388D0A413D2}"/>
              </a:ext>
            </a:extLst>
          </p:cNvPr>
          <p:cNvSpPr/>
          <p:nvPr userDrawn="1">
            <p:custDataLst>
              <p:tags r:id="rId2"/>
            </p:custDataLst>
          </p:nvPr>
        </p:nvSpPr>
        <p:spPr bwMode="ltGray">
          <a:xfrm>
            <a:off x="0" y="2115160"/>
            <a:ext cx="2643738" cy="1941881"/>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noProof="0">
              <a:solidFill>
                <a:srgbClr val="F0F0F0"/>
              </a:solidFill>
              <a:latin typeface="+mn-lt"/>
              <a:ea typeface="+mn-ea"/>
              <a:cs typeface="+mn-cs"/>
            </a:endParaRPr>
          </a:p>
        </p:txBody>
      </p:sp>
      <p:sp>
        <p:nvSpPr>
          <p:cNvPr id="12" name="RectangleLight">
            <a:extLst>
              <a:ext uri="{FF2B5EF4-FFF2-40B4-BE49-F238E27FC236}">
                <a16:creationId xmlns:a16="http://schemas.microsoft.com/office/drawing/2014/main" id="{2ED3285C-A916-0BDF-690A-A7C11862FA3B}"/>
              </a:ext>
            </a:extLst>
          </p:cNvPr>
          <p:cNvSpPr/>
          <p:nvPr userDrawn="1">
            <p:custDataLst>
              <p:tags r:id="rId3"/>
            </p:custDataLst>
          </p:nvPr>
        </p:nvSpPr>
        <p:spPr bwMode="ltGray">
          <a:xfrm>
            <a:off x="2705100" y="2115160"/>
            <a:ext cx="9486900" cy="1941881"/>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buClr>
                <a:schemeClr val="lt1"/>
              </a:buClr>
            </a:pPr>
            <a:endParaRPr lang="en-US" sz="1800" noProof="0">
              <a:latin typeface="+mn-lt"/>
              <a:ea typeface="+mn-ea"/>
              <a:cs typeface="+mn-cs"/>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mn-lt"/>
              <a:ea typeface="+mn-ea"/>
              <a:cs typeface="+mn-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5"/>
            </p:custDataLst>
          </p:nvPr>
        </p:nvSpPr>
        <p:spPr>
          <a:xfrm>
            <a:off x="2895600" y="5115062"/>
            <a:ext cx="87391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mn-lt"/>
                <a:ea typeface="+mn-ea"/>
                <a:cs typeface="+mn-cs"/>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6"/>
            </p:custDataLst>
          </p:nvPr>
        </p:nvSpPr>
        <p:spPr>
          <a:xfrm>
            <a:off x="2895600" y="4432164"/>
            <a:ext cx="87391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mn-lt"/>
                <a:ea typeface="+mn-ea"/>
                <a:cs typeface="+mn-cs"/>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7"/>
            </p:custDataLst>
          </p:nvPr>
        </p:nvSpPr>
        <p:spPr>
          <a:xfrm>
            <a:off x="2895600" y="2070439"/>
            <a:ext cx="8739188" cy="203132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sz="4400" dirty="0">
                <a:solidFill>
                  <a:schemeClr val="bg2"/>
                </a:solidFill>
                <a:latin typeface="+mj-lt"/>
                <a:ea typeface="+mj-ea"/>
                <a:cs typeface="+mj-cs"/>
              </a:defRPr>
            </a:lvl1pPr>
          </a:lstStyle>
          <a:p>
            <a:pPr lvl="0"/>
            <a:r>
              <a:rPr lang="en-US"/>
              <a:t>Click to </a:t>
            </a:r>
            <a:br>
              <a:rPr lang="en-US"/>
            </a:br>
            <a:r>
              <a:rPr lang="en-US"/>
              <a:t>edit </a:t>
            </a:r>
            <a:br>
              <a:rPr lang="en-US"/>
            </a:br>
            <a:r>
              <a:rPr lang="en-US"/>
              <a:t>Master title style</a:t>
            </a:r>
          </a:p>
        </p:txBody>
      </p:sp>
      <p:pic>
        <p:nvPicPr>
          <p:cNvPr id="4" name="Picture 2" descr="Home — Make Polio History">
            <a:extLst>
              <a:ext uri="{FF2B5EF4-FFF2-40B4-BE49-F238E27FC236}">
                <a16:creationId xmlns:a16="http://schemas.microsoft.com/office/drawing/2014/main" id="{04AE770A-C24D-15F6-E46A-F2034594D793}"/>
              </a:ext>
            </a:extLst>
          </p:cNvPr>
          <p:cNvPicPr>
            <a:picLocks noChangeAspect="1" noChangeArrowheads="1"/>
          </p:cNvPicPr>
          <p:nvPr userDrawn="1"/>
        </p:nvPicPr>
        <p:blipFill>
          <a:blip r:embed="rId11" cstate="screen">
            <a:extLst>
              <a:ext uri="{28A0092B-C50C-407E-A947-70E740481C1C}">
                <a14:useLocalDpi xmlns:a14="http://schemas.microsoft.com/office/drawing/2010/main" val="0"/>
              </a:ext>
            </a:extLst>
          </a:blip>
          <a:srcRect/>
          <a:stretch>
            <a:fillRect/>
          </a:stretch>
        </p:blipFill>
        <p:spPr bwMode="ltGray">
          <a:xfrm>
            <a:off x="8535988" y="475776"/>
            <a:ext cx="3098800" cy="976846"/>
          </a:xfrm>
          <a:prstGeom prst="rect">
            <a:avLst/>
          </a:prstGeom>
          <a:noFill/>
          <a:extLst>
            <a:ext uri="{909E8E84-426E-40DD-AFC4-6F175D3DCCD1}">
              <a14:hiddenFill xmlns:a14="http://schemas.microsoft.com/office/drawing/2010/main">
                <a:solidFill>
                  <a:srgbClr val="FFFFFF"/>
                </a:solidFill>
              </a14:hiddenFill>
            </a:ext>
          </a:extLst>
        </p:spPr>
      </p:pic>
      <p:grpSp>
        <p:nvGrpSpPr>
          <p:cNvPr id="49" name="Group 48">
            <a:extLst>
              <a:ext uri="{FF2B5EF4-FFF2-40B4-BE49-F238E27FC236}">
                <a16:creationId xmlns:a16="http://schemas.microsoft.com/office/drawing/2014/main" id="{5E4099D5-1F16-E5D0-95CA-854A55681CE7}"/>
              </a:ext>
            </a:extLst>
          </p:cNvPr>
          <p:cNvGrpSpPr/>
          <p:nvPr userDrawn="1"/>
        </p:nvGrpSpPr>
        <p:grpSpPr>
          <a:xfrm>
            <a:off x="2895600" y="5564091"/>
            <a:ext cx="8739188" cy="705076"/>
            <a:chOff x="2895600" y="5564091"/>
            <a:chExt cx="8739188" cy="705076"/>
          </a:xfrm>
        </p:grpSpPr>
        <p:pic>
          <p:nvPicPr>
            <p:cNvPr id="26" name="Picture 2" descr="World Health Organization Logo, symbol, meaning, history, PNG, brand">
              <a:extLst>
                <a:ext uri="{FF2B5EF4-FFF2-40B4-BE49-F238E27FC236}">
                  <a16:creationId xmlns:a16="http://schemas.microsoft.com/office/drawing/2014/main" id="{1A04FC0E-8E2F-47D6-9B4F-2EE751A93D91}"/>
                </a:ext>
              </a:extLst>
            </p:cNvPr>
            <p:cNvPicPr>
              <a:picLocks noChangeAspect="1" noChangeArrowheads="1"/>
            </p:cNvPicPr>
            <p:nvPr userDrawn="1"/>
          </p:nvPicPr>
          <p:blipFill>
            <a:blip r:embed="rId12" cstate="screen">
              <a:extLst>
                <a:ext uri="{BEBA8EAE-BF5A-486C-A8C5-ECC9F3942E4B}">
                  <a14:imgProps xmlns:a14="http://schemas.microsoft.com/office/drawing/2010/main">
                    <a14:imgLayer r:embed="rId13">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ltGray">
            <a:xfrm>
              <a:off x="2895600" y="5564091"/>
              <a:ext cx="1253470" cy="70507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3F773EA7-8561-3FB6-30B0-BB57FAEA874B}"/>
                </a:ext>
              </a:extLst>
            </p:cNvPr>
            <p:cNvPicPr>
              <a:picLocks noChangeAspect="1" noChangeArrowheads="1"/>
            </p:cNvPicPr>
            <p:nvPr userDrawn="1"/>
          </p:nvPicPr>
          <p:blipFill>
            <a:blip r:embed="rId14" cstate="screen">
              <a:extLst>
                <a:ext uri="{28A0092B-C50C-407E-A947-70E740481C1C}">
                  <a14:useLocalDpi xmlns:a14="http://schemas.microsoft.com/office/drawing/2010/main" val="0"/>
                </a:ext>
              </a:extLst>
            </a:blip>
            <a:srcRect/>
            <a:stretch>
              <a:fillRect/>
            </a:stretch>
          </p:blipFill>
          <p:spPr bwMode="ltGray">
            <a:xfrm>
              <a:off x="4494078" y="5721880"/>
              <a:ext cx="1608254" cy="38949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eads Up on Altering the Rotary Logo | District 7070">
              <a:extLst>
                <a:ext uri="{FF2B5EF4-FFF2-40B4-BE49-F238E27FC236}">
                  <a16:creationId xmlns:a16="http://schemas.microsoft.com/office/drawing/2014/main" id="{C2433EDD-CB56-3C7D-311A-4B96797C0543}"/>
                </a:ext>
              </a:extLst>
            </p:cNvPr>
            <p:cNvPicPr>
              <a:picLocks noChangeAspect="1" noChangeArrowheads="1"/>
            </p:cNvPicPr>
            <p:nvPr userDrawn="1"/>
          </p:nvPicPr>
          <p:blipFill>
            <a:blip r:embed="rId15" cstate="screen">
              <a:extLst>
                <a:ext uri="{28A0092B-C50C-407E-A947-70E740481C1C}">
                  <a14:useLocalDpi xmlns:a14="http://schemas.microsoft.com/office/drawing/2010/main" val="0"/>
                </a:ext>
              </a:extLst>
            </a:blip>
            <a:srcRect/>
            <a:stretch>
              <a:fillRect/>
            </a:stretch>
          </p:blipFill>
          <p:spPr bwMode="ltGray">
            <a:xfrm>
              <a:off x="6447340" y="5768915"/>
              <a:ext cx="1056912" cy="397029"/>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728D05D8-D42D-0666-87D5-786C10238AFA}"/>
                </a:ext>
              </a:extLst>
            </p:cNvPr>
            <p:cNvGrpSpPr/>
            <p:nvPr userDrawn="1"/>
          </p:nvGrpSpPr>
          <p:grpSpPr bwMode="ltGray">
            <a:xfrm>
              <a:off x="7849260" y="5699347"/>
              <a:ext cx="606782" cy="434565"/>
              <a:chOff x="-10702356" y="-462642"/>
              <a:chExt cx="9601445" cy="6876369"/>
            </a:xfrm>
          </p:grpSpPr>
          <p:sp>
            <p:nvSpPr>
              <p:cNvPr id="28" name="Freeform: Shape 27">
                <a:extLst>
                  <a:ext uri="{FF2B5EF4-FFF2-40B4-BE49-F238E27FC236}">
                    <a16:creationId xmlns:a16="http://schemas.microsoft.com/office/drawing/2014/main" id="{ECC765D6-91C8-BD58-8E34-57A303FC09C7}"/>
                  </a:ext>
                </a:extLst>
              </p:cNvPr>
              <p:cNvSpPr/>
              <p:nvPr/>
            </p:nvSpPr>
            <p:spPr bwMode="ltGray">
              <a:xfrm>
                <a:off x="-10702356" y="-462642"/>
                <a:ext cx="9330894" cy="6876369"/>
              </a:xfrm>
              <a:custGeom>
                <a:avLst/>
                <a:gdLst>
                  <a:gd name="connsiteX0" fmla="*/ 0 w 9330894"/>
                  <a:gd name="connsiteY0" fmla="*/ 0 h 6876369"/>
                  <a:gd name="connsiteX1" fmla="*/ 9330894 w 9330894"/>
                  <a:gd name="connsiteY1" fmla="*/ 0 h 6876369"/>
                  <a:gd name="connsiteX2" fmla="*/ 9330894 w 9330894"/>
                  <a:gd name="connsiteY2" fmla="*/ 6876370 h 6876369"/>
                  <a:gd name="connsiteX3" fmla="*/ 0 w 9330894"/>
                  <a:gd name="connsiteY3" fmla="*/ 6876370 h 6876369"/>
                </a:gdLst>
                <a:ahLst/>
                <a:cxnLst>
                  <a:cxn ang="0">
                    <a:pos x="connsiteX0" y="connsiteY0"/>
                  </a:cxn>
                  <a:cxn ang="0">
                    <a:pos x="connsiteX1" y="connsiteY1"/>
                  </a:cxn>
                  <a:cxn ang="0">
                    <a:pos x="connsiteX2" y="connsiteY2"/>
                  </a:cxn>
                  <a:cxn ang="0">
                    <a:pos x="connsiteX3" y="connsiteY3"/>
                  </a:cxn>
                </a:cxnLst>
                <a:rect l="l" t="t" r="r" b="b"/>
                <a:pathLst>
                  <a:path w="9330894" h="6876369">
                    <a:moveTo>
                      <a:pt x="0" y="0"/>
                    </a:moveTo>
                    <a:lnTo>
                      <a:pt x="9330894" y="0"/>
                    </a:lnTo>
                    <a:lnTo>
                      <a:pt x="9330894" y="6876370"/>
                    </a:lnTo>
                    <a:lnTo>
                      <a:pt x="0" y="6876370"/>
                    </a:lnTo>
                    <a:close/>
                  </a:path>
                </a:pathLst>
              </a:custGeom>
              <a:solidFill>
                <a:srgbClr val="FFFFFF"/>
              </a:solidFill>
              <a:ln w="62877"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69050E5F-38A6-D8F2-12CD-ED0D2372FAEB}"/>
                  </a:ext>
                </a:extLst>
              </p:cNvPr>
              <p:cNvSpPr/>
              <p:nvPr/>
            </p:nvSpPr>
            <p:spPr bwMode="ltGray">
              <a:xfrm>
                <a:off x="-10551351" y="-309562"/>
                <a:ext cx="9022590" cy="5290457"/>
              </a:xfrm>
              <a:custGeom>
                <a:avLst/>
                <a:gdLst>
                  <a:gd name="connsiteX0" fmla="*/ 0 w 9022590"/>
                  <a:gd name="connsiteY0" fmla="*/ 0 h 5290457"/>
                  <a:gd name="connsiteX1" fmla="*/ 9022591 w 9022590"/>
                  <a:gd name="connsiteY1" fmla="*/ 0 h 5290457"/>
                  <a:gd name="connsiteX2" fmla="*/ 9022591 w 9022590"/>
                  <a:gd name="connsiteY2" fmla="*/ 5290457 h 5290457"/>
                  <a:gd name="connsiteX3" fmla="*/ 0 w 9022590"/>
                  <a:gd name="connsiteY3" fmla="*/ 5290457 h 5290457"/>
                </a:gdLst>
                <a:ahLst/>
                <a:cxnLst>
                  <a:cxn ang="0">
                    <a:pos x="connsiteX0" y="connsiteY0"/>
                  </a:cxn>
                  <a:cxn ang="0">
                    <a:pos x="connsiteX1" y="connsiteY1"/>
                  </a:cxn>
                  <a:cxn ang="0">
                    <a:pos x="connsiteX2" y="connsiteY2"/>
                  </a:cxn>
                  <a:cxn ang="0">
                    <a:pos x="connsiteX3" y="connsiteY3"/>
                  </a:cxn>
                </a:cxnLst>
                <a:rect l="l" t="t" r="r" b="b"/>
                <a:pathLst>
                  <a:path w="9022590" h="5290457">
                    <a:moveTo>
                      <a:pt x="0" y="0"/>
                    </a:moveTo>
                    <a:lnTo>
                      <a:pt x="9022591" y="0"/>
                    </a:lnTo>
                    <a:lnTo>
                      <a:pt x="9022591" y="5290457"/>
                    </a:lnTo>
                    <a:lnTo>
                      <a:pt x="0" y="5290457"/>
                    </a:lnTo>
                    <a:close/>
                  </a:path>
                </a:pathLst>
              </a:custGeom>
              <a:solidFill>
                <a:srgbClr val="0058A2"/>
              </a:solidFill>
              <a:ln w="62877"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7E9622C1-8F92-8D21-F590-BC9BFCFD0DC8}"/>
                  </a:ext>
                </a:extLst>
              </p:cNvPr>
              <p:cNvSpPr/>
              <p:nvPr/>
            </p:nvSpPr>
            <p:spPr bwMode="ltGray">
              <a:xfrm>
                <a:off x="-10249339" y="-309562"/>
                <a:ext cx="8720579" cy="5290457"/>
              </a:xfrm>
              <a:custGeom>
                <a:avLst/>
                <a:gdLst>
                  <a:gd name="connsiteX0" fmla="*/ 8695412 w 8720579"/>
                  <a:gd name="connsiteY0" fmla="*/ 0 h 5290457"/>
                  <a:gd name="connsiteX1" fmla="*/ 3328418 w 8720579"/>
                  <a:gd name="connsiteY1" fmla="*/ 5290457 h 5290457"/>
                  <a:gd name="connsiteX2" fmla="*/ 3403921 w 8720579"/>
                  <a:gd name="connsiteY2" fmla="*/ 5290457 h 5290457"/>
                  <a:gd name="connsiteX3" fmla="*/ 8720579 w 8720579"/>
                  <a:gd name="connsiteY3" fmla="*/ 48986 h 5290457"/>
                  <a:gd name="connsiteX4" fmla="*/ 8720579 w 8720579"/>
                  <a:gd name="connsiteY4" fmla="*/ 0 h 5290457"/>
                  <a:gd name="connsiteX5" fmla="*/ 0 w 8720579"/>
                  <a:gd name="connsiteY5" fmla="*/ 5290457 h 5290457"/>
                  <a:gd name="connsiteX6" fmla="*/ 56627 w 8720579"/>
                  <a:gd name="connsiteY6" fmla="*/ 5290457 h 5290457"/>
                  <a:gd name="connsiteX7" fmla="*/ 415266 w 8720579"/>
                  <a:gd name="connsiteY7" fmla="*/ 0 h 5290457"/>
                  <a:gd name="connsiteX8" fmla="*/ 358639 w 8720579"/>
                  <a:gd name="connsiteY8" fmla="*/ 0 h 5290457"/>
                  <a:gd name="connsiteX9" fmla="*/ 283136 w 8720579"/>
                  <a:gd name="connsiteY9" fmla="*/ 5290457 h 5290457"/>
                  <a:gd name="connsiteX10" fmla="*/ 339763 w 8720579"/>
                  <a:gd name="connsiteY10" fmla="*/ 5290457 h 5290457"/>
                  <a:gd name="connsiteX11" fmla="*/ 1119959 w 8720579"/>
                  <a:gd name="connsiteY11" fmla="*/ 0 h 5290457"/>
                  <a:gd name="connsiteX12" fmla="*/ 1063332 w 8720579"/>
                  <a:gd name="connsiteY12" fmla="*/ 0 h 5290457"/>
                  <a:gd name="connsiteX13" fmla="*/ 591439 w 8720579"/>
                  <a:gd name="connsiteY13" fmla="*/ 5290457 h 5290457"/>
                  <a:gd name="connsiteX14" fmla="*/ 648066 w 8720579"/>
                  <a:gd name="connsiteY14" fmla="*/ 5290457 h 5290457"/>
                  <a:gd name="connsiteX15" fmla="*/ 1862404 w 8720579"/>
                  <a:gd name="connsiteY15" fmla="*/ 0 h 5290457"/>
                  <a:gd name="connsiteX16" fmla="*/ 1805777 w 8720579"/>
                  <a:gd name="connsiteY16" fmla="*/ 0 h 5290457"/>
                  <a:gd name="connsiteX17" fmla="*/ 924910 w 8720579"/>
                  <a:gd name="connsiteY17" fmla="*/ 5290457 h 5290457"/>
                  <a:gd name="connsiteX18" fmla="*/ 987829 w 8720579"/>
                  <a:gd name="connsiteY18" fmla="*/ 5290457 h 5290457"/>
                  <a:gd name="connsiteX19" fmla="*/ 2718103 w 8720579"/>
                  <a:gd name="connsiteY19" fmla="*/ 0 h 5290457"/>
                  <a:gd name="connsiteX20" fmla="*/ 2661476 w 8720579"/>
                  <a:gd name="connsiteY20" fmla="*/ 0 h 5290457"/>
                  <a:gd name="connsiteX21" fmla="*/ 1245797 w 8720579"/>
                  <a:gd name="connsiteY21" fmla="*/ 5290457 h 5290457"/>
                  <a:gd name="connsiteX22" fmla="*/ 1302424 w 8720579"/>
                  <a:gd name="connsiteY22" fmla="*/ 5290457 h 5290457"/>
                  <a:gd name="connsiteX23" fmla="*/ 3529759 w 8720579"/>
                  <a:gd name="connsiteY23" fmla="*/ 0 h 5290457"/>
                  <a:gd name="connsiteX24" fmla="*/ 3473131 w 8720579"/>
                  <a:gd name="connsiteY24" fmla="*/ 0 h 5290457"/>
                  <a:gd name="connsiteX25" fmla="*/ 1610728 w 8720579"/>
                  <a:gd name="connsiteY25" fmla="*/ 5290457 h 5290457"/>
                  <a:gd name="connsiteX26" fmla="*/ 1673647 w 8720579"/>
                  <a:gd name="connsiteY26" fmla="*/ 5290457 h 5290457"/>
                  <a:gd name="connsiteX27" fmla="*/ 4454669 w 8720579"/>
                  <a:gd name="connsiteY27" fmla="*/ 0 h 5290457"/>
                  <a:gd name="connsiteX28" fmla="*/ 4391750 w 8720579"/>
                  <a:gd name="connsiteY28" fmla="*/ 0 h 5290457"/>
                  <a:gd name="connsiteX29" fmla="*/ 2239918 w 8720579"/>
                  <a:gd name="connsiteY29" fmla="*/ 5290457 h 5290457"/>
                  <a:gd name="connsiteX30" fmla="*/ 5845179 w 8720579"/>
                  <a:gd name="connsiteY30" fmla="*/ 0 h 5290457"/>
                  <a:gd name="connsiteX31" fmla="*/ 5782260 w 8720579"/>
                  <a:gd name="connsiteY31" fmla="*/ 0 h 5290457"/>
                  <a:gd name="connsiteX32" fmla="*/ 2176999 w 8720579"/>
                  <a:gd name="connsiteY32" fmla="*/ 5290457 h 5290457"/>
                  <a:gd name="connsiteX33" fmla="*/ 2749562 w 8720579"/>
                  <a:gd name="connsiteY33" fmla="*/ 5290457 h 5290457"/>
                  <a:gd name="connsiteX34" fmla="*/ 7135020 w 8720579"/>
                  <a:gd name="connsiteY34" fmla="*/ 0 h 5290457"/>
                  <a:gd name="connsiteX35" fmla="*/ 7059517 w 8720579"/>
                  <a:gd name="connsiteY35" fmla="*/ 0 h 5290457"/>
                  <a:gd name="connsiteX36" fmla="*/ 2680352 w 8720579"/>
                  <a:gd name="connsiteY36" fmla="*/ 5290457 h 5290457"/>
                  <a:gd name="connsiteX37" fmla="*/ 4467253 w 8720579"/>
                  <a:gd name="connsiteY37" fmla="*/ 5290457 h 5290457"/>
                  <a:gd name="connsiteX38" fmla="*/ 8720579 w 8720579"/>
                  <a:gd name="connsiteY38" fmla="*/ 2002291 h 5290457"/>
                  <a:gd name="connsiteX39" fmla="*/ 8720579 w 8720579"/>
                  <a:gd name="connsiteY39" fmla="*/ 1928813 h 5290457"/>
                  <a:gd name="connsiteX40" fmla="*/ 4372874 w 8720579"/>
                  <a:gd name="connsiteY40" fmla="*/ 5290457 h 5290457"/>
                  <a:gd name="connsiteX41" fmla="*/ 5706758 w 8720579"/>
                  <a:gd name="connsiteY41" fmla="*/ 5290457 h 5290457"/>
                  <a:gd name="connsiteX42" fmla="*/ 8720579 w 8720579"/>
                  <a:gd name="connsiteY42" fmla="*/ 3459616 h 5290457"/>
                  <a:gd name="connsiteX43" fmla="*/ 8720579 w 8720579"/>
                  <a:gd name="connsiteY43" fmla="*/ 3392261 h 5290457"/>
                  <a:gd name="connsiteX44" fmla="*/ 5599796 w 8720579"/>
                  <a:gd name="connsiteY44" fmla="*/ 5290457 h 5290457"/>
                  <a:gd name="connsiteX45" fmla="*/ 7707584 w 8720579"/>
                  <a:gd name="connsiteY45" fmla="*/ 5290457 h 5290457"/>
                  <a:gd name="connsiteX46" fmla="*/ 8720579 w 8720579"/>
                  <a:gd name="connsiteY46" fmla="*/ 4831216 h 5290457"/>
                  <a:gd name="connsiteX47" fmla="*/ 8720579 w 8720579"/>
                  <a:gd name="connsiteY47" fmla="*/ 4769984 h 5290457"/>
                  <a:gd name="connsiteX48" fmla="*/ 7575453 w 8720579"/>
                  <a:gd name="connsiteY48" fmla="*/ 5290457 h 529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720579" h="5290457">
                    <a:moveTo>
                      <a:pt x="8695412" y="0"/>
                    </a:moveTo>
                    <a:lnTo>
                      <a:pt x="3328418" y="5290457"/>
                    </a:lnTo>
                    <a:lnTo>
                      <a:pt x="3403921" y="5290457"/>
                    </a:lnTo>
                    <a:lnTo>
                      <a:pt x="8720579" y="48986"/>
                    </a:lnTo>
                    <a:lnTo>
                      <a:pt x="8720579" y="0"/>
                    </a:lnTo>
                    <a:close/>
                    <a:moveTo>
                      <a:pt x="0" y="5290457"/>
                    </a:moveTo>
                    <a:lnTo>
                      <a:pt x="56627" y="5290457"/>
                    </a:lnTo>
                    <a:lnTo>
                      <a:pt x="415266" y="0"/>
                    </a:lnTo>
                    <a:lnTo>
                      <a:pt x="358639" y="0"/>
                    </a:lnTo>
                    <a:close/>
                    <a:moveTo>
                      <a:pt x="283136" y="5290457"/>
                    </a:moveTo>
                    <a:lnTo>
                      <a:pt x="339763" y="5290457"/>
                    </a:lnTo>
                    <a:lnTo>
                      <a:pt x="1119959" y="0"/>
                    </a:lnTo>
                    <a:lnTo>
                      <a:pt x="1063332" y="0"/>
                    </a:lnTo>
                    <a:close/>
                    <a:moveTo>
                      <a:pt x="591439" y="5290457"/>
                    </a:moveTo>
                    <a:lnTo>
                      <a:pt x="648066" y="5290457"/>
                    </a:lnTo>
                    <a:lnTo>
                      <a:pt x="1862404" y="0"/>
                    </a:lnTo>
                    <a:lnTo>
                      <a:pt x="1805777" y="0"/>
                    </a:lnTo>
                    <a:close/>
                    <a:moveTo>
                      <a:pt x="924910" y="5290457"/>
                    </a:moveTo>
                    <a:lnTo>
                      <a:pt x="987829" y="5290457"/>
                    </a:lnTo>
                    <a:lnTo>
                      <a:pt x="2718103" y="0"/>
                    </a:lnTo>
                    <a:lnTo>
                      <a:pt x="2661476" y="0"/>
                    </a:lnTo>
                    <a:close/>
                    <a:moveTo>
                      <a:pt x="1245797" y="5290457"/>
                    </a:moveTo>
                    <a:lnTo>
                      <a:pt x="1302424" y="5290457"/>
                    </a:lnTo>
                    <a:lnTo>
                      <a:pt x="3529759" y="0"/>
                    </a:lnTo>
                    <a:lnTo>
                      <a:pt x="3473131" y="0"/>
                    </a:lnTo>
                    <a:close/>
                    <a:moveTo>
                      <a:pt x="1610728" y="5290457"/>
                    </a:moveTo>
                    <a:lnTo>
                      <a:pt x="1673647" y="5290457"/>
                    </a:lnTo>
                    <a:lnTo>
                      <a:pt x="4454669" y="0"/>
                    </a:lnTo>
                    <a:lnTo>
                      <a:pt x="4391750" y="0"/>
                    </a:lnTo>
                    <a:close/>
                    <a:moveTo>
                      <a:pt x="2239918" y="5290457"/>
                    </a:moveTo>
                    <a:lnTo>
                      <a:pt x="5845179" y="0"/>
                    </a:lnTo>
                    <a:lnTo>
                      <a:pt x="5782260" y="0"/>
                    </a:lnTo>
                    <a:lnTo>
                      <a:pt x="2176999" y="5290457"/>
                    </a:lnTo>
                    <a:close/>
                    <a:moveTo>
                      <a:pt x="2749562" y="5290457"/>
                    </a:moveTo>
                    <a:lnTo>
                      <a:pt x="7135020" y="0"/>
                    </a:lnTo>
                    <a:lnTo>
                      <a:pt x="7059517" y="0"/>
                    </a:lnTo>
                    <a:lnTo>
                      <a:pt x="2680352" y="5290457"/>
                    </a:lnTo>
                    <a:close/>
                    <a:moveTo>
                      <a:pt x="4467253" y="5290457"/>
                    </a:moveTo>
                    <a:lnTo>
                      <a:pt x="8720579" y="2002291"/>
                    </a:lnTo>
                    <a:lnTo>
                      <a:pt x="8720579" y="1928813"/>
                    </a:lnTo>
                    <a:lnTo>
                      <a:pt x="4372874" y="5290457"/>
                    </a:lnTo>
                    <a:close/>
                    <a:moveTo>
                      <a:pt x="5706758" y="5290457"/>
                    </a:moveTo>
                    <a:lnTo>
                      <a:pt x="8720579" y="3459616"/>
                    </a:lnTo>
                    <a:lnTo>
                      <a:pt x="8720579" y="3392261"/>
                    </a:lnTo>
                    <a:lnTo>
                      <a:pt x="5599796" y="5290457"/>
                    </a:lnTo>
                    <a:close/>
                    <a:moveTo>
                      <a:pt x="7707584" y="5290457"/>
                    </a:moveTo>
                    <a:lnTo>
                      <a:pt x="8720579" y="4831216"/>
                    </a:lnTo>
                    <a:lnTo>
                      <a:pt x="8720579" y="4769984"/>
                    </a:lnTo>
                    <a:lnTo>
                      <a:pt x="7575453" y="5290457"/>
                    </a:lnTo>
                    <a:close/>
                  </a:path>
                </a:pathLst>
              </a:custGeom>
              <a:solidFill>
                <a:srgbClr val="FFFFFF"/>
              </a:solidFill>
              <a:ln w="62877"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68D0CB42-D0BA-82C9-3098-F99AA50597CB}"/>
                  </a:ext>
                </a:extLst>
              </p:cNvPr>
              <p:cNvSpPr/>
              <p:nvPr/>
            </p:nvSpPr>
            <p:spPr bwMode="ltGray">
              <a:xfrm>
                <a:off x="-10104625" y="382361"/>
                <a:ext cx="8078805" cy="2988128"/>
              </a:xfrm>
              <a:custGeom>
                <a:avLst/>
                <a:gdLst>
                  <a:gd name="connsiteX0" fmla="*/ 1572976 w 8078805"/>
                  <a:gd name="connsiteY0" fmla="*/ 2988129 h 2988128"/>
                  <a:gd name="connsiteX1" fmla="*/ 0 w 8078805"/>
                  <a:gd name="connsiteY1" fmla="*/ 1512434 h 2988128"/>
                  <a:gd name="connsiteX2" fmla="*/ 1585560 w 8078805"/>
                  <a:gd name="connsiteY2" fmla="*/ 0 h 2988128"/>
                  <a:gd name="connsiteX3" fmla="*/ 2290253 w 8078805"/>
                  <a:gd name="connsiteY3" fmla="*/ 134711 h 2988128"/>
                  <a:gd name="connsiteX4" fmla="*/ 2290253 w 8078805"/>
                  <a:gd name="connsiteY4" fmla="*/ 569459 h 2988128"/>
                  <a:gd name="connsiteX5" fmla="*/ 1591852 w 8078805"/>
                  <a:gd name="connsiteY5" fmla="*/ 214313 h 2988128"/>
                  <a:gd name="connsiteX6" fmla="*/ 704693 w 8078805"/>
                  <a:gd name="connsiteY6" fmla="*/ 1445079 h 2988128"/>
                  <a:gd name="connsiteX7" fmla="*/ 1648479 w 8078805"/>
                  <a:gd name="connsiteY7" fmla="*/ 2755446 h 2988128"/>
                  <a:gd name="connsiteX8" fmla="*/ 2283962 w 8078805"/>
                  <a:gd name="connsiteY8" fmla="*/ 2528888 h 2988128"/>
                  <a:gd name="connsiteX9" fmla="*/ 2390924 w 8078805"/>
                  <a:gd name="connsiteY9" fmla="*/ 2755446 h 2988128"/>
                  <a:gd name="connsiteX10" fmla="*/ 1572976 w 8078805"/>
                  <a:gd name="connsiteY10" fmla="*/ 2988129 h 2988128"/>
                  <a:gd name="connsiteX11" fmla="*/ 4643426 w 8078805"/>
                  <a:gd name="connsiteY11" fmla="*/ 1494064 h 2988128"/>
                  <a:gd name="connsiteX12" fmla="*/ 3378753 w 8078805"/>
                  <a:gd name="connsiteY12" fmla="*/ 2700338 h 2988128"/>
                  <a:gd name="connsiteX13" fmla="*/ 3378753 w 8078805"/>
                  <a:gd name="connsiteY13" fmla="*/ 269421 h 2988128"/>
                  <a:gd name="connsiteX14" fmla="*/ 4643426 w 8078805"/>
                  <a:gd name="connsiteY14" fmla="*/ 1494064 h 2988128"/>
                  <a:gd name="connsiteX15" fmla="*/ 3900981 w 8078805"/>
                  <a:gd name="connsiteY15" fmla="*/ 2933020 h 2988128"/>
                  <a:gd name="connsiteX16" fmla="*/ 5341827 w 8078805"/>
                  <a:gd name="connsiteY16" fmla="*/ 1481818 h 2988128"/>
                  <a:gd name="connsiteX17" fmla="*/ 3831770 w 8078805"/>
                  <a:gd name="connsiteY17" fmla="*/ 48986 h 2988128"/>
                  <a:gd name="connsiteX18" fmla="*/ 2755854 w 8078805"/>
                  <a:gd name="connsiteY18" fmla="*/ 48986 h 2988128"/>
                  <a:gd name="connsiteX19" fmla="*/ 2755854 w 8078805"/>
                  <a:gd name="connsiteY19" fmla="*/ 2933020 h 2988128"/>
                  <a:gd name="connsiteX20" fmla="*/ 7260858 w 8078805"/>
                  <a:gd name="connsiteY20" fmla="*/ 2988129 h 2988128"/>
                  <a:gd name="connsiteX21" fmla="*/ 5687882 w 8078805"/>
                  <a:gd name="connsiteY21" fmla="*/ 1512434 h 2988128"/>
                  <a:gd name="connsiteX22" fmla="*/ 7273442 w 8078805"/>
                  <a:gd name="connsiteY22" fmla="*/ 0 h 2988128"/>
                  <a:gd name="connsiteX23" fmla="*/ 7978135 w 8078805"/>
                  <a:gd name="connsiteY23" fmla="*/ 134711 h 2988128"/>
                  <a:gd name="connsiteX24" fmla="*/ 7978135 w 8078805"/>
                  <a:gd name="connsiteY24" fmla="*/ 569459 h 2988128"/>
                  <a:gd name="connsiteX25" fmla="*/ 7279734 w 8078805"/>
                  <a:gd name="connsiteY25" fmla="*/ 214313 h 2988128"/>
                  <a:gd name="connsiteX26" fmla="*/ 6392575 w 8078805"/>
                  <a:gd name="connsiteY26" fmla="*/ 1445079 h 2988128"/>
                  <a:gd name="connsiteX27" fmla="*/ 7336361 w 8078805"/>
                  <a:gd name="connsiteY27" fmla="*/ 2755446 h 2988128"/>
                  <a:gd name="connsiteX28" fmla="*/ 7971844 w 8078805"/>
                  <a:gd name="connsiteY28" fmla="*/ 2528888 h 2988128"/>
                  <a:gd name="connsiteX29" fmla="*/ 8078806 w 8078805"/>
                  <a:gd name="connsiteY29" fmla="*/ 2755446 h 2988128"/>
                  <a:gd name="connsiteX30" fmla="*/ 7260858 w 8078805"/>
                  <a:gd name="connsiteY30" fmla="*/ 2988129 h 298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078805" h="2988128">
                    <a:moveTo>
                      <a:pt x="1572976" y="2988129"/>
                    </a:moveTo>
                    <a:cubicBezTo>
                      <a:pt x="635482" y="2988129"/>
                      <a:pt x="0" y="2424793"/>
                      <a:pt x="0" y="1512434"/>
                    </a:cubicBezTo>
                    <a:cubicBezTo>
                      <a:pt x="0" y="624568"/>
                      <a:pt x="679526" y="0"/>
                      <a:pt x="1585560" y="0"/>
                    </a:cubicBezTo>
                    <a:cubicBezTo>
                      <a:pt x="1824652" y="0"/>
                      <a:pt x="2088912" y="42862"/>
                      <a:pt x="2290253" y="134711"/>
                    </a:cubicBezTo>
                    <a:lnTo>
                      <a:pt x="2290253" y="569459"/>
                    </a:lnTo>
                    <a:cubicBezTo>
                      <a:pt x="2189583" y="440871"/>
                      <a:pt x="1988242" y="214313"/>
                      <a:pt x="1591852" y="214313"/>
                    </a:cubicBezTo>
                    <a:cubicBezTo>
                      <a:pt x="1025580" y="214313"/>
                      <a:pt x="704693" y="716416"/>
                      <a:pt x="704693" y="1445079"/>
                    </a:cubicBezTo>
                    <a:cubicBezTo>
                      <a:pt x="704693" y="2210481"/>
                      <a:pt x="1006705" y="2755446"/>
                      <a:pt x="1648479" y="2755446"/>
                    </a:cubicBezTo>
                    <a:cubicBezTo>
                      <a:pt x="1874988" y="2755446"/>
                      <a:pt x="2158123" y="2645229"/>
                      <a:pt x="2283962" y="2528888"/>
                    </a:cubicBezTo>
                    <a:lnTo>
                      <a:pt x="2390924" y="2755446"/>
                    </a:lnTo>
                    <a:cubicBezTo>
                      <a:pt x="2271378" y="2853418"/>
                      <a:pt x="2044869" y="2988129"/>
                      <a:pt x="1572976" y="2988129"/>
                    </a:cubicBezTo>
                    <a:close/>
                    <a:moveTo>
                      <a:pt x="4643426" y="1494064"/>
                    </a:moveTo>
                    <a:cubicBezTo>
                      <a:pt x="4643426" y="2620736"/>
                      <a:pt x="3926149" y="2700338"/>
                      <a:pt x="3378753" y="2700338"/>
                    </a:cubicBezTo>
                    <a:lnTo>
                      <a:pt x="3378753" y="269421"/>
                    </a:lnTo>
                    <a:cubicBezTo>
                      <a:pt x="3945024" y="269421"/>
                      <a:pt x="4643426" y="336777"/>
                      <a:pt x="4643426" y="1494064"/>
                    </a:cubicBezTo>
                    <a:close/>
                    <a:moveTo>
                      <a:pt x="3900981" y="2933020"/>
                    </a:moveTo>
                    <a:cubicBezTo>
                      <a:pt x="4467252" y="2933020"/>
                      <a:pt x="5341827" y="2590120"/>
                      <a:pt x="5341827" y="1481818"/>
                    </a:cubicBezTo>
                    <a:cubicBezTo>
                      <a:pt x="5341827" y="312284"/>
                      <a:pt x="4479837" y="48986"/>
                      <a:pt x="3831770" y="48986"/>
                    </a:cubicBezTo>
                    <a:lnTo>
                      <a:pt x="2755854" y="48986"/>
                    </a:lnTo>
                    <a:lnTo>
                      <a:pt x="2755854" y="2933020"/>
                    </a:lnTo>
                    <a:close/>
                    <a:moveTo>
                      <a:pt x="7260858" y="2988129"/>
                    </a:moveTo>
                    <a:cubicBezTo>
                      <a:pt x="6323364" y="2988129"/>
                      <a:pt x="5687882" y="2424793"/>
                      <a:pt x="5687882" y="1512434"/>
                    </a:cubicBezTo>
                    <a:cubicBezTo>
                      <a:pt x="5687882" y="624568"/>
                      <a:pt x="6367408" y="0"/>
                      <a:pt x="7273442" y="0"/>
                    </a:cubicBezTo>
                    <a:cubicBezTo>
                      <a:pt x="7512534" y="0"/>
                      <a:pt x="7776794" y="42862"/>
                      <a:pt x="7978135" y="134711"/>
                    </a:cubicBezTo>
                    <a:lnTo>
                      <a:pt x="7978135" y="569459"/>
                    </a:lnTo>
                    <a:cubicBezTo>
                      <a:pt x="7877465" y="440871"/>
                      <a:pt x="7676124" y="214313"/>
                      <a:pt x="7279734" y="214313"/>
                    </a:cubicBezTo>
                    <a:cubicBezTo>
                      <a:pt x="6713463" y="214313"/>
                      <a:pt x="6392575" y="716416"/>
                      <a:pt x="6392575" y="1445079"/>
                    </a:cubicBezTo>
                    <a:cubicBezTo>
                      <a:pt x="6392575" y="2210481"/>
                      <a:pt x="6694587" y="2755446"/>
                      <a:pt x="7336361" y="2755446"/>
                    </a:cubicBezTo>
                    <a:cubicBezTo>
                      <a:pt x="7562870" y="2755446"/>
                      <a:pt x="7846005" y="2645229"/>
                      <a:pt x="7971844" y="2528888"/>
                    </a:cubicBezTo>
                    <a:lnTo>
                      <a:pt x="8078806" y="2755446"/>
                    </a:lnTo>
                    <a:cubicBezTo>
                      <a:pt x="7952968" y="2853418"/>
                      <a:pt x="7726459" y="2988129"/>
                      <a:pt x="7260858" y="2988129"/>
                    </a:cubicBezTo>
                    <a:close/>
                  </a:path>
                </a:pathLst>
              </a:custGeom>
              <a:solidFill>
                <a:srgbClr val="FFFFFF"/>
              </a:solidFill>
              <a:ln w="28043" cap="flat">
                <a:solidFill>
                  <a:srgbClr val="FFFFFF"/>
                </a:solid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6D127764-99F2-A8AC-3F7A-F4C772609BC2}"/>
                  </a:ext>
                </a:extLst>
              </p:cNvPr>
              <p:cNvSpPr/>
              <p:nvPr/>
            </p:nvSpPr>
            <p:spPr bwMode="ltGray">
              <a:xfrm>
                <a:off x="-10532475" y="5268686"/>
                <a:ext cx="9431564" cy="973591"/>
              </a:xfrm>
              <a:custGeom>
                <a:avLst/>
                <a:gdLst>
                  <a:gd name="connsiteX0" fmla="*/ 9186181 w 9431564"/>
                  <a:gd name="connsiteY0" fmla="*/ 0 h 973591"/>
                  <a:gd name="connsiteX1" fmla="*/ 9293143 w 9431564"/>
                  <a:gd name="connsiteY1" fmla="*/ 0 h 973591"/>
                  <a:gd name="connsiteX2" fmla="*/ 9293143 w 9431564"/>
                  <a:gd name="connsiteY2" fmla="*/ 18370 h 973591"/>
                  <a:gd name="connsiteX3" fmla="*/ 9249100 w 9431564"/>
                  <a:gd name="connsiteY3" fmla="*/ 18370 h 973591"/>
                  <a:gd name="connsiteX4" fmla="*/ 9249100 w 9431564"/>
                  <a:gd name="connsiteY4" fmla="*/ 134711 h 973591"/>
                  <a:gd name="connsiteX5" fmla="*/ 9230224 w 9431564"/>
                  <a:gd name="connsiteY5" fmla="*/ 134711 h 973591"/>
                  <a:gd name="connsiteX6" fmla="*/ 9230224 w 9431564"/>
                  <a:gd name="connsiteY6" fmla="*/ 18370 h 973591"/>
                  <a:gd name="connsiteX7" fmla="*/ 9186181 w 9431564"/>
                  <a:gd name="connsiteY7" fmla="*/ 18370 h 973591"/>
                  <a:gd name="connsiteX8" fmla="*/ 9418981 w 9431564"/>
                  <a:gd name="connsiteY8" fmla="*/ 128587 h 973591"/>
                  <a:gd name="connsiteX9" fmla="*/ 9418981 w 9431564"/>
                  <a:gd name="connsiteY9" fmla="*/ 24493 h 973591"/>
                  <a:gd name="connsiteX10" fmla="*/ 9381229 w 9431564"/>
                  <a:gd name="connsiteY10" fmla="*/ 134711 h 973591"/>
                  <a:gd name="connsiteX11" fmla="*/ 9362354 w 9431564"/>
                  <a:gd name="connsiteY11" fmla="*/ 134711 h 973591"/>
                  <a:gd name="connsiteX12" fmla="*/ 9324603 w 9431564"/>
                  <a:gd name="connsiteY12" fmla="*/ 24493 h 973591"/>
                  <a:gd name="connsiteX13" fmla="*/ 9324603 w 9431564"/>
                  <a:gd name="connsiteY13" fmla="*/ 128587 h 973591"/>
                  <a:gd name="connsiteX14" fmla="*/ 9305727 w 9431564"/>
                  <a:gd name="connsiteY14" fmla="*/ 128587 h 973591"/>
                  <a:gd name="connsiteX15" fmla="*/ 9305727 w 9431564"/>
                  <a:gd name="connsiteY15" fmla="*/ 0 h 973591"/>
                  <a:gd name="connsiteX16" fmla="*/ 9330895 w 9431564"/>
                  <a:gd name="connsiteY16" fmla="*/ 0 h 973591"/>
                  <a:gd name="connsiteX17" fmla="*/ 9368646 w 9431564"/>
                  <a:gd name="connsiteY17" fmla="*/ 110218 h 973591"/>
                  <a:gd name="connsiteX18" fmla="*/ 9406398 w 9431564"/>
                  <a:gd name="connsiteY18" fmla="*/ 0 h 973591"/>
                  <a:gd name="connsiteX19" fmla="*/ 9431565 w 9431564"/>
                  <a:gd name="connsiteY19" fmla="*/ 0 h 973591"/>
                  <a:gd name="connsiteX20" fmla="*/ 9431565 w 9431564"/>
                  <a:gd name="connsiteY20" fmla="*/ 128587 h 973591"/>
                  <a:gd name="connsiteX21" fmla="*/ 327179 w 9431564"/>
                  <a:gd name="connsiteY21" fmla="*/ 140834 h 973591"/>
                  <a:gd name="connsiteX22" fmla="*/ 320887 w 9431564"/>
                  <a:gd name="connsiteY22" fmla="*/ 134711 h 973591"/>
                  <a:gd name="connsiteX23" fmla="*/ 320887 w 9431564"/>
                  <a:gd name="connsiteY23" fmla="*/ 128587 h 973591"/>
                  <a:gd name="connsiteX24" fmla="*/ 220217 w 9431564"/>
                  <a:gd name="connsiteY24" fmla="*/ 97971 h 973591"/>
                  <a:gd name="connsiteX25" fmla="*/ 100670 w 9431564"/>
                  <a:gd name="connsiteY25" fmla="*/ 183696 h 973591"/>
                  <a:gd name="connsiteX26" fmla="*/ 220217 w 9431564"/>
                  <a:gd name="connsiteY26" fmla="*/ 269422 h 973591"/>
                  <a:gd name="connsiteX27" fmla="*/ 327179 w 9431564"/>
                  <a:gd name="connsiteY27" fmla="*/ 232682 h 973591"/>
                  <a:gd name="connsiteX28" fmla="*/ 320887 w 9431564"/>
                  <a:gd name="connsiteY28" fmla="*/ 220436 h 973591"/>
                  <a:gd name="connsiteX29" fmla="*/ 327179 w 9431564"/>
                  <a:gd name="connsiteY29" fmla="*/ 214313 h 973591"/>
                  <a:gd name="connsiteX30" fmla="*/ 390098 w 9431564"/>
                  <a:gd name="connsiteY30" fmla="*/ 312284 h 973591"/>
                  <a:gd name="connsiteX31" fmla="*/ 383806 w 9431564"/>
                  <a:gd name="connsiteY31" fmla="*/ 318407 h 973591"/>
                  <a:gd name="connsiteX32" fmla="*/ 377514 w 9431564"/>
                  <a:gd name="connsiteY32" fmla="*/ 312284 h 973591"/>
                  <a:gd name="connsiteX33" fmla="*/ 213925 w 9431564"/>
                  <a:gd name="connsiteY33" fmla="*/ 342900 h 973591"/>
                  <a:gd name="connsiteX34" fmla="*/ 6292 w 9431564"/>
                  <a:gd name="connsiteY34" fmla="*/ 177573 h 973591"/>
                  <a:gd name="connsiteX35" fmla="*/ 213925 w 9431564"/>
                  <a:gd name="connsiteY35" fmla="*/ 12247 h 973591"/>
                  <a:gd name="connsiteX36" fmla="*/ 327179 w 9431564"/>
                  <a:gd name="connsiteY36" fmla="*/ 24493 h 973591"/>
                  <a:gd name="connsiteX37" fmla="*/ 371222 w 9431564"/>
                  <a:gd name="connsiteY37" fmla="*/ 36739 h 973591"/>
                  <a:gd name="connsiteX38" fmla="*/ 383806 w 9431564"/>
                  <a:gd name="connsiteY38" fmla="*/ 30616 h 973591"/>
                  <a:gd name="connsiteX39" fmla="*/ 390098 w 9431564"/>
                  <a:gd name="connsiteY39" fmla="*/ 30616 h 973591"/>
                  <a:gd name="connsiteX40" fmla="*/ 836823 w 9431564"/>
                  <a:gd name="connsiteY40" fmla="*/ 287791 h 973591"/>
                  <a:gd name="connsiteX41" fmla="*/ 855699 w 9431564"/>
                  <a:gd name="connsiteY41" fmla="*/ 269422 h 973591"/>
                  <a:gd name="connsiteX42" fmla="*/ 861991 w 9431564"/>
                  <a:gd name="connsiteY42" fmla="*/ 269422 h 973591"/>
                  <a:gd name="connsiteX43" fmla="*/ 861991 w 9431564"/>
                  <a:gd name="connsiteY43" fmla="*/ 349024 h 973591"/>
                  <a:gd name="connsiteX44" fmla="*/ 855699 w 9431564"/>
                  <a:gd name="connsiteY44" fmla="*/ 349024 h 973591"/>
                  <a:gd name="connsiteX45" fmla="*/ 836823 w 9431564"/>
                  <a:gd name="connsiteY45" fmla="*/ 336777 h 973591"/>
                  <a:gd name="connsiteX46" fmla="*/ 553688 w 9431564"/>
                  <a:gd name="connsiteY46" fmla="*/ 336777 h 973591"/>
                  <a:gd name="connsiteX47" fmla="*/ 553688 w 9431564"/>
                  <a:gd name="connsiteY47" fmla="*/ 330654 h 973591"/>
                  <a:gd name="connsiteX48" fmla="*/ 572563 w 9431564"/>
                  <a:gd name="connsiteY48" fmla="*/ 318407 h 973591"/>
                  <a:gd name="connsiteX49" fmla="*/ 572563 w 9431564"/>
                  <a:gd name="connsiteY49" fmla="*/ 85725 h 973591"/>
                  <a:gd name="connsiteX50" fmla="*/ 553688 w 9431564"/>
                  <a:gd name="connsiteY50" fmla="*/ 73479 h 973591"/>
                  <a:gd name="connsiteX51" fmla="*/ 553688 w 9431564"/>
                  <a:gd name="connsiteY51" fmla="*/ 67355 h 973591"/>
                  <a:gd name="connsiteX52" fmla="*/ 843115 w 9431564"/>
                  <a:gd name="connsiteY52" fmla="*/ 67355 h 973591"/>
                  <a:gd name="connsiteX53" fmla="*/ 855699 w 9431564"/>
                  <a:gd name="connsiteY53" fmla="*/ 55109 h 973591"/>
                  <a:gd name="connsiteX54" fmla="*/ 861991 w 9431564"/>
                  <a:gd name="connsiteY54" fmla="*/ 55109 h 973591"/>
                  <a:gd name="connsiteX55" fmla="*/ 861991 w 9431564"/>
                  <a:gd name="connsiteY55" fmla="*/ 134711 h 973591"/>
                  <a:gd name="connsiteX56" fmla="*/ 855699 w 9431564"/>
                  <a:gd name="connsiteY56" fmla="*/ 134711 h 973591"/>
                  <a:gd name="connsiteX57" fmla="*/ 843115 w 9431564"/>
                  <a:gd name="connsiteY57" fmla="*/ 122464 h 973591"/>
                  <a:gd name="connsiteX58" fmla="*/ 660650 w 9431564"/>
                  <a:gd name="connsiteY58" fmla="*/ 122464 h 973591"/>
                  <a:gd name="connsiteX59" fmla="*/ 660650 w 9431564"/>
                  <a:gd name="connsiteY59" fmla="*/ 171450 h 973591"/>
                  <a:gd name="connsiteX60" fmla="*/ 780196 w 9431564"/>
                  <a:gd name="connsiteY60" fmla="*/ 171450 h 973591"/>
                  <a:gd name="connsiteX61" fmla="*/ 792780 w 9431564"/>
                  <a:gd name="connsiteY61" fmla="*/ 159203 h 973591"/>
                  <a:gd name="connsiteX62" fmla="*/ 799072 w 9431564"/>
                  <a:gd name="connsiteY62" fmla="*/ 159203 h 973591"/>
                  <a:gd name="connsiteX63" fmla="*/ 799072 w 9431564"/>
                  <a:gd name="connsiteY63" fmla="*/ 238805 h 973591"/>
                  <a:gd name="connsiteX64" fmla="*/ 792780 w 9431564"/>
                  <a:gd name="connsiteY64" fmla="*/ 238805 h 973591"/>
                  <a:gd name="connsiteX65" fmla="*/ 780196 w 9431564"/>
                  <a:gd name="connsiteY65" fmla="*/ 226559 h 973591"/>
                  <a:gd name="connsiteX66" fmla="*/ 660650 w 9431564"/>
                  <a:gd name="connsiteY66" fmla="*/ 226559 h 973591"/>
                  <a:gd name="connsiteX67" fmla="*/ 660650 w 9431564"/>
                  <a:gd name="connsiteY67" fmla="*/ 287791 h 973591"/>
                  <a:gd name="connsiteX68" fmla="*/ 1365343 w 9431564"/>
                  <a:gd name="connsiteY68" fmla="*/ 324531 h 973591"/>
                  <a:gd name="connsiteX69" fmla="*/ 1384219 w 9431564"/>
                  <a:gd name="connsiteY69" fmla="*/ 336777 h 973591"/>
                  <a:gd name="connsiteX70" fmla="*/ 1384219 w 9431564"/>
                  <a:gd name="connsiteY70" fmla="*/ 342900 h 973591"/>
                  <a:gd name="connsiteX71" fmla="*/ 1264673 w 9431564"/>
                  <a:gd name="connsiteY71" fmla="*/ 342900 h 973591"/>
                  <a:gd name="connsiteX72" fmla="*/ 1264673 w 9431564"/>
                  <a:gd name="connsiteY72" fmla="*/ 336777 h 973591"/>
                  <a:gd name="connsiteX73" fmla="*/ 1283549 w 9431564"/>
                  <a:gd name="connsiteY73" fmla="*/ 330654 h 973591"/>
                  <a:gd name="connsiteX74" fmla="*/ 1132543 w 9431564"/>
                  <a:gd name="connsiteY74" fmla="*/ 165327 h 973591"/>
                  <a:gd name="connsiteX75" fmla="*/ 1132543 w 9431564"/>
                  <a:gd name="connsiteY75" fmla="*/ 324531 h 973591"/>
                  <a:gd name="connsiteX76" fmla="*/ 1151419 w 9431564"/>
                  <a:gd name="connsiteY76" fmla="*/ 336777 h 973591"/>
                  <a:gd name="connsiteX77" fmla="*/ 1151419 w 9431564"/>
                  <a:gd name="connsiteY77" fmla="*/ 342900 h 973591"/>
                  <a:gd name="connsiteX78" fmla="*/ 1044456 w 9431564"/>
                  <a:gd name="connsiteY78" fmla="*/ 342900 h 973591"/>
                  <a:gd name="connsiteX79" fmla="*/ 1044456 w 9431564"/>
                  <a:gd name="connsiteY79" fmla="*/ 336777 h 973591"/>
                  <a:gd name="connsiteX80" fmla="*/ 1063332 w 9431564"/>
                  <a:gd name="connsiteY80" fmla="*/ 324531 h 973591"/>
                  <a:gd name="connsiteX81" fmla="*/ 1063332 w 9431564"/>
                  <a:gd name="connsiteY81" fmla="*/ 91848 h 973591"/>
                  <a:gd name="connsiteX82" fmla="*/ 1044456 w 9431564"/>
                  <a:gd name="connsiteY82" fmla="*/ 79602 h 973591"/>
                  <a:gd name="connsiteX83" fmla="*/ 1044456 w 9431564"/>
                  <a:gd name="connsiteY83" fmla="*/ 73479 h 973591"/>
                  <a:gd name="connsiteX84" fmla="*/ 1195462 w 9431564"/>
                  <a:gd name="connsiteY84" fmla="*/ 73479 h 973591"/>
                  <a:gd name="connsiteX85" fmla="*/ 1195462 w 9431564"/>
                  <a:gd name="connsiteY85" fmla="*/ 79602 h 973591"/>
                  <a:gd name="connsiteX86" fmla="*/ 1182878 w 9431564"/>
                  <a:gd name="connsiteY86" fmla="*/ 91848 h 973591"/>
                  <a:gd name="connsiteX87" fmla="*/ 1296132 w 9431564"/>
                  <a:gd name="connsiteY87" fmla="*/ 214313 h 973591"/>
                  <a:gd name="connsiteX88" fmla="*/ 1296132 w 9431564"/>
                  <a:gd name="connsiteY88" fmla="*/ 91848 h 973591"/>
                  <a:gd name="connsiteX89" fmla="*/ 1277257 w 9431564"/>
                  <a:gd name="connsiteY89" fmla="*/ 79602 h 973591"/>
                  <a:gd name="connsiteX90" fmla="*/ 1277257 w 9431564"/>
                  <a:gd name="connsiteY90" fmla="*/ 73479 h 973591"/>
                  <a:gd name="connsiteX91" fmla="*/ 1390511 w 9431564"/>
                  <a:gd name="connsiteY91" fmla="*/ 73479 h 973591"/>
                  <a:gd name="connsiteX92" fmla="*/ 1390511 w 9431564"/>
                  <a:gd name="connsiteY92" fmla="*/ 79602 h 973591"/>
                  <a:gd name="connsiteX93" fmla="*/ 1371635 w 9431564"/>
                  <a:gd name="connsiteY93" fmla="*/ 91848 h 973591"/>
                  <a:gd name="connsiteX94" fmla="*/ 1371635 w 9431564"/>
                  <a:gd name="connsiteY94" fmla="*/ 324531 h 973591"/>
                  <a:gd name="connsiteX95" fmla="*/ 1824652 w 9431564"/>
                  <a:gd name="connsiteY95" fmla="*/ 73479 h 973591"/>
                  <a:gd name="connsiteX96" fmla="*/ 1837236 w 9431564"/>
                  <a:gd name="connsiteY96" fmla="*/ 61232 h 973591"/>
                  <a:gd name="connsiteX97" fmla="*/ 1843528 w 9431564"/>
                  <a:gd name="connsiteY97" fmla="*/ 61232 h 973591"/>
                  <a:gd name="connsiteX98" fmla="*/ 1843528 w 9431564"/>
                  <a:gd name="connsiteY98" fmla="*/ 153080 h 973591"/>
                  <a:gd name="connsiteX99" fmla="*/ 1837236 w 9431564"/>
                  <a:gd name="connsiteY99" fmla="*/ 153080 h 973591"/>
                  <a:gd name="connsiteX100" fmla="*/ 1824652 w 9431564"/>
                  <a:gd name="connsiteY100" fmla="*/ 140834 h 973591"/>
                  <a:gd name="connsiteX101" fmla="*/ 1736566 w 9431564"/>
                  <a:gd name="connsiteY101" fmla="*/ 140834 h 973591"/>
                  <a:gd name="connsiteX102" fmla="*/ 1736566 w 9431564"/>
                  <a:gd name="connsiteY102" fmla="*/ 330654 h 973591"/>
                  <a:gd name="connsiteX103" fmla="*/ 1749150 w 9431564"/>
                  <a:gd name="connsiteY103" fmla="*/ 342900 h 973591"/>
                  <a:gd name="connsiteX104" fmla="*/ 1749150 w 9431564"/>
                  <a:gd name="connsiteY104" fmla="*/ 349024 h 973591"/>
                  <a:gd name="connsiteX105" fmla="*/ 1635895 w 9431564"/>
                  <a:gd name="connsiteY105" fmla="*/ 349024 h 973591"/>
                  <a:gd name="connsiteX106" fmla="*/ 1635895 w 9431564"/>
                  <a:gd name="connsiteY106" fmla="*/ 342900 h 973591"/>
                  <a:gd name="connsiteX107" fmla="*/ 1648479 w 9431564"/>
                  <a:gd name="connsiteY107" fmla="*/ 330654 h 973591"/>
                  <a:gd name="connsiteX108" fmla="*/ 1648479 w 9431564"/>
                  <a:gd name="connsiteY108" fmla="*/ 140834 h 973591"/>
                  <a:gd name="connsiteX109" fmla="*/ 1560392 w 9431564"/>
                  <a:gd name="connsiteY109" fmla="*/ 140834 h 973591"/>
                  <a:gd name="connsiteX110" fmla="*/ 1547809 w 9431564"/>
                  <a:gd name="connsiteY110" fmla="*/ 153080 h 973591"/>
                  <a:gd name="connsiteX111" fmla="*/ 1541517 w 9431564"/>
                  <a:gd name="connsiteY111" fmla="*/ 153080 h 973591"/>
                  <a:gd name="connsiteX112" fmla="*/ 1541517 w 9431564"/>
                  <a:gd name="connsiteY112" fmla="*/ 61232 h 973591"/>
                  <a:gd name="connsiteX113" fmla="*/ 1547809 w 9431564"/>
                  <a:gd name="connsiteY113" fmla="*/ 61232 h 973591"/>
                  <a:gd name="connsiteX114" fmla="*/ 1560392 w 9431564"/>
                  <a:gd name="connsiteY114" fmla="*/ 73479 h 973591"/>
                  <a:gd name="connsiteX115" fmla="*/ 2277670 w 9431564"/>
                  <a:gd name="connsiteY115" fmla="*/ 287791 h 973591"/>
                  <a:gd name="connsiteX116" fmla="*/ 2296545 w 9431564"/>
                  <a:gd name="connsiteY116" fmla="*/ 269422 h 973591"/>
                  <a:gd name="connsiteX117" fmla="*/ 2302837 w 9431564"/>
                  <a:gd name="connsiteY117" fmla="*/ 269422 h 973591"/>
                  <a:gd name="connsiteX118" fmla="*/ 2302837 w 9431564"/>
                  <a:gd name="connsiteY118" fmla="*/ 349024 h 973591"/>
                  <a:gd name="connsiteX119" fmla="*/ 2296545 w 9431564"/>
                  <a:gd name="connsiteY119" fmla="*/ 349024 h 973591"/>
                  <a:gd name="connsiteX120" fmla="*/ 2277670 w 9431564"/>
                  <a:gd name="connsiteY120" fmla="*/ 336777 h 973591"/>
                  <a:gd name="connsiteX121" fmla="*/ 1994534 w 9431564"/>
                  <a:gd name="connsiteY121" fmla="*/ 336777 h 973591"/>
                  <a:gd name="connsiteX122" fmla="*/ 1994534 w 9431564"/>
                  <a:gd name="connsiteY122" fmla="*/ 330654 h 973591"/>
                  <a:gd name="connsiteX123" fmla="*/ 2013409 w 9431564"/>
                  <a:gd name="connsiteY123" fmla="*/ 318407 h 973591"/>
                  <a:gd name="connsiteX124" fmla="*/ 2013409 w 9431564"/>
                  <a:gd name="connsiteY124" fmla="*/ 85725 h 973591"/>
                  <a:gd name="connsiteX125" fmla="*/ 1994534 w 9431564"/>
                  <a:gd name="connsiteY125" fmla="*/ 73479 h 973591"/>
                  <a:gd name="connsiteX126" fmla="*/ 1994534 w 9431564"/>
                  <a:gd name="connsiteY126" fmla="*/ 67355 h 973591"/>
                  <a:gd name="connsiteX127" fmla="*/ 2283961 w 9431564"/>
                  <a:gd name="connsiteY127" fmla="*/ 67355 h 973591"/>
                  <a:gd name="connsiteX128" fmla="*/ 2296545 w 9431564"/>
                  <a:gd name="connsiteY128" fmla="*/ 55109 h 973591"/>
                  <a:gd name="connsiteX129" fmla="*/ 2302837 w 9431564"/>
                  <a:gd name="connsiteY129" fmla="*/ 55109 h 973591"/>
                  <a:gd name="connsiteX130" fmla="*/ 2302837 w 9431564"/>
                  <a:gd name="connsiteY130" fmla="*/ 134711 h 973591"/>
                  <a:gd name="connsiteX131" fmla="*/ 2296545 w 9431564"/>
                  <a:gd name="connsiteY131" fmla="*/ 134711 h 973591"/>
                  <a:gd name="connsiteX132" fmla="*/ 2283961 w 9431564"/>
                  <a:gd name="connsiteY132" fmla="*/ 122464 h 973591"/>
                  <a:gd name="connsiteX133" fmla="*/ 2101496 w 9431564"/>
                  <a:gd name="connsiteY133" fmla="*/ 122464 h 973591"/>
                  <a:gd name="connsiteX134" fmla="*/ 2101496 w 9431564"/>
                  <a:gd name="connsiteY134" fmla="*/ 171450 h 973591"/>
                  <a:gd name="connsiteX135" fmla="*/ 2221042 w 9431564"/>
                  <a:gd name="connsiteY135" fmla="*/ 171450 h 973591"/>
                  <a:gd name="connsiteX136" fmla="*/ 2233626 w 9431564"/>
                  <a:gd name="connsiteY136" fmla="*/ 159203 h 973591"/>
                  <a:gd name="connsiteX137" fmla="*/ 2239918 w 9431564"/>
                  <a:gd name="connsiteY137" fmla="*/ 159203 h 973591"/>
                  <a:gd name="connsiteX138" fmla="*/ 2239918 w 9431564"/>
                  <a:gd name="connsiteY138" fmla="*/ 238805 h 973591"/>
                  <a:gd name="connsiteX139" fmla="*/ 2233626 w 9431564"/>
                  <a:gd name="connsiteY139" fmla="*/ 238805 h 973591"/>
                  <a:gd name="connsiteX140" fmla="*/ 2221042 w 9431564"/>
                  <a:gd name="connsiteY140" fmla="*/ 226559 h 973591"/>
                  <a:gd name="connsiteX141" fmla="*/ 2101496 w 9431564"/>
                  <a:gd name="connsiteY141" fmla="*/ 226559 h 973591"/>
                  <a:gd name="connsiteX142" fmla="*/ 2101496 w 9431564"/>
                  <a:gd name="connsiteY142" fmla="*/ 287791 h 973591"/>
                  <a:gd name="connsiteX143" fmla="*/ 2579681 w 9431564"/>
                  <a:gd name="connsiteY143" fmla="*/ 122464 h 973591"/>
                  <a:gd name="connsiteX144" fmla="*/ 2667768 w 9431564"/>
                  <a:gd name="connsiteY144" fmla="*/ 122464 h 973591"/>
                  <a:gd name="connsiteX145" fmla="*/ 2718103 w 9431564"/>
                  <a:gd name="connsiteY145" fmla="*/ 153080 h 973591"/>
                  <a:gd name="connsiteX146" fmla="*/ 2674060 w 9431564"/>
                  <a:gd name="connsiteY146" fmla="*/ 183696 h 973591"/>
                  <a:gd name="connsiteX147" fmla="*/ 2585973 w 9431564"/>
                  <a:gd name="connsiteY147" fmla="*/ 183696 h 973591"/>
                  <a:gd name="connsiteX148" fmla="*/ 2585973 w 9431564"/>
                  <a:gd name="connsiteY148" fmla="*/ 122464 h 973591"/>
                  <a:gd name="connsiteX149" fmla="*/ 2497886 w 9431564"/>
                  <a:gd name="connsiteY149" fmla="*/ 324531 h 973591"/>
                  <a:gd name="connsiteX150" fmla="*/ 2485302 w 9431564"/>
                  <a:gd name="connsiteY150" fmla="*/ 336777 h 973591"/>
                  <a:gd name="connsiteX151" fmla="*/ 2485302 w 9431564"/>
                  <a:gd name="connsiteY151" fmla="*/ 342900 h 973591"/>
                  <a:gd name="connsiteX152" fmla="*/ 2592265 w 9431564"/>
                  <a:gd name="connsiteY152" fmla="*/ 342900 h 973591"/>
                  <a:gd name="connsiteX153" fmla="*/ 2592265 w 9431564"/>
                  <a:gd name="connsiteY153" fmla="*/ 336777 h 973591"/>
                  <a:gd name="connsiteX154" fmla="*/ 2573389 w 9431564"/>
                  <a:gd name="connsiteY154" fmla="*/ 324531 h 973591"/>
                  <a:gd name="connsiteX155" fmla="*/ 2573389 w 9431564"/>
                  <a:gd name="connsiteY155" fmla="*/ 244929 h 973591"/>
                  <a:gd name="connsiteX156" fmla="*/ 2636308 w 9431564"/>
                  <a:gd name="connsiteY156" fmla="*/ 244929 h 973591"/>
                  <a:gd name="connsiteX157" fmla="*/ 2686643 w 9431564"/>
                  <a:gd name="connsiteY157" fmla="*/ 330654 h 973591"/>
                  <a:gd name="connsiteX158" fmla="*/ 2674060 w 9431564"/>
                  <a:gd name="connsiteY158" fmla="*/ 336777 h 973591"/>
                  <a:gd name="connsiteX159" fmla="*/ 2674060 w 9431564"/>
                  <a:gd name="connsiteY159" fmla="*/ 342900 h 973591"/>
                  <a:gd name="connsiteX160" fmla="*/ 2799898 w 9431564"/>
                  <a:gd name="connsiteY160" fmla="*/ 342900 h 973591"/>
                  <a:gd name="connsiteX161" fmla="*/ 2799898 w 9431564"/>
                  <a:gd name="connsiteY161" fmla="*/ 336777 h 973591"/>
                  <a:gd name="connsiteX162" fmla="*/ 2774730 w 9431564"/>
                  <a:gd name="connsiteY162" fmla="*/ 324531 h 973591"/>
                  <a:gd name="connsiteX163" fmla="*/ 2718103 w 9431564"/>
                  <a:gd name="connsiteY163" fmla="*/ 244929 h 973591"/>
                  <a:gd name="connsiteX164" fmla="*/ 2787314 w 9431564"/>
                  <a:gd name="connsiteY164" fmla="*/ 159203 h 973591"/>
                  <a:gd name="connsiteX165" fmla="*/ 2686643 w 9431564"/>
                  <a:gd name="connsiteY165" fmla="*/ 73479 h 973591"/>
                  <a:gd name="connsiteX166" fmla="*/ 2485302 w 9431564"/>
                  <a:gd name="connsiteY166" fmla="*/ 73479 h 973591"/>
                  <a:gd name="connsiteX167" fmla="*/ 2485302 w 9431564"/>
                  <a:gd name="connsiteY167" fmla="*/ 79602 h 973591"/>
                  <a:gd name="connsiteX168" fmla="*/ 2497886 w 9431564"/>
                  <a:gd name="connsiteY168" fmla="*/ 91848 h 973591"/>
                  <a:gd name="connsiteX169" fmla="*/ 2969779 w 9431564"/>
                  <a:gd name="connsiteY169" fmla="*/ 251052 h 973591"/>
                  <a:gd name="connsiteX170" fmla="*/ 2976071 w 9431564"/>
                  <a:gd name="connsiteY170" fmla="*/ 257175 h 973591"/>
                  <a:gd name="connsiteX171" fmla="*/ 2976071 w 9431564"/>
                  <a:gd name="connsiteY171" fmla="*/ 263298 h 973591"/>
                  <a:gd name="connsiteX172" fmla="*/ 3101909 w 9431564"/>
                  <a:gd name="connsiteY172" fmla="*/ 293914 h 973591"/>
                  <a:gd name="connsiteX173" fmla="*/ 3158536 w 9431564"/>
                  <a:gd name="connsiteY173" fmla="*/ 269422 h 973591"/>
                  <a:gd name="connsiteX174" fmla="*/ 2950903 w 9431564"/>
                  <a:gd name="connsiteY174" fmla="*/ 165327 h 973591"/>
                  <a:gd name="connsiteX175" fmla="*/ 3089325 w 9431564"/>
                  <a:gd name="connsiteY175" fmla="*/ 73479 h 973591"/>
                  <a:gd name="connsiteX176" fmla="*/ 3215163 w 9431564"/>
                  <a:gd name="connsiteY176" fmla="*/ 91848 h 973591"/>
                  <a:gd name="connsiteX177" fmla="*/ 3227747 w 9431564"/>
                  <a:gd name="connsiteY177" fmla="*/ 85725 h 973591"/>
                  <a:gd name="connsiteX178" fmla="*/ 3234039 w 9431564"/>
                  <a:gd name="connsiteY178" fmla="*/ 85725 h 973591"/>
                  <a:gd name="connsiteX179" fmla="*/ 3196288 w 9431564"/>
                  <a:gd name="connsiteY179" fmla="*/ 165327 h 973591"/>
                  <a:gd name="connsiteX180" fmla="*/ 3189996 w 9431564"/>
                  <a:gd name="connsiteY180" fmla="*/ 159203 h 973591"/>
                  <a:gd name="connsiteX181" fmla="*/ 3189996 w 9431564"/>
                  <a:gd name="connsiteY181" fmla="*/ 153080 h 973591"/>
                  <a:gd name="connsiteX182" fmla="*/ 3101909 w 9431564"/>
                  <a:gd name="connsiteY182" fmla="*/ 128587 h 973591"/>
                  <a:gd name="connsiteX183" fmla="*/ 3032698 w 9431564"/>
                  <a:gd name="connsiteY183" fmla="*/ 153080 h 973591"/>
                  <a:gd name="connsiteX184" fmla="*/ 3240331 w 9431564"/>
                  <a:gd name="connsiteY184" fmla="*/ 257175 h 973591"/>
                  <a:gd name="connsiteX185" fmla="*/ 3101909 w 9431564"/>
                  <a:gd name="connsiteY185" fmla="*/ 349024 h 973591"/>
                  <a:gd name="connsiteX186" fmla="*/ 2963487 w 9431564"/>
                  <a:gd name="connsiteY186" fmla="*/ 324531 h 973591"/>
                  <a:gd name="connsiteX187" fmla="*/ 2950903 w 9431564"/>
                  <a:gd name="connsiteY187" fmla="*/ 330654 h 973591"/>
                  <a:gd name="connsiteX188" fmla="*/ 2944611 w 9431564"/>
                  <a:gd name="connsiteY188" fmla="*/ 330654 h 973591"/>
                  <a:gd name="connsiteX189" fmla="*/ 3995359 w 9431564"/>
                  <a:gd name="connsiteY189" fmla="*/ 91848 h 973591"/>
                  <a:gd name="connsiteX190" fmla="*/ 3976484 w 9431564"/>
                  <a:gd name="connsiteY190" fmla="*/ 79602 h 973591"/>
                  <a:gd name="connsiteX191" fmla="*/ 3976484 w 9431564"/>
                  <a:gd name="connsiteY191" fmla="*/ 73479 h 973591"/>
                  <a:gd name="connsiteX192" fmla="*/ 4253328 w 9431564"/>
                  <a:gd name="connsiteY192" fmla="*/ 73479 h 973591"/>
                  <a:gd name="connsiteX193" fmla="*/ 4265911 w 9431564"/>
                  <a:gd name="connsiteY193" fmla="*/ 61232 h 973591"/>
                  <a:gd name="connsiteX194" fmla="*/ 4272203 w 9431564"/>
                  <a:gd name="connsiteY194" fmla="*/ 61232 h 973591"/>
                  <a:gd name="connsiteX195" fmla="*/ 4272203 w 9431564"/>
                  <a:gd name="connsiteY195" fmla="*/ 146957 h 973591"/>
                  <a:gd name="connsiteX196" fmla="*/ 4265911 w 9431564"/>
                  <a:gd name="connsiteY196" fmla="*/ 146957 h 973591"/>
                  <a:gd name="connsiteX197" fmla="*/ 4253328 w 9431564"/>
                  <a:gd name="connsiteY197" fmla="*/ 134711 h 973591"/>
                  <a:gd name="connsiteX198" fmla="*/ 4083446 w 9431564"/>
                  <a:gd name="connsiteY198" fmla="*/ 134711 h 973591"/>
                  <a:gd name="connsiteX199" fmla="*/ 4083446 w 9431564"/>
                  <a:gd name="connsiteY199" fmla="*/ 189820 h 973591"/>
                  <a:gd name="connsiteX200" fmla="*/ 4196701 w 9431564"/>
                  <a:gd name="connsiteY200" fmla="*/ 189820 h 973591"/>
                  <a:gd name="connsiteX201" fmla="*/ 4209284 w 9431564"/>
                  <a:gd name="connsiteY201" fmla="*/ 177573 h 973591"/>
                  <a:gd name="connsiteX202" fmla="*/ 4215577 w 9431564"/>
                  <a:gd name="connsiteY202" fmla="*/ 177573 h 973591"/>
                  <a:gd name="connsiteX203" fmla="*/ 4215577 w 9431564"/>
                  <a:gd name="connsiteY203" fmla="*/ 257175 h 973591"/>
                  <a:gd name="connsiteX204" fmla="*/ 4209284 w 9431564"/>
                  <a:gd name="connsiteY204" fmla="*/ 257175 h 973591"/>
                  <a:gd name="connsiteX205" fmla="*/ 4196701 w 9431564"/>
                  <a:gd name="connsiteY205" fmla="*/ 244929 h 973591"/>
                  <a:gd name="connsiteX206" fmla="*/ 4083446 w 9431564"/>
                  <a:gd name="connsiteY206" fmla="*/ 244929 h 973591"/>
                  <a:gd name="connsiteX207" fmla="*/ 4083446 w 9431564"/>
                  <a:gd name="connsiteY207" fmla="*/ 330654 h 973591"/>
                  <a:gd name="connsiteX208" fmla="*/ 4102322 w 9431564"/>
                  <a:gd name="connsiteY208" fmla="*/ 342900 h 973591"/>
                  <a:gd name="connsiteX209" fmla="*/ 4102322 w 9431564"/>
                  <a:gd name="connsiteY209" fmla="*/ 349024 h 973591"/>
                  <a:gd name="connsiteX210" fmla="*/ 3976484 w 9431564"/>
                  <a:gd name="connsiteY210" fmla="*/ 349024 h 973591"/>
                  <a:gd name="connsiteX211" fmla="*/ 3976484 w 9431564"/>
                  <a:gd name="connsiteY211" fmla="*/ 342900 h 973591"/>
                  <a:gd name="connsiteX212" fmla="*/ 3995359 w 9431564"/>
                  <a:gd name="connsiteY212" fmla="*/ 330654 h 973591"/>
                  <a:gd name="connsiteX213" fmla="*/ 4574215 w 9431564"/>
                  <a:gd name="connsiteY213" fmla="*/ 134711 h 973591"/>
                  <a:gd name="connsiteX214" fmla="*/ 4662302 w 9431564"/>
                  <a:gd name="connsiteY214" fmla="*/ 208189 h 973591"/>
                  <a:gd name="connsiteX215" fmla="*/ 4574215 w 9431564"/>
                  <a:gd name="connsiteY215" fmla="*/ 281668 h 973591"/>
                  <a:gd name="connsiteX216" fmla="*/ 4486128 w 9431564"/>
                  <a:gd name="connsiteY216" fmla="*/ 208189 h 973591"/>
                  <a:gd name="connsiteX217" fmla="*/ 4574215 w 9431564"/>
                  <a:gd name="connsiteY217" fmla="*/ 134711 h 973591"/>
                  <a:gd name="connsiteX218" fmla="*/ 4574215 w 9431564"/>
                  <a:gd name="connsiteY218" fmla="*/ 67355 h 973591"/>
                  <a:gd name="connsiteX219" fmla="*/ 4404334 w 9431564"/>
                  <a:gd name="connsiteY219" fmla="*/ 208189 h 973591"/>
                  <a:gd name="connsiteX220" fmla="*/ 4574215 w 9431564"/>
                  <a:gd name="connsiteY220" fmla="*/ 349024 h 973591"/>
                  <a:gd name="connsiteX221" fmla="*/ 4744096 w 9431564"/>
                  <a:gd name="connsiteY221" fmla="*/ 208189 h 973591"/>
                  <a:gd name="connsiteX222" fmla="*/ 4574215 w 9431564"/>
                  <a:gd name="connsiteY222" fmla="*/ 67355 h 973591"/>
                  <a:gd name="connsiteX223" fmla="*/ 5002065 w 9431564"/>
                  <a:gd name="connsiteY223" fmla="*/ 122464 h 973591"/>
                  <a:gd name="connsiteX224" fmla="*/ 5090151 w 9431564"/>
                  <a:gd name="connsiteY224" fmla="*/ 122464 h 973591"/>
                  <a:gd name="connsiteX225" fmla="*/ 5140486 w 9431564"/>
                  <a:gd name="connsiteY225" fmla="*/ 153080 h 973591"/>
                  <a:gd name="connsiteX226" fmla="*/ 5096443 w 9431564"/>
                  <a:gd name="connsiteY226" fmla="*/ 183696 h 973591"/>
                  <a:gd name="connsiteX227" fmla="*/ 5008356 w 9431564"/>
                  <a:gd name="connsiteY227" fmla="*/ 183696 h 973591"/>
                  <a:gd name="connsiteX228" fmla="*/ 5008356 w 9431564"/>
                  <a:gd name="connsiteY228" fmla="*/ 122464 h 973591"/>
                  <a:gd name="connsiteX229" fmla="*/ 4920270 w 9431564"/>
                  <a:gd name="connsiteY229" fmla="*/ 324531 h 973591"/>
                  <a:gd name="connsiteX230" fmla="*/ 4907686 w 9431564"/>
                  <a:gd name="connsiteY230" fmla="*/ 336777 h 973591"/>
                  <a:gd name="connsiteX231" fmla="*/ 4907686 w 9431564"/>
                  <a:gd name="connsiteY231" fmla="*/ 342900 h 973591"/>
                  <a:gd name="connsiteX232" fmla="*/ 5014648 w 9431564"/>
                  <a:gd name="connsiteY232" fmla="*/ 342900 h 973591"/>
                  <a:gd name="connsiteX233" fmla="*/ 5014648 w 9431564"/>
                  <a:gd name="connsiteY233" fmla="*/ 336777 h 973591"/>
                  <a:gd name="connsiteX234" fmla="*/ 4995772 w 9431564"/>
                  <a:gd name="connsiteY234" fmla="*/ 324531 h 973591"/>
                  <a:gd name="connsiteX235" fmla="*/ 4995772 w 9431564"/>
                  <a:gd name="connsiteY235" fmla="*/ 244929 h 973591"/>
                  <a:gd name="connsiteX236" fmla="*/ 5058691 w 9431564"/>
                  <a:gd name="connsiteY236" fmla="*/ 244929 h 973591"/>
                  <a:gd name="connsiteX237" fmla="*/ 5109027 w 9431564"/>
                  <a:gd name="connsiteY237" fmla="*/ 330654 h 973591"/>
                  <a:gd name="connsiteX238" fmla="*/ 5096443 w 9431564"/>
                  <a:gd name="connsiteY238" fmla="*/ 336777 h 973591"/>
                  <a:gd name="connsiteX239" fmla="*/ 5096443 w 9431564"/>
                  <a:gd name="connsiteY239" fmla="*/ 342900 h 973591"/>
                  <a:gd name="connsiteX240" fmla="*/ 5222281 w 9431564"/>
                  <a:gd name="connsiteY240" fmla="*/ 342900 h 973591"/>
                  <a:gd name="connsiteX241" fmla="*/ 5222281 w 9431564"/>
                  <a:gd name="connsiteY241" fmla="*/ 336777 h 973591"/>
                  <a:gd name="connsiteX242" fmla="*/ 5197114 w 9431564"/>
                  <a:gd name="connsiteY242" fmla="*/ 324531 h 973591"/>
                  <a:gd name="connsiteX243" fmla="*/ 5140486 w 9431564"/>
                  <a:gd name="connsiteY243" fmla="*/ 244929 h 973591"/>
                  <a:gd name="connsiteX244" fmla="*/ 5209697 w 9431564"/>
                  <a:gd name="connsiteY244" fmla="*/ 159203 h 973591"/>
                  <a:gd name="connsiteX245" fmla="*/ 5102735 w 9431564"/>
                  <a:gd name="connsiteY245" fmla="*/ 73479 h 973591"/>
                  <a:gd name="connsiteX246" fmla="*/ 4901394 w 9431564"/>
                  <a:gd name="connsiteY246" fmla="*/ 73479 h 973591"/>
                  <a:gd name="connsiteX247" fmla="*/ 4901394 w 9431564"/>
                  <a:gd name="connsiteY247" fmla="*/ 79602 h 973591"/>
                  <a:gd name="connsiteX248" fmla="*/ 4913978 w 9431564"/>
                  <a:gd name="connsiteY248" fmla="*/ 91848 h 973591"/>
                  <a:gd name="connsiteX249" fmla="*/ 4913978 w 9431564"/>
                  <a:gd name="connsiteY249" fmla="*/ 324531 h 973591"/>
                  <a:gd name="connsiteX250" fmla="*/ 6084272 w 9431564"/>
                  <a:gd name="connsiteY250" fmla="*/ 91848 h 973591"/>
                  <a:gd name="connsiteX251" fmla="*/ 6166067 w 9431564"/>
                  <a:gd name="connsiteY251" fmla="*/ 91848 h 973591"/>
                  <a:gd name="connsiteX252" fmla="*/ 6260445 w 9431564"/>
                  <a:gd name="connsiteY252" fmla="*/ 183696 h 973591"/>
                  <a:gd name="connsiteX253" fmla="*/ 6166067 w 9431564"/>
                  <a:gd name="connsiteY253" fmla="*/ 275545 h 973591"/>
                  <a:gd name="connsiteX254" fmla="*/ 6084272 w 9431564"/>
                  <a:gd name="connsiteY254" fmla="*/ 275545 h 973591"/>
                  <a:gd name="connsiteX255" fmla="*/ 5989893 w 9431564"/>
                  <a:gd name="connsiteY255" fmla="*/ 324531 h 973591"/>
                  <a:gd name="connsiteX256" fmla="*/ 5971017 w 9431564"/>
                  <a:gd name="connsiteY256" fmla="*/ 336777 h 973591"/>
                  <a:gd name="connsiteX257" fmla="*/ 5971017 w 9431564"/>
                  <a:gd name="connsiteY257" fmla="*/ 342900 h 973591"/>
                  <a:gd name="connsiteX258" fmla="*/ 6172359 w 9431564"/>
                  <a:gd name="connsiteY258" fmla="*/ 342900 h 973591"/>
                  <a:gd name="connsiteX259" fmla="*/ 6348532 w 9431564"/>
                  <a:gd name="connsiteY259" fmla="*/ 183696 h 973591"/>
                  <a:gd name="connsiteX260" fmla="*/ 6178651 w 9431564"/>
                  <a:gd name="connsiteY260" fmla="*/ 24493 h 973591"/>
                  <a:gd name="connsiteX261" fmla="*/ 5971017 w 9431564"/>
                  <a:gd name="connsiteY261" fmla="*/ 24493 h 973591"/>
                  <a:gd name="connsiteX262" fmla="*/ 5971017 w 9431564"/>
                  <a:gd name="connsiteY262" fmla="*/ 30616 h 973591"/>
                  <a:gd name="connsiteX263" fmla="*/ 5989893 w 9431564"/>
                  <a:gd name="connsiteY263" fmla="*/ 42863 h 973591"/>
                  <a:gd name="connsiteX264" fmla="*/ 6637960 w 9431564"/>
                  <a:gd name="connsiteY264" fmla="*/ 73479 h 973591"/>
                  <a:gd name="connsiteX265" fmla="*/ 6637960 w 9431564"/>
                  <a:gd name="connsiteY265" fmla="*/ 79602 h 973591"/>
                  <a:gd name="connsiteX266" fmla="*/ 6619084 w 9431564"/>
                  <a:gd name="connsiteY266" fmla="*/ 91848 h 973591"/>
                  <a:gd name="connsiteX267" fmla="*/ 6619084 w 9431564"/>
                  <a:gd name="connsiteY267" fmla="*/ 324531 h 973591"/>
                  <a:gd name="connsiteX268" fmla="*/ 6637960 w 9431564"/>
                  <a:gd name="connsiteY268" fmla="*/ 336777 h 973591"/>
                  <a:gd name="connsiteX269" fmla="*/ 6637960 w 9431564"/>
                  <a:gd name="connsiteY269" fmla="*/ 342900 h 973591"/>
                  <a:gd name="connsiteX270" fmla="*/ 6512122 w 9431564"/>
                  <a:gd name="connsiteY270" fmla="*/ 342900 h 973591"/>
                  <a:gd name="connsiteX271" fmla="*/ 6512122 w 9431564"/>
                  <a:gd name="connsiteY271" fmla="*/ 336777 h 973591"/>
                  <a:gd name="connsiteX272" fmla="*/ 6530997 w 9431564"/>
                  <a:gd name="connsiteY272" fmla="*/ 324531 h 973591"/>
                  <a:gd name="connsiteX273" fmla="*/ 6530997 w 9431564"/>
                  <a:gd name="connsiteY273" fmla="*/ 91848 h 973591"/>
                  <a:gd name="connsiteX274" fmla="*/ 6512122 w 9431564"/>
                  <a:gd name="connsiteY274" fmla="*/ 79602 h 973591"/>
                  <a:gd name="connsiteX275" fmla="*/ 6512122 w 9431564"/>
                  <a:gd name="connsiteY275" fmla="*/ 73479 h 973591"/>
                  <a:gd name="connsiteX276" fmla="*/ 6820425 w 9431564"/>
                  <a:gd name="connsiteY276" fmla="*/ 251052 h 973591"/>
                  <a:gd name="connsiteX277" fmla="*/ 6826717 w 9431564"/>
                  <a:gd name="connsiteY277" fmla="*/ 257175 h 973591"/>
                  <a:gd name="connsiteX278" fmla="*/ 6826717 w 9431564"/>
                  <a:gd name="connsiteY278" fmla="*/ 263298 h 973591"/>
                  <a:gd name="connsiteX279" fmla="*/ 6952555 w 9431564"/>
                  <a:gd name="connsiteY279" fmla="*/ 293914 h 973591"/>
                  <a:gd name="connsiteX280" fmla="*/ 7009182 w 9431564"/>
                  <a:gd name="connsiteY280" fmla="*/ 269422 h 973591"/>
                  <a:gd name="connsiteX281" fmla="*/ 6801549 w 9431564"/>
                  <a:gd name="connsiteY281" fmla="*/ 165327 h 973591"/>
                  <a:gd name="connsiteX282" fmla="*/ 6939971 w 9431564"/>
                  <a:gd name="connsiteY282" fmla="*/ 73479 h 973591"/>
                  <a:gd name="connsiteX283" fmla="*/ 7065809 w 9431564"/>
                  <a:gd name="connsiteY283" fmla="*/ 91848 h 973591"/>
                  <a:gd name="connsiteX284" fmla="*/ 7078393 w 9431564"/>
                  <a:gd name="connsiteY284" fmla="*/ 85725 h 973591"/>
                  <a:gd name="connsiteX285" fmla="*/ 7084685 w 9431564"/>
                  <a:gd name="connsiteY285" fmla="*/ 85725 h 973591"/>
                  <a:gd name="connsiteX286" fmla="*/ 7046934 w 9431564"/>
                  <a:gd name="connsiteY286" fmla="*/ 165327 h 973591"/>
                  <a:gd name="connsiteX287" fmla="*/ 7040641 w 9431564"/>
                  <a:gd name="connsiteY287" fmla="*/ 159203 h 973591"/>
                  <a:gd name="connsiteX288" fmla="*/ 7040641 w 9431564"/>
                  <a:gd name="connsiteY288" fmla="*/ 153080 h 973591"/>
                  <a:gd name="connsiteX289" fmla="*/ 6952555 w 9431564"/>
                  <a:gd name="connsiteY289" fmla="*/ 128587 h 973591"/>
                  <a:gd name="connsiteX290" fmla="*/ 6883344 w 9431564"/>
                  <a:gd name="connsiteY290" fmla="*/ 153080 h 973591"/>
                  <a:gd name="connsiteX291" fmla="*/ 7090977 w 9431564"/>
                  <a:gd name="connsiteY291" fmla="*/ 257175 h 973591"/>
                  <a:gd name="connsiteX292" fmla="*/ 6952555 w 9431564"/>
                  <a:gd name="connsiteY292" fmla="*/ 349024 h 973591"/>
                  <a:gd name="connsiteX293" fmla="*/ 6814133 w 9431564"/>
                  <a:gd name="connsiteY293" fmla="*/ 324531 h 973591"/>
                  <a:gd name="connsiteX294" fmla="*/ 6801549 w 9431564"/>
                  <a:gd name="connsiteY294" fmla="*/ 330654 h 973591"/>
                  <a:gd name="connsiteX295" fmla="*/ 6795257 w 9431564"/>
                  <a:gd name="connsiteY295" fmla="*/ 330654 h 973591"/>
                  <a:gd name="connsiteX296" fmla="*/ 7537702 w 9431564"/>
                  <a:gd name="connsiteY296" fmla="*/ 287791 h 973591"/>
                  <a:gd name="connsiteX297" fmla="*/ 7556578 w 9431564"/>
                  <a:gd name="connsiteY297" fmla="*/ 269422 h 973591"/>
                  <a:gd name="connsiteX298" fmla="*/ 7562870 w 9431564"/>
                  <a:gd name="connsiteY298" fmla="*/ 269422 h 973591"/>
                  <a:gd name="connsiteX299" fmla="*/ 7562870 w 9431564"/>
                  <a:gd name="connsiteY299" fmla="*/ 349024 h 973591"/>
                  <a:gd name="connsiteX300" fmla="*/ 7556578 w 9431564"/>
                  <a:gd name="connsiteY300" fmla="*/ 349024 h 973591"/>
                  <a:gd name="connsiteX301" fmla="*/ 7537702 w 9431564"/>
                  <a:gd name="connsiteY301" fmla="*/ 336777 h 973591"/>
                  <a:gd name="connsiteX302" fmla="*/ 7254566 w 9431564"/>
                  <a:gd name="connsiteY302" fmla="*/ 336777 h 973591"/>
                  <a:gd name="connsiteX303" fmla="*/ 7254566 w 9431564"/>
                  <a:gd name="connsiteY303" fmla="*/ 330654 h 973591"/>
                  <a:gd name="connsiteX304" fmla="*/ 7273442 w 9431564"/>
                  <a:gd name="connsiteY304" fmla="*/ 318407 h 973591"/>
                  <a:gd name="connsiteX305" fmla="*/ 7273442 w 9431564"/>
                  <a:gd name="connsiteY305" fmla="*/ 85725 h 973591"/>
                  <a:gd name="connsiteX306" fmla="*/ 7254566 w 9431564"/>
                  <a:gd name="connsiteY306" fmla="*/ 73479 h 973591"/>
                  <a:gd name="connsiteX307" fmla="*/ 7254566 w 9431564"/>
                  <a:gd name="connsiteY307" fmla="*/ 67355 h 973591"/>
                  <a:gd name="connsiteX308" fmla="*/ 7543994 w 9431564"/>
                  <a:gd name="connsiteY308" fmla="*/ 67355 h 973591"/>
                  <a:gd name="connsiteX309" fmla="*/ 7556578 w 9431564"/>
                  <a:gd name="connsiteY309" fmla="*/ 55109 h 973591"/>
                  <a:gd name="connsiteX310" fmla="*/ 7562870 w 9431564"/>
                  <a:gd name="connsiteY310" fmla="*/ 55109 h 973591"/>
                  <a:gd name="connsiteX311" fmla="*/ 7562870 w 9431564"/>
                  <a:gd name="connsiteY311" fmla="*/ 134711 h 973591"/>
                  <a:gd name="connsiteX312" fmla="*/ 7556578 w 9431564"/>
                  <a:gd name="connsiteY312" fmla="*/ 134711 h 973591"/>
                  <a:gd name="connsiteX313" fmla="*/ 7543994 w 9431564"/>
                  <a:gd name="connsiteY313" fmla="*/ 122464 h 973591"/>
                  <a:gd name="connsiteX314" fmla="*/ 7361529 w 9431564"/>
                  <a:gd name="connsiteY314" fmla="*/ 122464 h 973591"/>
                  <a:gd name="connsiteX315" fmla="*/ 7361529 w 9431564"/>
                  <a:gd name="connsiteY315" fmla="*/ 171450 h 973591"/>
                  <a:gd name="connsiteX316" fmla="*/ 7481075 w 9431564"/>
                  <a:gd name="connsiteY316" fmla="*/ 171450 h 973591"/>
                  <a:gd name="connsiteX317" fmla="*/ 7493659 w 9431564"/>
                  <a:gd name="connsiteY317" fmla="*/ 159203 h 973591"/>
                  <a:gd name="connsiteX318" fmla="*/ 7499951 w 9431564"/>
                  <a:gd name="connsiteY318" fmla="*/ 159203 h 973591"/>
                  <a:gd name="connsiteX319" fmla="*/ 7499951 w 9431564"/>
                  <a:gd name="connsiteY319" fmla="*/ 238805 h 973591"/>
                  <a:gd name="connsiteX320" fmla="*/ 7493659 w 9431564"/>
                  <a:gd name="connsiteY320" fmla="*/ 238805 h 973591"/>
                  <a:gd name="connsiteX321" fmla="*/ 7481075 w 9431564"/>
                  <a:gd name="connsiteY321" fmla="*/ 226559 h 973591"/>
                  <a:gd name="connsiteX322" fmla="*/ 7361529 w 9431564"/>
                  <a:gd name="connsiteY322" fmla="*/ 226559 h 973591"/>
                  <a:gd name="connsiteX323" fmla="*/ 7361529 w 9431564"/>
                  <a:gd name="connsiteY323" fmla="*/ 287791 h 973591"/>
                  <a:gd name="connsiteX324" fmla="*/ 7852297 w 9431564"/>
                  <a:gd name="connsiteY324" fmla="*/ 244929 h 973591"/>
                  <a:gd name="connsiteX325" fmla="*/ 7902632 w 9431564"/>
                  <a:gd name="connsiteY325" fmla="*/ 134711 h 973591"/>
                  <a:gd name="connsiteX326" fmla="*/ 7952967 w 9431564"/>
                  <a:gd name="connsiteY326" fmla="*/ 244929 h 973591"/>
                  <a:gd name="connsiteX327" fmla="*/ 8091389 w 9431564"/>
                  <a:gd name="connsiteY327" fmla="*/ 342900 h 973591"/>
                  <a:gd name="connsiteX328" fmla="*/ 8091389 w 9431564"/>
                  <a:gd name="connsiteY328" fmla="*/ 336777 h 973591"/>
                  <a:gd name="connsiteX329" fmla="*/ 8078806 w 9431564"/>
                  <a:gd name="connsiteY329" fmla="*/ 330654 h 973591"/>
                  <a:gd name="connsiteX330" fmla="*/ 7959260 w 9431564"/>
                  <a:gd name="connsiteY330" fmla="*/ 85725 h 973591"/>
                  <a:gd name="connsiteX331" fmla="*/ 7965552 w 9431564"/>
                  <a:gd name="connsiteY331" fmla="*/ 79602 h 973591"/>
                  <a:gd name="connsiteX332" fmla="*/ 7965552 w 9431564"/>
                  <a:gd name="connsiteY332" fmla="*/ 73479 h 973591"/>
                  <a:gd name="connsiteX333" fmla="*/ 7833422 w 9431564"/>
                  <a:gd name="connsiteY333" fmla="*/ 73479 h 973591"/>
                  <a:gd name="connsiteX334" fmla="*/ 7833422 w 9431564"/>
                  <a:gd name="connsiteY334" fmla="*/ 79602 h 973591"/>
                  <a:gd name="connsiteX335" fmla="*/ 7839713 w 9431564"/>
                  <a:gd name="connsiteY335" fmla="*/ 85725 h 973591"/>
                  <a:gd name="connsiteX336" fmla="*/ 7732751 w 9431564"/>
                  <a:gd name="connsiteY336" fmla="*/ 330654 h 973591"/>
                  <a:gd name="connsiteX337" fmla="*/ 7720167 w 9431564"/>
                  <a:gd name="connsiteY337" fmla="*/ 336777 h 973591"/>
                  <a:gd name="connsiteX338" fmla="*/ 7720167 w 9431564"/>
                  <a:gd name="connsiteY338" fmla="*/ 342900 h 973591"/>
                  <a:gd name="connsiteX339" fmla="*/ 7814546 w 9431564"/>
                  <a:gd name="connsiteY339" fmla="*/ 342900 h 973591"/>
                  <a:gd name="connsiteX340" fmla="*/ 7814546 w 9431564"/>
                  <a:gd name="connsiteY340" fmla="*/ 336777 h 973591"/>
                  <a:gd name="connsiteX341" fmla="*/ 7808254 w 9431564"/>
                  <a:gd name="connsiteY341" fmla="*/ 330654 h 973591"/>
                  <a:gd name="connsiteX342" fmla="*/ 7827129 w 9431564"/>
                  <a:gd name="connsiteY342" fmla="*/ 287791 h 973591"/>
                  <a:gd name="connsiteX343" fmla="*/ 7971843 w 9431564"/>
                  <a:gd name="connsiteY343" fmla="*/ 287791 h 973591"/>
                  <a:gd name="connsiteX344" fmla="*/ 7990719 w 9431564"/>
                  <a:gd name="connsiteY344" fmla="*/ 330654 h 973591"/>
                  <a:gd name="connsiteX345" fmla="*/ 7984427 w 9431564"/>
                  <a:gd name="connsiteY345" fmla="*/ 336777 h 973591"/>
                  <a:gd name="connsiteX346" fmla="*/ 7984427 w 9431564"/>
                  <a:gd name="connsiteY346" fmla="*/ 342900 h 973591"/>
                  <a:gd name="connsiteX347" fmla="*/ 8267563 w 9431564"/>
                  <a:gd name="connsiteY347" fmla="*/ 251052 h 973591"/>
                  <a:gd name="connsiteX348" fmla="*/ 8273855 w 9431564"/>
                  <a:gd name="connsiteY348" fmla="*/ 257175 h 973591"/>
                  <a:gd name="connsiteX349" fmla="*/ 8273855 w 9431564"/>
                  <a:gd name="connsiteY349" fmla="*/ 263298 h 973591"/>
                  <a:gd name="connsiteX350" fmla="*/ 8399693 w 9431564"/>
                  <a:gd name="connsiteY350" fmla="*/ 293914 h 973591"/>
                  <a:gd name="connsiteX351" fmla="*/ 8456320 w 9431564"/>
                  <a:gd name="connsiteY351" fmla="*/ 269422 h 973591"/>
                  <a:gd name="connsiteX352" fmla="*/ 8248687 w 9431564"/>
                  <a:gd name="connsiteY352" fmla="*/ 165327 h 973591"/>
                  <a:gd name="connsiteX353" fmla="*/ 8387109 w 9431564"/>
                  <a:gd name="connsiteY353" fmla="*/ 73479 h 973591"/>
                  <a:gd name="connsiteX354" fmla="*/ 8512947 w 9431564"/>
                  <a:gd name="connsiteY354" fmla="*/ 91848 h 973591"/>
                  <a:gd name="connsiteX355" fmla="*/ 8525531 w 9431564"/>
                  <a:gd name="connsiteY355" fmla="*/ 85725 h 973591"/>
                  <a:gd name="connsiteX356" fmla="*/ 8531822 w 9431564"/>
                  <a:gd name="connsiteY356" fmla="*/ 85725 h 973591"/>
                  <a:gd name="connsiteX357" fmla="*/ 8494071 w 9431564"/>
                  <a:gd name="connsiteY357" fmla="*/ 165327 h 973591"/>
                  <a:gd name="connsiteX358" fmla="*/ 8487779 w 9431564"/>
                  <a:gd name="connsiteY358" fmla="*/ 159203 h 973591"/>
                  <a:gd name="connsiteX359" fmla="*/ 8487779 w 9431564"/>
                  <a:gd name="connsiteY359" fmla="*/ 153080 h 973591"/>
                  <a:gd name="connsiteX360" fmla="*/ 8399693 w 9431564"/>
                  <a:gd name="connsiteY360" fmla="*/ 128587 h 973591"/>
                  <a:gd name="connsiteX361" fmla="*/ 8330482 w 9431564"/>
                  <a:gd name="connsiteY361" fmla="*/ 153080 h 973591"/>
                  <a:gd name="connsiteX362" fmla="*/ 8538115 w 9431564"/>
                  <a:gd name="connsiteY362" fmla="*/ 257175 h 973591"/>
                  <a:gd name="connsiteX363" fmla="*/ 8399693 w 9431564"/>
                  <a:gd name="connsiteY363" fmla="*/ 349024 h 973591"/>
                  <a:gd name="connsiteX364" fmla="*/ 8261271 w 9431564"/>
                  <a:gd name="connsiteY364" fmla="*/ 324531 h 973591"/>
                  <a:gd name="connsiteX365" fmla="*/ 8248687 w 9431564"/>
                  <a:gd name="connsiteY365" fmla="*/ 330654 h 973591"/>
                  <a:gd name="connsiteX366" fmla="*/ 8242395 w 9431564"/>
                  <a:gd name="connsiteY366" fmla="*/ 330654 h 973591"/>
                  <a:gd name="connsiteX367" fmla="*/ 8978548 w 9431564"/>
                  <a:gd name="connsiteY367" fmla="*/ 287791 h 973591"/>
                  <a:gd name="connsiteX368" fmla="*/ 8997424 w 9431564"/>
                  <a:gd name="connsiteY368" fmla="*/ 269422 h 973591"/>
                  <a:gd name="connsiteX369" fmla="*/ 9003715 w 9431564"/>
                  <a:gd name="connsiteY369" fmla="*/ 269422 h 973591"/>
                  <a:gd name="connsiteX370" fmla="*/ 9003715 w 9431564"/>
                  <a:gd name="connsiteY370" fmla="*/ 349024 h 973591"/>
                  <a:gd name="connsiteX371" fmla="*/ 8997424 w 9431564"/>
                  <a:gd name="connsiteY371" fmla="*/ 349024 h 973591"/>
                  <a:gd name="connsiteX372" fmla="*/ 8978548 w 9431564"/>
                  <a:gd name="connsiteY372" fmla="*/ 336777 h 973591"/>
                  <a:gd name="connsiteX373" fmla="*/ 8695412 w 9431564"/>
                  <a:gd name="connsiteY373" fmla="*/ 336777 h 973591"/>
                  <a:gd name="connsiteX374" fmla="*/ 8695412 w 9431564"/>
                  <a:gd name="connsiteY374" fmla="*/ 330654 h 973591"/>
                  <a:gd name="connsiteX375" fmla="*/ 8714288 w 9431564"/>
                  <a:gd name="connsiteY375" fmla="*/ 318407 h 973591"/>
                  <a:gd name="connsiteX376" fmla="*/ 8714288 w 9431564"/>
                  <a:gd name="connsiteY376" fmla="*/ 85725 h 973591"/>
                  <a:gd name="connsiteX377" fmla="*/ 8695412 w 9431564"/>
                  <a:gd name="connsiteY377" fmla="*/ 73479 h 973591"/>
                  <a:gd name="connsiteX378" fmla="*/ 8695412 w 9431564"/>
                  <a:gd name="connsiteY378" fmla="*/ 67355 h 973591"/>
                  <a:gd name="connsiteX379" fmla="*/ 8984840 w 9431564"/>
                  <a:gd name="connsiteY379" fmla="*/ 67355 h 973591"/>
                  <a:gd name="connsiteX380" fmla="*/ 8997424 w 9431564"/>
                  <a:gd name="connsiteY380" fmla="*/ 55109 h 973591"/>
                  <a:gd name="connsiteX381" fmla="*/ 9003715 w 9431564"/>
                  <a:gd name="connsiteY381" fmla="*/ 55109 h 973591"/>
                  <a:gd name="connsiteX382" fmla="*/ 9003715 w 9431564"/>
                  <a:gd name="connsiteY382" fmla="*/ 134711 h 973591"/>
                  <a:gd name="connsiteX383" fmla="*/ 8997424 w 9431564"/>
                  <a:gd name="connsiteY383" fmla="*/ 134711 h 973591"/>
                  <a:gd name="connsiteX384" fmla="*/ 8984840 w 9431564"/>
                  <a:gd name="connsiteY384" fmla="*/ 122464 h 973591"/>
                  <a:gd name="connsiteX385" fmla="*/ 8802374 w 9431564"/>
                  <a:gd name="connsiteY385" fmla="*/ 122464 h 973591"/>
                  <a:gd name="connsiteX386" fmla="*/ 8802374 w 9431564"/>
                  <a:gd name="connsiteY386" fmla="*/ 171450 h 973591"/>
                  <a:gd name="connsiteX387" fmla="*/ 8921921 w 9431564"/>
                  <a:gd name="connsiteY387" fmla="*/ 171450 h 973591"/>
                  <a:gd name="connsiteX388" fmla="*/ 8934505 w 9431564"/>
                  <a:gd name="connsiteY388" fmla="*/ 159203 h 973591"/>
                  <a:gd name="connsiteX389" fmla="*/ 8940796 w 9431564"/>
                  <a:gd name="connsiteY389" fmla="*/ 159203 h 973591"/>
                  <a:gd name="connsiteX390" fmla="*/ 8940796 w 9431564"/>
                  <a:gd name="connsiteY390" fmla="*/ 238805 h 973591"/>
                  <a:gd name="connsiteX391" fmla="*/ 8934505 w 9431564"/>
                  <a:gd name="connsiteY391" fmla="*/ 238805 h 973591"/>
                  <a:gd name="connsiteX392" fmla="*/ 8921921 w 9431564"/>
                  <a:gd name="connsiteY392" fmla="*/ 226559 h 973591"/>
                  <a:gd name="connsiteX393" fmla="*/ 8802374 w 9431564"/>
                  <a:gd name="connsiteY393" fmla="*/ 226559 h 973591"/>
                  <a:gd name="connsiteX394" fmla="*/ 8802374 w 9431564"/>
                  <a:gd name="connsiteY394" fmla="*/ 287791 h 973591"/>
                  <a:gd name="connsiteX395" fmla="*/ 320887 w 9431564"/>
                  <a:gd name="connsiteY395" fmla="*/ 753156 h 973591"/>
                  <a:gd name="connsiteX396" fmla="*/ 314595 w 9431564"/>
                  <a:gd name="connsiteY396" fmla="*/ 747032 h 973591"/>
                  <a:gd name="connsiteX397" fmla="*/ 314595 w 9431564"/>
                  <a:gd name="connsiteY397" fmla="*/ 734786 h 973591"/>
                  <a:gd name="connsiteX398" fmla="*/ 213925 w 9431564"/>
                  <a:gd name="connsiteY398" fmla="*/ 704170 h 973591"/>
                  <a:gd name="connsiteX399" fmla="*/ 94379 w 9431564"/>
                  <a:gd name="connsiteY399" fmla="*/ 789895 h 973591"/>
                  <a:gd name="connsiteX400" fmla="*/ 213925 w 9431564"/>
                  <a:gd name="connsiteY400" fmla="*/ 875620 h 973591"/>
                  <a:gd name="connsiteX401" fmla="*/ 320887 w 9431564"/>
                  <a:gd name="connsiteY401" fmla="*/ 838881 h 973591"/>
                  <a:gd name="connsiteX402" fmla="*/ 314595 w 9431564"/>
                  <a:gd name="connsiteY402" fmla="*/ 826634 h 973591"/>
                  <a:gd name="connsiteX403" fmla="*/ 320887 w 9431564"/>
                  <a:gd name="connsiteY403" fmla="*/ 820511 h 973591"/>
                  <a:gd name="connsiteX404" fmla="*/ 383806 w 9431564"/>
                  <a:gd name="connsiteY404" fmla="*/ 918482 h 973591"/>
                  <a:gd name="connsiteX405" fmla="*/ 377514 w 9431564"/>
                  <a:gd name="connsiteY405" fmla="*/ 924605 h 973591"/>
                  <a:gd name="connsiteX406" fmla="*/ 371222 w 9431564"/>
                  <a:gd name="connsiteY406" fmla="*/ 918482 h 973591"/>
                  <a:gd name="connsiteX407" fmla="*/ 207633 w 9431564"/>
                  <a:gd name="connsiteY407" fmla="*/ 949098 h 973591"/>
                  <a:gd name="connsiteX408" fmla="*/ 0 w 9431564"/>
                  <a:gd name="connsiteY408" fmla="*/ 783772 h 973591"/>
                  <a:gd name="connsiteX409" fmla="*/ 207633 w 9431564"/>
                  <a:gd name="connsiteY409" fmla="*/ 618445 h 973591"/>
                  <a:gd name="connsiteX410" fmla="*/ 320887 w 9431564"/>
                  <a:gd name="connsiteY410" fmla="*/ 630691 h 973591"/>
                  <a:gd name="connsiteX411" fmla="*/ 364930 w 9431564"/>
                  <a:gd name="connsiteY411" fmla="*/ 642938 h 973591"/>
                  <a:gd name="connsiteX412" fmla="*/ 377514 w 9431564"/>
                  <a:gd name="connsiteY412" fmla="*/ 636814 h 973591"/>
                  <a:gd name="connsiteX413" fmla="*/ 383806 w 9431564"/>
                  <a:gd name="connsiteY413" fmla="*/ 636814 h 973591"/>
                  <a:gd name="connsiteX414" fmla="*/ 654358 w 9431564"/>
                  <a:gd name="connsiteY414" fmla="*/ 753156 h 973591"/>
                  <a:gd name="connsiteX415" fmla="*/ 742445 w 9431564"/>
                  <a:gd name="connsiteY415" fmla="*/ 826634 h 973591"/>
                  <a:gd name="connsiteX416" fmla="*/ 654358 w 9431564"/>
                  <a:gd name="connsiteY416" fmla="*/ 900113 h 973591"/>
                  <a:gd name="connsiteX417" fmla="*/ 566271 w 9431564"/>
                  <a:gd name="connsiteY417" fmla="*/ 826634 h 973591"/>
                  <a:gd name="connsiteX418" fmla="*/ 654358 w 9431564"/>
                  <a:gd name="connsiteY418" fmla="*/ 753156 h 973591"/>
                  <a:gd name="connsiteX419" fmla="*/ 654358 w 9431564"/>
                  <a:gd name="connsiteY419" fmla="*/ 685800 h 973591"/>
                  <a:gd name="connsiteX420" fmla="*/ 484477 w 9431564"/>
                  <a:gd name="connsiteY420" fmla="*/ 826634 h 973591"/>
                  <a:gd name="connsiteX421" fmla="*/ 654358 w 9431564"/>
                  <a:gd name="connsiteY421" fmla="*/ 967468 h 973591"/>
                  <a:gd name="connsiteX422" fmla="*/ 824240 w 9431564"/>
                  <a:gd name="connsiteY422" fmla="*/ 826634 h 973591"/>
                  <a:gd name="connsiteX423" fmla="*/ 654358 w 9431564"/>
                  <a:gd name="connsiteY423" fmla="*/ 685800 h 973591"/>
                  <a:gd name="connsiteX424" fmla="*/ 1264673 w 9431564"/>
                  <a:gd name="connsiteY424" fmla="*/ 942975 h 973591"/>
                  <a:gd name="connsiteX425" fmla="*/ 1283549 w 9431564"/>
                  <a:gd name="connsiteY425" fmla="*/ 955221 h 973591"/>
                  <a:gd name="connsiteX426" fmla="*/ 1283549 w 9431564"/>
                  <a:gd name="connsiteY426" fmla="*/ 961345 h 973591"/>
                  <a:gd name="connsiteX427" fmla="*/ 1164002 w 9431564"/>
                  <a:gd name="connsiteY427" fmla="*/ 961345 h 973591"/>
                  <a:gd name="connsiteX428" fmla="*/ 1164002 w 9431564"/>
                  <a:gd name="connsiteY428" fmla="*/ 955221 h 973591"/>
                  <a:gd name="connsiteX429" fmla="*/ 1182878 w 9431564"/>
                  <a:gd name="connsiteY429" fmla="*/ 949098 h 973591"/>
                  <a:gd name="connsiteX430" fmla="*/ 1031872 w 9431564"/>
                  <a:gd name="connsiteY430" fmla="*/ 783772 h 973591"/>
                  <a:gd name="connsiteX431" fmla="*/ 1031872 w 9431564"/>
                  <a:gd name="connsiteY431" fmla="*/ 942975 h 973591"/>
                  <a:gd name="connsiteX432" fmla="*/ 1050748 w 9431564"/>
                  <a:gd name="connsiteY432" fmla="*/ 955221 h 973591"/>
                  <a:gd name="connsiteX433" fmla="*/ 1050748 w 9431564"/>
                  <a:gd name="connsiteY433" fmla="*/ 961345 h 973591"/>
                  <a:gd name="connsiteX434" fmla="*/ 943786 w 9431564"/>
                  <a:gd name="connsiteY434" fmla="*/ 961345 h 973591"/>
                  <a:gd name="connsiteX435" fmla="*/ 943786 w 9431564"/>
                  <a:gd name="connsiteY435" fmla="*/ 955221 h 973591"/>
                  <a:gd name="connsiteX436" fmla="*/ 962661 w 9431564"/>
                  <a:gd name="connsiteY436" fmla="*/ 942975 h 973591"/>
                  <a:gd name="connsiteX437" fmla="*/ 962661 w 9431564"/>
                  <a:gd name="connsiteY437" fmla="*/ 710293 h 973591"/>
                  <a:gd name="connsiteX438" fmla="*/ 943786 w 9431564"/>
                  <a:gd name="connsiteY438" fmla="*/ 698047 h 973591"/>
                  <a:gd name="connsiteX439" fmla="*/ 943786 w 9431564"/>
                  <a:gd name="connsiteY439" fmla="*/ 691923 h 973591"/>
                  <a:gd name="connsiteX440" fmla="*/ 1094792 w 9431564"/>
                  <a:gd name="connsiteY440" fmla="*/ 691923 h 973591"/>
                  <a:gd name="connsiteX441" fmla="*/ 1094792 w 9431564"/>
                  <a:gd name="connsiteY441" fmla="*/ 698047 h 973591"/>
                  <a:gd name="connsiteX442" fmla="*/ 1082208 w 9431564"/>
                  <a:gd name="connsiteY442" fmla="*/ 710293 h 973591"/>
                  <a:gd name="connsiteX443" fmla="*/ 1195462 w 9431564"/>
                  <a:gd name="connsiteY443" fmla="*/ 832757 h 973591"/>
                  <a:gd name="connsiteX444" fmla="*/ 1195462 w 9431564"/>
                  <a:gd name="connsiteY444" fmla="*/ 710293 h 973591"/>
                  <a:gd name="connsiteX445" fmla="*/ 1176586 w 9431564"/>
                  <a:gd name="connsiteY445" fmla="*/ 698047 h 973591"/>
                  <a:gd name="connsiteX446" fmla="*/ 1176586 w 9431564"/>
                  <a:gd name="connsiteY446" fmla="*/ 691923 h 973591"/>
                  <a:gd name="connsiteX447" fmla="*/ 1289840 w 9431564"/>
                  <a:gd name="connsiteY447" fmla="*/ 691923 h 973591"/>
                  <a:gd name="connsiteX448" fmla="*/ 1289840 w 9431564"/>
                  <a:gd name="connsiteY448" fmla="*/ 698047 h 973591"/>
                  <a:gd name="connsiteX449" fmla="*/ 1270965 w 9431564"/>
                  <a:gd name="connsiteY449" fmla="*/ 710293 h 973591"/>
                  <a:gd name="connsiteX450" fmla="*/ 1270965 w 9431564"/>
                  <a:gd name="connsiteY450" fmla="*/ 942975 h 973591"/>
                  <a:gd name="connsiteX451" fmla="*/ 1673647 w 9431564"/>
                  <a:gd name="connsiteY451" fmla="*/ 685800 h 973591"/>
                  <a:gd name="connsiteX452" fmla="*/ 1686231 w 9431564"/>
                  <a:gd name="connsiteY452" fmla="*/ 673554 h 973591"/>
                  <a:gd name="connsiteX453" fmla="*/ 1692522 w 9431564"/>
                  <a:gd name="connsiteY453" fmla="*/ 673554 h 973591"/>
                  <a:gd name="connsiteX454" fmla="*/ 1692522 w 9431564"/>
                  <a:gd name="connsiteY454" fmla="*/ 765402 h 973591"/>
                  <a:gd name="connsiteX455" fmla="*/ 1686231 w 9431564"/>
                  <a:gd name="connsiteY455" fmla="*/ 765402 h 973591"/>
                  <a:gd name="connsiteX456" fmla="*/ 1673647 w 9431564"/>
                  <a:gd name="connsiteY456" fmla="*/ 753156 h 973591"/>
                  <a:gd name="connsiteX457" fmla="*/ 1585560 w 9431564"/>
                  <a:gd name="connsiteY457" fmla="*/ 753156 h 973591"/>
                  <a:gd name="connsiteX458" fmla="*/ 1585560 w 9431564"/>
                  <a:gd name="connsiteY458" fmla="*/ 942975 h 973591"/>
                  <a:gd name="connsiteX459" fmla="*/ 1598144 w 9431564"/>
                  <a:gd name="connsiteY459" fmla="*/ 955221 h 973591"/>
                  <a:gd name="connsiteX460" fmla="*/ 1598144 w 9431564"/>
                  <a:gd name="connsiteY460" fmla="*/ 961345 h 973591"/>
                  <a:gd name="connsiteX461" fmla="*/ 1484890 w 9431564"/>
                  <a:gd name="connsiteY461" fmla="*/ 961345 h 973591"/>
                  <a:gd name="connsiteX462" fmla="*/ 1484890 w 9431564"/>
                  <a:gd name="connsiteY462" fmla="*/ 955221 h 973591"/>
                  <a:gd name="connsiteX463" fmla="*/ 1497473 w 9431564"/>
                  <a:gd name="connsiteY463" fmla="*/ 942975 h 973591"/>
                  <a:gd name="connsiteX464" fmla="*/ 1497473 w 9431564"/>
                  <a:gd name="connsiteY464" fmla="*/ 753156 h 973591"/>
                  <a:gd name="connsiteX465" fmla="*/ 1409387 w 9431564"/>
                  <a:gd name="connsiteY465" fmla="*/ 753156 h 973591"/>
                  <a:gd name="connsiteX466" fmla="*/ 1396803 w 9431564"/>
                  <a:gd name="connsiteY466" fmla="*/ 765402 h 973591"/>
                  <a:gd name="connsiteX467" fmla="*/ 1390511 w 9431564"/>
                  <a:gd name="connsiteY467" fmla="*/ 765402 h 973591"/>
                  <a:gd name="connsiteX468" fmla="*/ 1390511 w 9431564"/>
                  <a:gd name="connsiteY468" fmla="*/ 673554 h 973591"/>
                  <a:gd name="connsiteX469" fmla="*/ 1396803 w 9431564"/>
                  <a:gd name="connsiteY469" fmla="*/ 673554 h 973591"/>
                  <a:gd name="connsiteX470" fmla="*/ 1409387 w 9431564"/>
                  <a:gd name="connsiteY470" fmla="*/ 685800 h 973591"/>
                  <a:gd name="connsiteX471" fmla="*/ 1906447 w 9431564"/>
                  <a:gd name="connsiteY471" fmla="*/ 740909 h 973591"/>
                  <a:gd name="connsiteX472" fmla="*/ 1994534 w 9431564"/>
                  <a:gd name="connsiteY472" fmla="*/ 740909 h 973591"/>
                  <a:gd name="connsiteX473" fmla="*/ 2044869 w 9431564"/>
                  <a:gd name="connsiteY473" fmla="*/ 771525 h 973591"/>
                  <a:gd name="connsiteX474" fmla="*/ 2000826 w 9431564"/>
                  <a:gd name="connsiteY474" fmla="*/ 802141 h 973591"/>
                  <a:gd name="connsiteX475" fmla="*/ 1912739 w 9431564"/>
                  <a:gd name="connsiteY475" fmla="*/ 802141 h 973591"/>
                  <a:gd name="connsiteX476" fmla="*/ 1912739 w 9431564"/>
                  <a:gd name="connsiteY476" fmla="*/ 740909 h 973591"/>
                  <a:gd name="connsiteX477" fmla="*/ 1824652 w 9431564"/>
                  <a:gd name="connsiteY477" fmla="*/ 942975 h 973591"/>
                  <a:gd name="connsiteX478" fmla="*/ 1812069 w 9431564"/>
                  <a:gd name="connsiteY478" fmla="*/ 955221 h 973591"/>
                  <a:gd name="connsiteX479" fmla="*/ 1812069 w 9431564"/>
                  <a:gd name="connsiteY479" fmla="*/ 961345 h 973591"/>
                  <a:gd name="connsiteX480" fmla="*/ 1919031 w 9431564"/>
                  <a:gd name="connsiteY480" fmla="*/ 961345 h 973591"/>
                  <a:gd name="connsiteX481" fmla="*/ 1919031 w 9431564"/>
                  <a:gd name="connsiteY481" fmla="*/ 955221 h 973591"/>
                  <a:gd name="connsiteX482" fmla="*/ 1900155 w 9431564"/>
                  <a:gd name="connsiteY482" fmla="*/ 942975 h 973591"/>
                  <a:gd name="connsiteX483" fmla="*/ 1900155 w 9431564"/>
                  <a:gd name="connsiteY483" fmla="*/ 863373 h 973591"/>
                  <a:gd name="connsiteX484" fmla="*/ 1963074 w 9431564"/>
                  <a:gd name="connsiteY484" fmla="*/ 863373 h 973591"/>
                  <a:gd name="connsiteX485" fmla="*/ 2013409 w 9431564"/>
                  <a:gd name="connsiteY485" fmla="*/ 949098 h 973591"/>
                  <a:gd name="connsiteX486" fmla="*/ 2000826 w 9431564"/>
                  <a:gd name="connsiteY486" fmla="*/ 955221 h 973591"/>
                  <a:gd name="connsiteX487" fmla="*/ 2000826 w 9431564"/>
                  <a:gd name="connsiteY487" fmla="*/ 961345 h 973591"/>
                  <a:gd name="connsiteX488" fmla="*/ 2126664 w 9431564"/>
                  <a:gd name="connsiteY488" fmla="*/ 961345 h 973591"/>
                  <a:gd name="connsiteX489" fmla="*/ 2126664 w 9431564"/>
                  <a:gd name="connsiteY489" fmla="*/ 955221 h 973591"/>
                  <a:gd name="connsiteX490" fmla="*/ 2101496 w 9431564"/>
                  <a:gd name="connsiteY490" fmla="*/ 942975 h 973591"/>
                  <a:gd name="connsiteX491" fmla="*/ 2044869 w 9431564"/>
                  <a:gd name="connsiteY491" fmla="*/ 863373 h 973591"/>
                  <a:gd name="connsiteX492" fmla="*/ 2114080 w 9431564"/>
                  <a:gd name="connsiteY492" fmla="*/ 777649 h 973591"/>
                  <a:gd name="connsiteX493" fmla="*/ 2013409 w 9431564"/>
                  <a:gd name="connsiteY493" fmla="*/ 691923 h 973591"/>
                  <a:gd name="connsiteX494" fmla="*/ 1812069 w 9431564"/>
                  <a:gd name="connsiteY494" fmla="*/ 691923 h 973591"/>
                  <a:gd name="connsiteX495" fmla="*/ 1812069 w 9431564"/>
                  <a:gd name="connsiteY495" fmla="*/ 698047 h 973591"/>
                  <a:gd name="connsiteX496" fmla="*/ 1824652 w 9431564"/>
                  <a:gd name="connsiteY496" fmla="*/ 710293 h 973591"/>
                  <a:gd name="connsiteX497" fmla="*/ 2397216 w 9431564"/>
                  <a:gd name="connsiteY497" fmla="*/ 753156 h 973591"/>
                  <a:gd name="connsiteX498" fmla="*/ 2485302 w 9431564"/>
                  <a:gd name="connsiteY498" fmla="*/ 826634 h 973591"/>
                  <a:gd name="connsiteX499" fmla="*/ 2397216 w 9431564"/>
                  <a:gd name="connsiteY499" fmla="*/ 900113 h 973591"/>
                  <a:gd name="connsiteX500" fmla="*/ 2309129 w 9431564"/>
                  <a:gd name="connsiteY500" fmla="*/ 826634 h 973591"/>
                  <a:gd name="connsiteX501" fmla="*/ 2397216 w 9431564"/>
                  <a:gd name="connsiteY501" fmla="*/ 753156 h 973591"/>
                  <a:gd name="connsiteX502" fmla="*/ 2397216 w 9431564"/>
                  <a:gd name="connsiteY502" fmla="*/ 685800 h 973591"/>
                  <a:gd name="connsiteX503" fmla="*/ 2227334 w 9431564"/>
                  <a:gd name="connsiteY503" fmla="*/ 826634 h 973591"/>
                  <a:gd name="connsiteX504" fmla="*/ 2397216 w 9431564"/>
                  <a:gd name="connsiteY504" fmla="*/ 967468 h 973591"/>
                  <a:gd name="connsiteX505" fmla="*/ 2567097 w 9431564"/>
                  <a:gd name="connsiteY505" fmla="*/ 826634 h 973591"/>
                  <a:gd name="connsiteX506" fmla="*/ 2397216 w 9431564"/>
                  <a:gd name="connsiteY506" fmla="*/ 685800 h 973591"/>
                  <a:gd name="connsiteX507" fmla="*/ 2692935 w 9431564"/>
                  <a:gd name="connsiteY507" fmla="*/ 710293 h 973591"/>
                  <a:gd name="connsiteX508" fmla="*/ 2674060 w 9431564"/>
                  <a:gd name="connsiteY508" fmla="*/ 698047 h 973591"/>
                  <a:gd name="connsiteX509" fmla="*/ 2674060 w 9431564"/>
                  <a:gd name="connsiteY509" fmla="*/ 691923 h 973591"/>
                  <a:gd name="connsiteX510" fmla="*/ 2793606 w 9431564"/>
                  <a:gd name="connsiteY510" fmla="*/ 691923 h 973591"/>
                  <a:gd name="connsiteX511" fmla="*/ 2793606 w 9431564"/>
                  <a:gd name="connsiteY511" fmla="*/ 698047 h 973591"/>
                  <a:gd name="connsiteX512" fmla="*/ 2774730 w 9431564"/>
                  <a:gd name="connsiteY512" fmla="*/ 710293 h 973591"/>
                  <a:gd name="connsiteX513" fmla="*/ 2774730 w 9431564"/>
                  <a:gd name="connsiteY513" fmla="*/ 900113 h 973591"/>
                  <a:gd name="connsiteX514" fmla="*/ 2950903 w 9431564"/>
                  <a:gd name="connsiteY514" fmla="*/ 900113 h 973591"/>
                  <a:gd name="connsiteX515" fmla="*/ 2963487 w 9431564"/>
                  <a:gd name="connsiteY515" fmla="*/ 881743 h 973591"/>
                  <a:gd name="connsiteX516" fmla="*/ 2969779 w 9431564"/>
                  <a:gd name="connsiteY516" fmla="*/ 881743 h 973591"/>
                  <a:gd name="connsiteX517" fmla="*/ 2969779 w 9431564"/>
                  <a:gd name="connsiteY517" fmla="*/ 973591 h 973591"/>
                  <a:gd name="connsiteX518" fmla="*/ 2963487 w 9431564"/>
                  <a:gd name="connsiteY518" fmla="*/ 973591 h 973591"/>
                  <a:gd name="connsiteX519" fmla="*/ 2950903 w 9431564"/>
                  <a:gd name="connsiteY519" fmla="*/ 961345 h 973591"/>
                  <a:gd name="connsiteX520" fmla="*/ 2674060 w 9431564"/>
                  <a:gd name="connsiteY520" fmla="*/ 961345 h 973591"/>
                  <a:gd name="connsiteX521" fmla="*/ 2674060 w 9431564"/>
                  <a:gd name="connsiteY521" fmla="*/ 955221 h 973591"/>
                  <a:gd name="connsiteX522" fmla="*/ 2692935 w 9431564"/>
                  <a:gd name="connsiteY522" fmla="*/ 942975 h 973591"/>
                  <a:gd name="connsiteX523" fmla="*/ 3429088 w 9431564"/>
                  <a:gd name="connsiteY523" fmla="*/ 863373 h 973591"/>
                  <a:gd name="connsiteX524" fmla="*/ 3479423 w 9431564"/>
                  <a:gd name="connsiteY524" fmla="*/ 753156 h 973591"/>
                  <a:gd name="connsiteX525" fmla="*/ 3529759 w 9431564"/>
                  <a:gd name="connsiteY525" fmla="*/ 863373 h 973591"/>
                  <a:gd name="connsiteX526" fmla="*/ 3668180 w 9431564"/>
                  <a:gd name="connsiteY526" fmla="*/ 961345 h 973591"/>
                  <a:gd name="connsiteX527" fmla="*/ 3668180 w 9431564"/>
                  <a:gd name="connsiteY527" fmla="*/ 955221 h 973591"/>
                  <a:gd name="connsiteX528" fmla="*/ 3655597 w 9431564"/>
                  <a:gd name="connsiteY528" fmla="*/ 949098 h 973591"/>
                  <a:gd name="connsiteX529" fmla="*/ 3536050 w 9431564"/>
                  <a:gd name="connsiteY529" fmla="*/ 704170 h 973591"/>
                  <a:gd name="connsiteX530" fmla="*/ 3542342 w 9431564"/>
                  <a:gd name="connsiteY530" fmla="*/ 698047 h 973591"/>
                  <a:gd name="connsiteX531" fmla="*/ 3542342 w 9431564"/>
                  <a:gd name="connsiteY531" fmla="*/ 691923 h 973591"/>
                  <a:gd name="connsiteX532" fmla="*/ 3410212 w 9431564"/>
                  <a:gd name="connsiteY532" fmla="*/ 691923 h 973591"/>
                  <a:gd name="connsiteX533" fmla="*/ 3410212 w 9431564"/>
                  <a:gd name="connsiteY533" fmla="*/ 698047 h 973591"/>
                  <a:gd name="connsiteX534" fmla="*/ 3416504 w 9431564"/>
                  <a:gd name="connsiteY534" fmla="*/ 704170 h 973591"/>
                  <a:gd name="connsiteX535" fmla="*/ 3309542 w 9431564"/>
                  <a:gd name="connsiteY535" fmla="*/ 949098 h 973591"/>
                  <a:gd name="connsiteX536" fmla="*/ 3296958 w 9431564"/>
                  <a:gd name="connsiteY536" fmla="*/ 955221 h 973591"/>
                  <a:gd name="connsiteX537" fmla="*/ 3296958 w 9431564"/>
                  <a:gd name="connsiteY537" fmla="*/ 961345 h 973591"/>
                  <a:gd name="connsiteX538" fmla="*/ 3391337 w 9431564"/>
                  <a:gd name="connsiteY538" fmla="*/ 961345 h 973591"/>
                  <a:gd name="connsiteX539" fmla="*/ 3391337 w 9431564"/>
                  <a:gd name="connsiteY539" fmla="*/ 955221 h 973591"/>
                  <a:gd name="connsiteX540" fmla="*/ 3385045 w 9431564"/>
                  <a:gd name="connsiteY540" fmla="*/ 949098 h 973591"/>
                  <a:gd name="connsiteX541" fmla="*/ 3403921 w 9431564"/>
                  <a:gd name="connsiteY541" fmla="*/ 906236 h 973591"/>
                  <a:gd name="connsiteX542" fmla="*/ 3548634 w 9431564"/>
                  <a:gd name="connsiteY542" fmla="*/ 906236 h 973591"/>
                  <a:gd name="connsiteX543" fmla="*/ 3567510 w 9431564"/>
                  <a:gd name="connsiteY543" fmla="*/ 949098 h 973591"/>
                  <a:gd name="connsiteX544" fmla="*/ 3561218 w 9431564"/>
                  <a:gd name="connsiteY544" fmla="*/ 955221 h 973591"/>
                  <a:gd name="connsiteX545" fmla="*/ 3561218 w 9431564"/>
                  <a:gd name="connsiteY545" fmla="*/ 961345 h 973591"/>
                  <a:gd name="connsiteX546" fmla="*/ 4114906 w 9431564"/>
                  <a:gd name="connsiteY546" fmla="*/ 942975 h 973591"/>
                  <a:gd name="connsiteX547" fmla="*/ 4133781 w 9431564"/>
                  <a:gd name="connsiteY547" fmla="*/ 955221 h 973591"/>
                  <a:gd name="connsiteX548" fmla="*/ 4133781 w 9431564"/>
                  <a:gd name="connsiteY548" fmla="*/ 961345 h 973591"/>
                  <a:gd name="connsiteX549" fmla="*/ 4014235 w 9431564"/>
                  <a:gd name="connsiteY549" fmla="*/ 961345 h 973591"/>
                  <a:gd name="connsiteX550" fmla="*/ 4014235 w 9431564"/>
                  <a:gd name="connsiteY550" fmla="*/ 955221 h 973591"/>
                  <a:gd name="connsiteX551" fmla="*/ 4033111 w 9431564"/>
                  <a:gd name="connsiteY551" fmla="*/ 949098 h 973591"/>
                  <a:gd name="connsiteX552" fmla="*/ 3882105 w 9431564"/>
                  <a:gd name="connsiteY552" fmla="*/ 783772 h 973591"/>
                  <a:gd name="connsiteX553" fmla="*/ 3882105 w 9431564"/>
                  <a:gd name="connsiteY553" fmla="*/ 942975 h 973591"/>
                  <a:gd name="connsiteX554" fmla="*/ 3900981 w 9431564"/>
                  <a:gd name="connsiteY554" fmla="*/ 955221 h 973591"/>
                  <a:gd name="connsiteX555" fmla="*/ 3900981 w 9431564"/>
                  <a:gd name="connsiteY555" fmla="*/ 961345 h 973591"/>
                  <a:gd name="connsiteX556" fmla="*/ 3787727 w 9431564"/>
                  <a:gd name="connsiteY556" fmla="*/ 961345 h 973591"/>
                  <a:gd name="connsiteX557" fmla="*/ 3787727 w 9431564"/>
                  <a:gd name="connsiteY557" fmla="*/ 955221 h 973591"/>
                  <a:gd name="connsiteX558" fmla="*/ 3806602 w 9431564"/>
                  <a:gd name="connsiteY558" fmla="*/ 942975 h 973591"/>
                  <a:gd name="connsiteX559" fmla="*/ 3806602 w 9431564"/>
                  <a:gd name="connsiteY559" fmla="*/ 710293 h 973591"/>
                  <a:gd name="connsiteX560" fmla="*/ 3787727 w 9431564"/>
                  <a:gd name="connsiteY560" fmla="*/ 698047 h 973591"/>
                  <a:gd name="connsiteX561" fmla="*/ 3787727 w 9431564"/>
                  <a:gd name="connsiteY561" fmla="*/ 691923 h 973591"/>
                  <a:gd name="connsiteX562" fmla="*/ 3938732 w 9431564"/>
                  <a:gd name="connsiteY562" fmla="*/ 691923 h 973591"/>
                  <a:gd name="connsiteX563" fmla="*/ 3938732 w 9431564"/>
                  <a:gd name="connsiteY563" fmla="*/ 698047 h 973591"/>
                  <a:gd name="connsiteX564" fmla="*/ 3926149 w 9431564"/>
                  <a:gd name="connsiteY564" fmla="*/ 710293 h 973591"/>
                  <a:gd name="connsiteX565" fmla="*/ 4039403 w 9431564"/>
                  <a:gd name="connsiteY565" fmla="*/ 832757 h 973591"/>
                  <a:gd name="connsiteX566" fmla="*/ 4039403 w 9431564"/>
                  <a:gd name="connsiteY566" fmla="*/ 710293 h 973591"/>
                  <a:gd name="connsiteX567" fmla="*/ 4020527 w 9431564"/>
                  <a:gd name="connsiteY567" fmla="*/ 698047 h 973591"/>
                  <a:gd name="connsiteX568" fmla="*/ 4020527 w 9431564"/>
                  <a:gd name="connsiteY568" fmla="*/ 691923 h 973591"/>
                  <a:gd name="connsiteX569" fmla="*/ 4133781 w 9431564"/>
                  <a:gd name="connsiteY569" fmla="*/ 691923 h 973591"/>
                  <a:gd name="connsiteX570" fmla="*/ 4133781 w 9431564"/>
                  <a:gd name="connsiteY570" fmla="*/ 698047 h 973591"/>
                  <a:gd name="connsiteX571" fmla="*/ 4114906 w 9431564"/>
                  <a:gd name="connsiteY571" fmla="*/ 710293 h 973591"/>
                  <a:gd name="connsiteX572" fmla="*/ 4360290 w 9431564"/>
                  <a:gd name="connsiteY572" fmla="*/ 747032 h 973591"/>
                  <a:gd name="connsiteX573" fmla="*/ 4404334 w 9431564"/>
                  <a:gd name="connsiteY573" fmla="*/ 747032 h 973591"/>
                  <a:gd name="connsiteX574" fmla="*/ 4498712 w 9431564"/>
                  <a:gd name="connsiteY574" fmla="*/ 820511 h 973591"/>
                  <a:gd name="connsiteX575" fmla="*/ 4404334 w 9431564"/>
                  <a:gd name="connsiteY575" fmla="*/ 893989 h 973591"/>
                  <a:gd name="connsiteX576" fmla="*/ 4360290 w 9431564"/>
                  <a:gd name="connsiteY576" fmla="*/ 893989 h 973591"/>
                  <a:gd name="connsiteX577" fmla="*/ 4272203 w 9431564"/>
                  <a:gd name="connsiteY577" fmla="*/ 942975 h 973591"/>
                  <a:gd name="connsiteX578" fmla="*/ 4253328 w 9431564"/>
                  <a:gd name="connsiteY578" fmla="*/ 955221 h 973591"/>
                  <a:gd name="connsiteX579" fmla="*/ 4253328 w 9431564"/>
                  <a:gd name="connsiteY579" fmla="*/ 961345 h 973591"/>
                  <a:gd name="connsiteX580" fmla="*/ 4442085 w 9431564"/>
                  <a:gd name="connsiteY580" fmla="*/ 961345 h 973591"/>
                  <a:gd name="connsiteX581" fmla="*/ 4574215 w 9431564"/>
                  <a:gd name="connsiteY581" fmla="*/ 826634 h 973591"/>
                  <a:gd name="connsiteX582" fmla="*/ 4442085 w 9431564"/>
                  <a:gd name="connsiteY582" fmla="*/ 691923 h 973591"/>
                  <a:gd name="connsiteX583" fmla="*/ 4253328 w 9431564"/>
                  <a:gd name="connsiteY583" fmla="*/ 691923 h 973591"/>
                  <a:gd name="connsiteX584" fmla="*/ 4253328 w 9431564"/>
                  <a:gd name="connsiteY584" fmla="*/ 698047 h 973591"/>
                  <a:gd name="connsiteX585" fmla="*/ 4272203 w 9431564"/>
                  <a:gd name="connsiteY585" fmla="*/ 710293 h 973591"/>
                  <a:gd name="connsiteX586" fmla="*/ 5058691 w 9431564"/>
                  <a:gd name="connsiteY586" fmla="*/ 704170 h 973591"/>
                  <a:gd name="connsiteX587" fmla="*/ 5153070 w 9431564"/>
                  <a:gd name="connsiteY587" fmla="*/ 704170 h 973591"/>
                  <a:gd name="connsiteX588" fmla="*/ 5203405 w 9431564"/>
                  <a:gd name="connsiteY588" fmla="*/ 740909 h 973591"/>
                  <a:gd name="connsiteX589" fmla="*/ 5153070 w 9431564"/>
                  <a:gd name="connsiteY589" fmla="*/ 777649 h 973591"/>
                  <a:gd name="connsiteX590" fmla="*/ 5058691 w 9431564"/>
                  <a:gd name="connsiteY590" fmla="*/ 777649 h 973591"/>
                  <a:gd name="connsiteX591" fmla="*/ 5058691 w 9431564"/>
                  <a:gd name="connsiteY591" fmla="*/ 838881 h 973591"/>
                  <a:gd name="connsiteX592" fmla="*/ 5171946 w 9431564"/>
                  <a:gd name="connsiteY592" fmla="*/ 838881 h 973591"/>
                  <a:gd name="connsiteX593" fmla="*/ 5291492 w 9431564"/>
                  <a:gd name="connsiteY593" fmla="*/ 734786 h 973591"/>
                  <a:gd name="connsiteX594" fmla="*/ 5171946 w 9431564"/>
                  <a:gd name="connsiteY594" fmla="*/ 630691 h 973591"/>
                  <a:gd name="connsiteX595" fmla="*/ 4945437 w 9431564"/>
                  <a:gd name="connsiteY595" fmla="*/ 630691 h 973591"/>
                  <a:gd name="connsiteX596" fmla="*/ 4945437 w 9431564"/>
                  <a:gd name="connsiteY596" fmla="*/ 636814 h 973591"/>
                  <a:gd name="connsiteX597" fmla="*/ 4964313 w 9431564"/>
                  <a:gd name="connsiteY597" fmla="*/ 649061 h 973591"/>
                  <a:gd name="connsiteX598" fmla="*/ 4964313 w 9431564"/>
                  <a:gd name="connsiteY598" fmla="*/ 936852 h 973591"/>
                  <a:gd name="connsiteX599" fmla="*/ 4945437 w 9431564"/>
                  <a:gd name="connsiteY599" fmla="*/ 949098 h 973591"/>
                  <a:gd name="connsiteX600" fmla="*/ 4945437 w 9431564"/>
                  <a:gd name="connsiteY600" fmla="*/ 955221 h 973591"/>
                  <a:gd name="connsiteX601" fmla="*/ 5077567 w 9431564"/>
                  <a:gd name="connsiteY601" fmla="*/ 955221 h 973591"/>
                  <a:gd name="connsiteX602" fmla="*/ 5077567 w 9431564"/>
                  <a:gd name="connsiteY602" fmla="*/ 949098 h 973591"/>
                  <a:gd name="connsiteX603" fmla="*/ 5058691 w 9431564"/>
                  <a:gd name="connsiteY603" fmla="*/ 936852 h 973591"/>
                  <a:gd name="connsiteX604" fmla="*/ 5505417 w 9431564"/>
                  <a:gd name="connsiteY604" fmla="*/ 740909 h 973591"/>
                  <a:gd name="connsiteX605" fmla="*/ 5593503 w 9431564"/>
                  <a:gd name="connsiteY605" fmla="*/ 740909 h 973591"/>
                  <a:gd name="connsiteX606" fmla="*/ 5643839 w 9431564"/>
                  <a:gd name="connsiteY606" fmla="*/ 771525 h 973591"/>
                  <a:gd name="connsiteX607" fmla="*/ 5599796 w 9431564"/>
                  <a:gd name="connsiteY607" fmla="*/ 802141 h 973591"/>
                  <a:gd name="connsiteX608" fmla="*/ 5511709 w 9431564"/>
                  <a:gd name="connsiteY608" fmla="*/ 802141 h 973591"/>
                  <a:gd name="connsiteX609" fmla="*/ 5511709 w 9431564"/>
                  <a:gd name="connsiteY609" fmla="*/ 740909 h 973591"/>
                  <a:gd name="connsiteX610" fmla="*/ 5423622 w 9431564"/>
                  <a:gd name="connsiteY610" fmla="*/ 942975 h 973591"/>
                  <a:gd name="connsiteX611" fmla="*/ 5411038 w 9431564"/>
                  <a:gd name="connsiteY611" fmla="*/ 955221 h 973591"/>
                  <a:gd name="connsiteX612" fmla="*/ 5411038 w 9431564"/>
                  <a:gd name="connsiteY612" fmla="*/ 961345 h 973591"/>
                  <a:gd name="connsiteX613" fmla="*/ 5518001 w 9431564"/>
                  <a:gd name="connsiteY613" fmla="*/ 961345 h 973591"/>
                  <a:gd name="connsiteX614" fmla="*/ 5518001 w 9431564"/>
                  <a:gd name="connsiteY614" fmla="*/ 955221 h 973591"/>
                  <a:gd name="connsiteX615" fmla="*/ 5499125 w 9431564"/>
                  <a:gd name="connsiteY615" fmla="*/ 942975 h 973591"/>
                  <a:gd name="connsiteX616" fmla="*/ 5499125 w 9431564"/>
                  <a:gd name="connsiteY616" fmla="*/ 863373 h 973591"/>
                  <a:gd name="connsiteX617" fmla="*/ 5562044 w 9431564"/>
                  <a:gd name="connsiteY617" fmla="*/ 863373 h 973591"/>
                  <a:gd name="connsiteX618" fmla="*/ 5612379 w 9431564"/>
                  <a:gd name="connsiteY618" fmla="*/ 949098 h 973591"/>
                  <a:gd name="connsiteX619" fmla="*/ 5599796 w 9431564"/>
                  <a:gd name="connsiteY619" fmla="*/ 955221 h 973591"/>
                  <a:gd name="connsiteX620" fmla="*/ 5599796 w 9431564"/>
                  <a:gd name="connsiteY620" fmla="*/ 961345 h 973591"/>
                  <a:gd name="connsiteX621" fmla="*/ 5725634 w 9431564"/>
                  <a:gd name="connsiteY621" fmla="*/ 961345 h 973591"/>
                  <a:gd name="connsiteX622" fmla="*/ 5725634 w 9431564"/>
                  <a:gd name="connsiteY622" fmla="*/ 955221 h 973591"/>
                  <a:gd name="connsiteX623" fmla="*/ 5700466 w 9431564"/>
                  <a:gd name="connsiteY623" fmla="*/ 942975 h 973591"/>
                  <a:gd name="connsiteX624" fmla="*/ 5643839 w 9431564"/>
                  <a:gd name="connsiteY624" fmla="*/ 863373 h 973591"/>
                  <a:gd name="connsiteX625" fmla="*/ 5713050 w 9431564"/>
                  <a:gd name="connsiteY625" fmla="*/ 777649 h 973591"/>
                  <a:gd name="connsiteX626" fmla="*/ 5612379 w 9431564"/>
                  <a:gd name="connsiteY626" fmla="*/ 691923 h 973591"/>
                  <a:gd name="connsiteX627" fmla="*/ 5411038 w 9431564"/>
                  <a:gd name="connsiteY627" fmla="*/ 691923 h 973591"/>
                  <a:gd name="connsiteX628" fmla="*/ 5411038 w 9431564"/>
                  <a:gd name="connsiteY628" fmla="*/ 698047 h 973591"/>
                  <a:gd name="connsiteX629" fmla="*/ 5423622 w 9431564"/>
                  <a:gd name="connsiteY629" fmla="*/ 710293 h 973591"/>
                  <a:gd name="connsiteX630" fmla="*/ 6122023 w 9431564"/>
                  <a:gd name="connsiteY630" fmla="*/ 906236 h 973591"/>
                  <a:gd name="connsiteX631" fmla="*/ 6140899 w 9431564"/>
                  <a:gd name="connsiteY631" fmla="*/ 893989 h 973591"/>
                  <a:gd name="connsiteX632" fmla="*/ 6147191 w 9431564"/>
                  <a:gd name="connsiteY632" fmla="*/ 893989 h 973591"/>
                  <a:gd name="connsiteX633" fmla="*/ 6147191 w 9431564"/>
                  <a:gd name="connsiteY633" fmla="*/ 973591 h 973591"/>
                  <a:gd name="connsiteX634" fmla="*/ 6140899 w 9431564"/>
                  <a:gd name="connsiteY634" fmla="*/ 973591 h 973591"/>
                  <a:gd name="connsiteX635" fmla="*/ 6122023 w 9431564"/>
                  <a:gd name="connsiteY635" fmla="*/ 961345 h 973591"/>
                  <a:gd name="connsiteX636" fmla="*/ 5838888 w 9431564"/>
                  <a:gd name="connsiteY636" fmla="*/ 961345 h 973591"/>
                  <a:gd name="connsiteX637" fmla="*/ 5838888 w 9431564"/>
                  <a:gd name="connsiteY637" fmla="*/ 955221 h 973591"/>
                  <a:gd name="connsiteX638" fmla="*/ 5857764 w 9431564"/>
                  <a:gd name="connsiteY638" fmla="*/ 942975 h 973591"/>
                  <a:gd name="connsiteX639" fmla="*/ 5857764 w 9431564"/>
                  <a:gd name="connsiteY639" fmla="*/ 710293 h 973591"/>
                  <a:gd name="connsiteX640" fmla="*/ 5838888 w 9431564"/>
                  <a:gd name="connsiteY640" fmla="*/ 698047 h 973591"/>
                  <a:gd name="connsiteX641" fmla="*/ 5838888 w 9431564"/>
                  <a:gd name="connsiteY641" fmla="*/ 691923 h 973591"/>
                  <a:gd name="connsiteX642" fmla="*/ 6128315 w 9431564"/>
                  <a:gd name="connsiteY642" fmla="*/ 691923 h 973591"/>
                  <a:gd name="connsiteX643" fmla="*/ 6140899 w 9431564"/>
                  <a:gd name="connsiteY643" fmla="*/ 679677 h 973591"/>
                  <a:gd name="connsiteX644" fmla="*/ 6147191 w 9431564"/>
                  <a:gd name="connsiteY644" fmla="*/ 679677 h 973591"/>
                  <a:gd name="connsiteX645" fmla="*/ 6147191 w 9431564"/>
                  <a:gd name="connsiteY645" fmla="*/ 759279 h 973591"/>
                  <a:gd name="connsiteX646" fmla="*/ 6140899 w 9431564"/>
                  <a:gd name="connsiteY646" fmla="*/ 759279 h 973591"/>
                  <a:gd name="connsiteX647" fmla="*/ 6128315 w 9431564"/>
                  <a:gd name="connsiteY647" fmla="*/ 747032 h 973591"/>
                  <a:gd name="connsiteX648" fmla="*/ 5945850 w 9431564"/>
                  <a:gd name="connsiteY648" fmla="*/ 747032 h 973591"/>
                  <a:gd name="connsiteX649" fmla="*/ 5945850 w 9431564"/>
                  <a:gd name="connsiteY649" fmla="*/ 796018 h 973591"/>
                  <a:gd name="connsiteX650" fmla="*/ 6065396 w 9431564"/>
                  <a:gd name="connsiteY650" fmla="*/ 796018 h 973591"/>
                  <a:gd name="connsiteX651" fmla="*/ 6077980 w 9431564"/>
                  <a:gd name="connsiteY651" fmla="*/ 783772 h 973591"/>
                  <a:gd name="connsiteX652" fmla="*/ 6084272 w 9431564"/>
                  <a:gd name="connsiteY652" fmla="*/ 783772 h 973591"/>
                  <a:gd name="connsiteX653" fmla="*/ 6084272 w 9431564"/>
                  <a:gd name="connsiteY653" fmla="*/ 863373 h 973591"/>
                  <a:gd name="connsiteX654" fmla="*/ 6077980 w 9431564"/>
                  <a:gd name="connsiteY654" fmla="*/ 863373 h 973591"/>
                  <a:gd name="connsiteX655" fmla="*/ 6065396 w 9431564"/>
                  <a:gd name="connsiteY655" fmla="*/ 851127 h 973591"/>
                  <a:gd name="connsiteX656" fmla="*/ 5945850 w 9431564"/>
                  <a:gd name="connsiteY656" fmla="*/ 851127 h 973591"/>
                  <a:gd name="connsiteX657" fmla="*/ 5945850 w 9431564"/>
                  <a:gd name="connsiteY657" fmla="*/ 912359 h 973591"/>
                  <a:gd name="connsiteX658" fmla="*/ 6122023 w 9431564"/>
                  <a:gd name="connsiteY658" fmla="*/ 912359 h 973591"/>
                  <a:gd name="connsiteX659" fmla="*/ 6247861 w 9431564"/>
                  <a:gd name="connsiteY659" fmla="*/ 685800 h 973591"/>
                  <a:gd name="connsiteX660" fmla="*/ 6367408 w 9431564"/>
                  <a:gd name="connsiteY660" fmla="*/ 685800 h 973591"/>
                  <a:gd name="connsiteX661" fmla="*/ 6367408 w 9431564"/>
                  <a:gd name="connsiteY661" fmla="*/ 691923 h 973591"/>
                  <a:gd name="connsiteX662" fmla="*/ 6348532 w 9431564"/>
                  <a:gd name="connsiteY662" fmla="*/ 698047 h 973591"/>
                  <a:gd name="connsiteX663" fmla="*/ 6405159 w 9431564"/>
                  <a:gd name="connsiteY663" fmla="*/ 857250 h 973591"/>
                  <a:gd name="connsiteX664" fmla="*/ 6468078 w 9431564"/>
                  <a:gd name="connsiteY664" fmla="*/ 698047 h 973591"/>
                  <a:gd name="connsiteX665" fmla="*/ 6455494 w 9431564"/>
                  <a:gd name="connsiteY665" fmla="*/ 691923 h 973591"/>
                  <a:gd name="connsiteX666" fmla="*/ 6455494 w 9431564"/>
                  <a:gd name="connsiteY666" fmla="*/ 685800 h 973591"/>
                  <a:gd name="connsiteX667" fmla="*/ 6562457 w 9431564"/>
                  <a:gd name="connsiteY667" fmla="*/ 685800 h 973591"/>
                  <a:gd name="connsiteX668" fmla="*/ 6562457 w 9431564"/>
                  <a:gd name="connsiteY668" fmla="*/ 691923 h 973591"/>
                  <a:gd name="connsiteX669" fmla="*/ 6549873 w 9431564"/>
                  <a:gd name="connsiteY669" fmla="*/ 698047 h 973591"/>
                  <a:gd name="connsiteX670" fmla="*/ 6449203 w 9431564"/>
                  <a:gd name="connsiteY670" fmla="*/ 936852 h 973591"/>
                  <a:gd name="connsiteX671" fmla="*/ 6461786 w 9431564"/>
                  <a:gd name="connsiteY671" fmla="*/ 949098 h 973591"/>
                  <a:gd name="connsiteX672" fmla="*/ 6461786 w 9431564"/>
                  <a:gd name="connsiteY672" fmla="*/ 955221 h 973591"/>
                  <a:gd name="connsiteX673" fmla="*/ 6329656 w 9431564"/>
                  <a:gd name="connsiteY673" fmla="*/ 955221 h 973591"/>
                  <a:gd name="connsiteX674" fmla="*/ 6329656 w 9431564"/>
                  <a:gd name="connsiteY674" fmla="*/ 949098 h 973591"/>
                  <a:gd name="connsiteX675" fmla="*/ 6342240 w 9431564"/>
                  <a:gd name="connsiteY675" fmla="*/ 936852 h 973591"/>
                  <a:gd name="connsiteX676" fmla="*/ 6254153 w 9431564"/>
                  <a:gd name="connsiteY676" fmla="*/ 691923 h 973591"/>
                  <a:gd name="connsiteX677" fmla="*/ 6241570 w 9431564"/>
                  <a:gd name="connsiteY677" fmla="*/ 691923 h 973591"/>
                  <a:gd name="connsiteX678" fmla="*/ 6241570 w 9431564"/>
                  <a:gd name="connsiteY678" fmla="*/ 685800 h 973591"/>
                  <a:gd name="connsiteX679" fmla="*/ 6952555 w 9431564"/>
                  <a:gd name="connsiteY679" fmla="*/ 906236 h 973591"/>
                  <a:gd name="connsiteX680" fmla="*/ 6971430 w 9431564"/>
                  <a:gd name="connsiteY680" fmla="*/ 893989 h 973591"/>
                  <a:gd name="connsiteX681" fmla="*/ 6977722 w 9431564"/>
                  <a:gd name="connsiteY681" fmla="*/ 893989 h 973591"/>
                  <a:gd name="connsiteX682" fmla="*/ 6977722 w 9431564"/>
                  <a:gd name="connsiteY682" fmla="*/ 973591 h 973591"/>
                  <a:gd name="connsiteX683" fmla="*/ 6971430 w 9431564"/>
                  <a:gd name="connsiteY683" fmla="*/ 973591 h 973591"/>
                  <a:gd name="connsiteX684" fmla="*/ 6952555 w 9431564"/>
                  <a:gd name="connsiteY684" fmla="*/ 961345 h 973591"/>
                  <a:gd name="connsiteX685" fmla="*/ 6669419 w 9431564"/>
                  <a:gd name="connsiteY685" fmla="*/ 961345 h 973591"/>
                  <a:gd name="connsiteX686" fmla="*/ 6669419 w 9431564"/>
                  <a:gd name="connsiteY686" fmla="*/ 955221 h 973591"/>
                  <a:gd name="connsiteX687" fmla="*/ 6688295 w 9431564"/>
                  <a:gd name="connsiteY687" fmla="*/ 942975 h 973591"/>
                  <a:gd name="connsiteX688" fmla="*/ 6688295 w 9431564"/>
                  <a:gd name="connsiteY688" fmla="*/ 710293 h 973591"/>
                  <a:gd name="connsiteX689" fmla="*/ 6669419 w 9431564"/>
                  <a:gd name="connsiteY689" fmla="*/ 698047 h 973591"/>
                  <a:gd name="connsiteX690" fmla="*/ 6669419 w 9431564"/>
                  <a:gd name="connsiteY690" fmla="*/ 691923 h 973591"/>
                  <a:gd name="connsiteX691" fmla="*/ 6958847 w 9431564"/>
                  <a:gd name="connsiteY691" fmla="*/ 691923 h 973591"/>
                  <a:gd name="connsiteX692" fmla="*/ 6971430 w 9431564"/>
                  <a:gd name="connsiteY692" fmla="*/ 679677 h 973591"/>
                  <a:gd name="connsiteX693" fmla="*/ 6977722 w 9431564"/>
                  <a:gd name="connsiteY693" fmla="*/ 679677 h 973591"/>
                  <a:gd name="connsiteX694" fmla="*/ 6977722 w 9431564"/>
                  <a:gd name="connsiteY694" fmla="*/ 759279 h 973591"/>
                  <a:gd name="connsiteX695" fmla="*/ 6971430 w 9431564"/>
                  <a:gd name="connsiteY695" fmla="*/ 759279 h 973591"/>
                  <a:gd name="connsiteX696" fmla="*/ 6958847 w 9431564"/>
                  <a:gd name="connsiteY696" fmla="*/ 747032 h 973591"/>
                  <a:gd name="connsiteX697" fmla="*/ 6776381 w 9431564"/>
                  <a:gd name="connsiteY697" fmla="*/ 747032 h 973591"/>
                  <a:gd name="connsiteX698" fmla="*/ 6776381 w 9431564"/>
                  <a:gd name="connsiteY698" fmla="*/ 796018 h 973591"/>
                  <a:gd name="connsiteX699" fmla="*/ 6895928 w 9431564"/>
                  <a:gd name="connsiteY699" fmla="*/ 796018 h 973591"/>
                  <a:gd name="connsiteX700" fmla="*/ 6908511 w 9431564"/>
                  <a:gd name="connsiteY700" fmla="*/ 783772 h 973591"/>
                  <a:gd name="connsiteX701" fmla="*/ 6914803 w 9431564"/>
                  <a:gd name="connsiteY701" fmla="*/ 783772 h 973591"/>
                  <a:gd name="connsiteX702" fmla="*/ 6914803 w 9431564"/>
                  <a:gd name="connsiteY702" fmla="*/ 863373 h 973591"/>
                  <a:gd name="connsiteX703" fmla="*/ 6908511 w 9431564"/>
                  <a:gd name="connsiteY703" fmla="*/ 863373 h 973591"/>
                  <a:gd name="connsiteX704" fmla="*/ 6895928 w 9431564"/>
                  <a:gd name="connsiteY704" fmla="*/ 851127 h 973591"/>
                  <a:gd name="connsiteX705" fmla="*/ 6776381 w 9431564"/>
                  <a:gd name="connsiteY705" fmla="*/ 851127 h 973591"/>
                  <a:gd name="connsiteX706" fmla="*/ 6776381 w 9431564"/>
                  <a:gd name="connsiteY706" fmla="*/ 912359 h 973591"/>
                  <a:gd name="connsiteX707" fmla="*/ 6952555 w 9431564"/>
                  <a:gd name="connsiteY707" fmla="*/ 912359 h 973591"/>
                  <a:gd name="connsiteX708" fmla="*/ 7437031 w 9431564"/>
                  <a:gd name="connsiteY708" fmla="*/ 942975 h 973591"/>
                  <a:gd name="connsiteX709" fmla="*/ 7455907 w 9431564"/>
                  <a:gd name="connsiteY709" fmla="*/ 955221 h 973591"/>
                  <a:gd name="connsiteX710" fmla="*/ 7455907 w 9431564"/>
                  <a:gd name="connsiteY710" fmla="*/ 961345 h 973591"/>
                  <a:gd name="connsiteX711" fmla="*/ 7336361 w 9431564"/>
                  <a:gd name="connsiteY711" fmla="*/ 961345 h 973591"/>
                  <a:gd name="connsiteX712" fmla="*/ 7336361 w 9431564"/>
                  <a:gd name="connsiteY712" fmla="*/ 955221 h 973591"/>
                  <a:gd name="connsiteX713" fmla="*/ 7355237 w 9431564"/>
                  <a:gd name="connsiteY713" fmla="*/ 949098 h 973591"/>
                  <a:gd name="connsiteX714" fmla="*/ 7204231 w 9431564"/>
                  <a:gd name="connsiteY714" fmla="*/ 783772 h 973591"/>
                  <a:gd name="connsiteX715" fmla="*/ 7204231 w 9431564"/>
                  <a:gd name="connsiteY715" fmla="*/ 942975 h 973591"/>
                  <a:gd name="connsiteX716" fmla="*/ 7223107 w 9431564"/>
                  <a:gd name="connsiteY716" fmla="*/ 955221 h 973591"/>
                  <a:gd name="connsiteX717" fmla="*/ 7223107 w 9431564"/>
                  <a:gd name="connsiteY717" fmla="*/ 961345 h 973591"/>
                  <a:gd name="connsiteX718" fmla="*/ 7116144 w 9431564"/>
                  <a:gd name="connsiteY718" fmla="*/ 961345 h 973591"/>
                  <a:gd name="connsiteX719" fmla="*/ 7116144 w 9431564"/>
                  <a:gd name="connsiteY719" fmla="*/ 955221 h 973591"/>
                  <a:gd name="connsiteX720" fmla="*/ 7135020 w 9431564"/>
                  <a:gd name="connsiteY720" fmla="*/ 942975 h 973591"/>
                  <a:gd name="connsiteX721" fmla="*/ 7135020 w 9431564"/>
                  <a:gd name="connsiteY721" fmla="*/ 710293 h 973591"/>
                  <a:gd name="connsiteX722" fmla="*/ 7116144 w 9431564"/>
                  <a:gd name="connsiteY722" fmla="*/ 698047 h 973591"/>
                  <a:gd name="connsiteX723" fmla="*/ 7116144 w 9431564"/>
                  <a:gd name="connsiteY723" fmla="*/ 691923 h 973591"/>
                  <a:gd name="connsiteX724" fmla="*/ 7267150 w 9431564"/>
                  <a:gd name="connsiteY724" fmla="*/ 691923 h 973591"/>
                  <a:gd name="connsiteX725" fmla="*/ 7267150 w 9431564"/>
                  <a:gd name="connsiteY725" fmla="*/ 698047 h 973591"/>
                  <a:gd name="connsiteX726" fmla="*/ 7254566 w 9431564"/>
                  <a:gd name="connsiteY726" fmla="*/ 710293 h 973591"/>
                  <a:gd name="connsiteX727" fmla="*/ 7367821 w 9431564"/>
                  <a:gd name="connsiteY727" fmla="*/ 832757 h 973591"/>
                  <a:gd name="connsiteX728" fmla="*/ 7367821 w 9431564"/>
                  <a:gd name="connsiteY728" fmla="*/ 710293 h 973591"/>
                  <a:gd name="connsiteX729" fmla="*/ 7348945 w 9431564"/>
                  <a:gd name="connsiteY729" fmla="*/ 698047 h 973591"/>
                  <a:gd name="connsiteX730" fmla="*/ 7348945 w 9431564"/>
                  <a:gd name="connsiteY730" fmla="*/ 691923 h 973591"/>
                  <a:gd name="connsiteX731" fmla="*/ 7462199 w 9431564"/>
                  <a:gd name="connsiteY731" fmla="*/ 691923 h 973591"/>
                  <a:gd name="connsiteX732" fmla="*/ 7462199 w 9431564"/>
                  <a:gd name="connsiteY732" fmla="*/ 698047 h 973591"/>
                  <a:gd name="connsiteX733" fmla="*/ 7443323 w 9431564"/>
                  <a:gd name="connsiteY733" fmla="*/ 710293 h 973591"/>
                  <a:gd name="connsiteX734" fmla="*/ 7443323 w 9431564"/>
                  <a:gd name="connsiteY734" fmla="*/ 942975 h 973591"/>
                  <a:gd name="connsiteX735" fmla="*/ 7846005 w 9431564"/>
                  <a:gd name="connsiteY735" fmla="*/ 685800 h 973591"/>
                  <a:gd name="connsiteX736" fmla="*/ 7858589 w 9431564"/>
                  <a:gd name="connsiteY736" fmla="*/ 673554 h 973591"/>
                  <a:gd name="connsiteX737" fmla="*/ 7864881 w 9431564"/>
                  <a:gd name="connsiteY737" fmla="*/ 673554 h 973591"/>
                  <a:gd name="connsiteX738" fmla="*/ 7864881 w 9431564"/>
                  <a:gd name="connsiteY738" fmla="*/ 765402 h 973591"/>
                  <a:gd name="connsiteX739" fmla="*/ 7858589 w 9431564"/>
                  <a:gd name="connsiteY739" fmla="*/ 765402 h 973591"/>
                  <a:gd name="connsiteX740" fmla="*/ 7846005 w 9431564"/>
                  <a:gd name="connsiteY740" fmla="*/ 753156 h 973591"/>
                  <a:gd name="connsiteX741" fmla="*/ 7757918 w 9431564"/>
                  <a:gd name="connsiteY741" fmla="*/ 753156 h 973591"/>
                  <a:gd name="connsiteX742" fmla="*/ 7757918 w 9431564"/>
                  <a:gd name="connsiteY742" fmla="*/ 942975 h 973591"/>
                  <a:gd name="connsiteX743" fmla="*/ 7770503 w 9431564"/>
                  <a:gd name="connsiteY743" fmla="*/ 955221 h 973591"/>
                  <a:gd name="connsiteX744" fmla="*/ 7770503 w 9431564"/>
                  <a:gd name="connsiteY744" fmla="*/ 961345 h 973591"/>
                  <a:gd name="connsiteX745" fmla="*/ 7657248 w 9431564"/>
                  <a:gd name="connsiteY745" fmla="*/ 961345 h 973591"/>
                  <a:gd name="connsiteX746" fmla="*/ 7657248 w 9431564"/>
                  <a:gd name="connsiteY746" fmla="*/ 955221 h 973591"/>
                  <a:gd name="connsiteX747" fmla="*/ 7669832 w 9431564"/>
                  <a:gd name="connsiteY747" fmla="*/ 942975 h 973591"/>
                  <a:gd name="connsiteX748" fmla="*/ 7669832 w 9431564"/>
                  <a:gd name="connsiteY748" fmla="*/ 753156 h 973591"/>
                  <a:gd name="connsiteX749" fmla="*/ 7581745 w 9431564"/>
                  <a:gd name="connsiteY749" fmla="*/ 753156 h 973591"/>
                  <a:gd name="connsiteX750" fmla="*/ 7569161 w 9431564"/>
                  <a:gd name="connsiteY750" fmla="*/ 765402 h 973591"/>
                  <a:gd name="connsiteX751" fmla="*/ 7562870 w 9431564"/>
                  <a:gd name="connsiteY751" fmla="*/ 765402 h 973591"/>
                  <a:gd name="connsiteX752" fmla="*/ 7562870 w 9431564"/>
                  <a:gd name="connsiteY752" fmla="*/ 673554 h 973591"/>
                  <a:gd name="connsiteX753" fmla="*/ 7569161 w 9431564"/>
                  <a:gd name="connsiteY753" fmla="*/ 673554 h 973591"/>
                  <a:gd name="connsiteX754" fmla="*/ 7581745 w 9431564"/>
                  <a:gd name="connsiteY754" fmla="*/ 685800 h 973591"/>
                  <a:gd name="connsiteX755" fmla="*/ 8110265 w 9431564"/>
                  <a:gd name="connsiteY755" fmla="*/ 685800 h 973591"/>
                  <a:gd name="connsiteX756" fmla="*/ 8110265 w 9431564"/>
                  <a:gd name="connsiteY756" fmla="*/ 691923 h 973591"/>
                  <a:gd name="connsiteX757" fmla="*/ 8091389 w 9431564"/>
                  <a:gd name="connsiteY757" fmla="*/ 704170 h 973591"/>
                  <a:gd name="connsiteX758" fmla="*/ 8091389 w 9431564"/>
                  <a:gd name="connsiteY758" fmla="*/ 936852 h 973591"/>
                  <a:gd name="connsiteX759" fmla="*/ 8110265 w 9431564"/>
                  <a:gd name="connsiteY759" fmla="*/ 949098 h 973591"/>
                  <a:gd name="connsiteX760" fmla="*/ 8110265 w 9431564"/>
                  <a:gd name="connsiteY760" fmla="*/ 955221 h 973591"/>
                  <a:gd name="connsiteX761" fmla="*/ 7984427 w 9431564"/>
                  <a:gd name="connsiteY761" fmla="*/ 955221 h 973591"/>
                  <a:gd name="connsiteX762" fmla="*/ 7984427 w 9431564"/>
                  <a:gd name="connsiteY762" fmla="*/ 949098 h 973591"/>
                  <a:gd name="connsiteX763" fmla="*/ 8003303 w 9431564"/>
                  <a:gd name="connsiteY763" fmla="*/ 936852 h 973591"/>
                  <a:gd name="connsiteX764" fmla="*/ 8003303 w 9431564"/>
                  <a:gd name="connsiteY764" fmla="*/ 704170 h 973591"/>
                  <a:gd name="connsiteX765" fmla="*/ 7984427 w 9431564"/>
                  <a:gd name="connsiteY765" fmla="*/ 691923 h 973591"/>
                  <a:gd name="connsiteX766" fmla="*/ 7984427 w 9431564"/>
                  <a:gd name="connsiteY766" fmla="*/ 685800 h 973591"/>
                  <a:gd name="connsiteX767" fmla="*/ 8393401 w 9431564"/>
                  <a:gd name="connsiteY767" fmla="*/ 753156 h 973591"/>
                  <a:gd name="connsiteX768" fmla="*/ 8481488 w 9431564"/>
                  <a:gd name="connsiteY768" fmla="*/ 826634 h 973591"/>
                  <a:gd name="connsiteX769" fmla="*/ 8393401 w 9431564"/>
                  <a:gd name="connsiteY769" fmla="*/ 900113 h 973591"/>
                  <a:gd name="connsiteX770" fmla="*/ 8305314 w 9431564"/>
                  <a:gd name="connsiteY770" fmla="*/ 826634 h 973591"/>
                  <a:gd name="connsiteX771" fmla="*/ 8393401 w 9431564"/>
                  <a:gd name="connsiteY771" fmla="*/ 753156 h 973591"/>
                  <a:gd name="connsiteX772" fmla="*/ 8393401 w 9431564"/>
                  <a:gd name="connsiteY772" fmla="*/ 685800 h 973591"/>
                  <a:gd name="connsiteX773" fmla="*/ 8223520 w 9431564"/>
                  <a:gd name="connsiteY773" fmla="*/ 826634 h 973591"/>
                  <a:gd name="connsiteX774" fmla="*/ 8393401 w 9431564"/>
                  <a:gd name="connsiteY774" fmla="*/ 967468 h 973591"/>
                  <a:gd name="connsiteX775" fmla="*/ 8563282 w 9431564"/>
                  <a:gd name="connsiteY775" fmla="*/ 826634 h 973591"/>
                  <a:gd name="connsiteX776" fmla="*/ 8393401 w 9431564"/>
                  <a:gd name="connsiteY776" fmla="*/ 685800 h 973591"/>
                  <a:gd name="connsiteX777" fmla="*/ 8997424 w 9431564"/>
                  <a:gd name="connsiteY777" fmla="*/ 942975 h 973591"/>
                  <a:gd name="connsiteX778" fmla="*/ 9016300 w 9431564"/>
                  <a:gd name="connsiteY778" fmla="*/ 955221 h 973591"/>
                  <a:gd name="connsiteX779" fmla="*/ 9016300 w 9431564"/>
                  <a:gd name="connsiteY779" fmla="*/ 961345 h 973591"/>
                  <a:gd name="connsiteX780" fmla="*/ 8896753 w 9431564"/>
                  <a:gd name="connsiteY780" fmla="*/ 961345 h 973591"/>
                  <a:gd name="connsiteX781" fmla="*/ 8896753 w 9431564"/>
                  <a:gd name="connsiteY781" fmla="*/ 955221 h 973591"/>
                  <a:gd name="connsiteX782" fmla="*/ 8915629 w 9431564"/>
                  <a:gd name="connsiteY782" fmla="*/ 949098 h 973591"/>
                  <a:gd name="connsiteX783" fmla="*/ 8764623 w 9431564"/>
                  <a:gd name="connsiteY783" fmla="*/ 783772 h 973591"/>
                  <a:gd name="connsiteX784" fmla="*/ 8764623 w 9431564"/>
                  <a:gd name="connsiteY784" fmla="*/ 942975 h 973591"/>
                  <a:gd name="connsiteX785" fmla="*/ 8783498 w 9431564"/>
                  <a:gd name="connsiteY785" fmla="*/ 955221 h 973591"/>
                  <a:gd name="connsiteX786" fmla="*/ 8783498 w 9431564"/>
                  <a:gd name="connsiteY786" fmla="*/ 961345 h 973591"/>
                  <a:gd name="connsiteX787" fmla="*/ 8676536 w 9431564"/>
                  <a:gd name="connsiteY787" fmla="*/ 961345 h 973591"/>
                  <a:gd name="connsiteX788" fmla="*/ 8676536 w 9431564"/>
                  <a:gd name="connsiteY788" fmla="*/ 955221 h 973591"/>
                  <a:gd name="connsiteX789" fmla="*/ 8695412 w 9431564"/>
                  <a:gd name="connsiteY789" fmla="*/ 942975 h 973591"/>
                  <a:gd name="connsiteX790" fmla="*/ 8695412 w 9431564"/>
                  <a:gd name="connsiteY790" fmla="*/ 710293 h 973591"/>
                  <a:gd name="connsiteX791" fmla="*/ 8676536 w 9431564"/>
                  <a:gd name="connsiteY791" fmla="*/ 698047 h 973591"/>
                  <a:gd name="connsiteX792" fmla="*/ 8676536 w 9431564"/>
                  <a:gd name="connsiteY792" fmla="*/ 691923 h 973591"/>
                  <a:gd name="connsiteX793" fmla="*/ 8827543 w 9431564"/>
                  <a:gd name="connsiteY793" fmla="*/ 691923 h 973591"/>
                  <a:gd name="connsiteX794" fmla="*/ 8827543 w 9431564"/>
                  <a:gd name="connsiteY794" fmla="*/ 698047 h 973591"/>
                  <a:gd name="connsiteX795" fmla="*/ 8814958 w 9431564"/>
                  <a:gd name="connsiteY795" fmla="*/ 710293 h 973591"/>
                  <a:gd name="connsiteX796" fmla="*/ 8928212 w 9431564"/>
                  <a:gd name="connsiteY796" fmla="*/ 832757 h 973591"/>
                  <a:gd name="connsiteX797" fmla="*/ 8928212 w 9431564"/>
                  <a:gd name="connsiteY797" fmla="*/ 710293 h 973591"/>
                  <a:gd name="connsiteX798" fmla="*/ 8909336 w 9431564"/>
                  <a:gd name="connsiteY798" fmla="*/ 698047 h 973591"/>
                  <a:gd name="connsiteX799" fmla="*/ 8909336 w 9431564"/>
                  <a:gd name="connsiteY799" fmla="*/ 691923 h 973591"/>
                  <a:gd name="connsiteX800" fmla="*/ 9022591 w 9431564"/>
                  <a:gd name="connsiteY800" fmla="*/ 691923 h 973591"/>
                  <a:gd name="connsiteX801" fmla="*/ 9022591 w 9431564"/>
                  <a:gd name="connsiteY801" fmla="*/ 698047 h 973591"/>
                  <a:gd name="connsiteX802" fmla="*/ 9003715 w 9431564"/>
                  <a:gd name="connsiteY802" fmla="*/ 710293 h 973591"/>
                  <a:gd name="connsiteX803" fmla="*/ 9003715 w 9431564"/>
                  <a:gd name="connsiteY803" fmla="*/ 942975 h 97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Lst>
                <a:rect l="l" t="t" r="r" b="b"/>
                <a:pathLst>
                  <a:path w="9431564" h="973591">
                    <a:moveTo>
                      <a:pt x="9186181" y="0"/>
                    </a:moveTo>
                    <a:lnTo>
                      <a:pt x="9293143" y="0"/>
                    </a:lnTo>
                    <a:lnTo>
                      <a:pt x="9293143" y="18370"/>
                    </a:lnTo>
                    <a:lnTo>
                      <a:pt x="9249100" y="18370"/>
                    </a:lnTo>
                    <a:lnTo>
                      <a:pt x="9249100" y="134711"/>
                    </a:lnTo>
                    <a:lnTo>
                      <a:pt x="9230224" y="134711"/>
                    </a:lnTo>
                    <a:lnTo>
                      <a:pt x="9230224" y="18370"/>
                    </a:lnTo>
                    <a:lnTo>
                      <a:pt x="9186181" y="18370"/>
                    </a:lnTo>
                    <a:close/>
                    <a:moveTo>
                      <a:pt x="9418981" y="128587"/>
                    </a:moveTo>
                    <a:lnTo>
                      <a:pt x="9418981" y="24493"/>
                    </a:lnTo>
                    <a:lnTo>
                      <a:pt x="9381229" y="134711"/>
                    </a:lnTo>
                    <a:lnTo>
                      <a:pt x="9362354" y="134711"/>
                    </a:lnTo>
                    <a:lnTo>
                      <a:pt x="9324603" y="24493"/>
                    </a:lnTo>
                    <a:lnTo>
                      <a:pt x="9324603" y="128587"/>
                    </a:lnTo>
                    <a:lnTo>
                      <a:pt x="9305727" y="128587"/>
                    </a:lnTo>
                    <a:lnTo>
                      <a:pt x="9305727" y="0"/>
                    </a:lnTo>
                    <a:lnTo>
                      <a:pt x="9330895" y="0"/>
                    </a:lnTo>
                    <a:lnTo>
                      <a:pt x="9368646" y="110218"/>
                    </a:lnTo>
                    <a:lnTo>
                      <a:pt x="9406398" y="0"/>
                    </a:lnTo>
                    <a:lnTo>
                      <a:pt x="9431565" y="0"/>
                    </a:lnTo>
                    <a:lnTo>
                      <a:pt x="9431565" y="128587"/>
                    </a:lnTo>
                    <a:close/>
                    <a:moveTo>
                      <a:pt x="327179" y="140834"/>
                    </a:moveTo>
                    <a:lnTo>
                      <a:pt x="320887" y="134711"/>
                    </a:lnTo>
                    <a:lnTo>
                      <a:pt x="320887" y="128587"/>
                    </a:lnTo>
                    <a:cubicBezTo>
                      <a:pt x="320887" y="116341"/>
                      <a:pt x="270552" y="97971"/>
                      <a:pt x="220217" y="97971"/>
                    </a:cubicBezTo>
                    <a:cubicBezTo>
                      <a:pt x="169881" y="97971"/>
                      <a:pt x="100670" y="122464"/>
                      <a:pt x="100670" y="183696"/>
                    </a:cubicBezTo>
                    <a:cubicBezTo>
                      <a:pt x="100670" y="244929"/>
                      <a:pt x="169881" y="269422"/>
                      <a:pt x="220217" y="269422"/>
                    </a:cubicBezTo>
                    <a:cubicBezTo>
                      <a:pt x="245384" y="269422"/>
                      <a:pt x="327179" y="251052"/>
                      <a:pt x="327179" y="232682"/>
                    </a:cubicBezTo>
                    <a:cubicBezTo>
                      <a:pt x="327179" y="226559"/>
                      <a:pt x="327179" y="226559"/>
                      <a:pt x="320887" y="220436"/>
                    </a:cubicBezTo>
                    <a:lnTo>
                      <a:pt x="327179" y="214313"/>
                    </a:lnTo>
                    <a:lnTo>
                      <a:pt x="390098" y="312284"/>
                    </a:lnTo>
                    <a:lnTo>
                      <a:pt x="383806" y="318407"/>
                    </a:lnTo>
                    <a:cubicBezTo>
                      <a:pt x="383806" y="312284"/>
                      <a:pt x="377514" y="312284"/>
                      <a:pt x="377514" y="312284"/>
                    </a:cubicBezTo>
                    <a:cubicBezTo>
                      <a:pt x="364930" y="312284"/>
                      <a:pt x="308303" y="342900"/>
                      <a:pt x="213925" y="342900"/>
                    </a:cubicBezTo>
                    <a:cubicBezTo>
                      <a:pt x="113254" y="342900"/>
                      <a:pt x="6292" y="287791"/>
                      <a:pt x="6292" y="177573"/>
                    </a:cubicBezTo>
                    <a:cubicBezTo>
                      <a:pt x="6292" y="67355"/>
                      <a:pt x="113254" y="12247"/>
                      <a:pt x="213925" y="12247"/>
                    </a:cubicBezTo>
                    <a:cubicBezTo>
                      <a:pt x="264260" y="12247"/>
                      <a:pt x="302011" y="18370"/>
                      <a:pt x="327179" y="24493"/>
                    </a:cubicBezTo>
                    <a:cubicBezTo>
                      <a:pt x="352347" y="30616"/>
                      <a:pt x="364930" y="36739"/>
                      <a:pt x="371222" y="36739"/>
                    </a:cubicBezTo>
                    <a:cubicBezTo>
                      <a:pt x="377514" y="36739"/>
                      <a:pt x="377514" y="36739"/>
                      <a:pt x="383806" y="30616"/>
                    </a:cubicBezTo>
                    <a:lnTo>
                      <a:pt x="390098" y="30616"/>
                    </a:lnTo>
                    <a:close/>
                    <a:moveTo>
                      <a:pt x="836823" y="287791"/>
                    </a:moveTo>
                    <a:cubicBezTo>
                      <a:pt x="843115" y="287791"/>
                      <a:pt x="849407" y="281668"/>
                      <a:pt x="855699" y="269422"/>
                    </a:cubicBezTo>
                    <a:lnTo>
                      <a:pt x="861991" y="269422"/>
                    </a:lnTo>
                    <a:lnTo>
                      <a:pt x="861991" y="349024"/>
                    </a:lnTo>
                    <a:lnTo>
                      <a:pt x="855699" y="349024"/>
                    </a:lnTo>
                    <a:cubicBezTo>
                      <a:pt x="849407" y="336777"/>
                      <a:pt x="849407" y="336777"/>
                      <a:pt x="836823" y="336777"/>
                    </a:cubicBezTo>
                    <a:lnTo>
                      <a:pt x="553688" y="336777"/>
                    </a:lnTo>
                    <a:lnTo>
                      <a:pt x="553688" y="330654"/>
                    </a:lnTo>
                    <a:cubicBezTo>
                      <a:pt x="559980" y="330654"/>
                      <a:pt x="572563" y="330654"/>
                      <a:pt x="572563" y="318407"/>
                    </a:cubicBezTo>
                    <a:lnTo>
                      <a:pt x="572563" y="85725"/>
                    </a:lnTo>
                    <a:cubicBezTo>
                      <a:pt x="572563" y="79602"/>
                      <a:pt x="566271" y="73479"/>
                      <a:pt x="553688" y="73479"/>
                    </a:cubicBezTo>
                    <a:lnTo>
                      <a:pt x="553688" y="67355"/>
                    </a:lnTo>
                    <a:lnTo>
                      <a:pt x="843115" y="67355"/>
                    </a:lnTo>
                    <a:cubicBezTo>
                      <a:pt x="849407" y="67355"/>
                      <a:pt x="855699" y="67355"/>
                      <a:pt x="855699" y="55109"/>
                    </a:cubicBezTo>
                    <a:lnTo>
                      <a:pt x="861991" y="55109"/>
                    </a:lnTo>
                    <a:lnTo>
                      <a:pt x="861991" y="134711"/>
                    </a:lnTo>
                    <a:lnTo>
                      <a:pt x="855699" y="134711"/>
                    </a:lnTo>
                    <a:cubicBezTo>
                      <a:pt x="855699" y="122464"/>
                      <a:pt x="849407" y="122464"/>
                      <a:pt x="843115" y="122464"/>
                    </a:cubicBezTo>
                    <a:lnTo>
                      <a:pt x="660650" y="122464"/>
                    </a:lnTo>
                    <a:lnTo>
                      <a:pt x="660650" y="171450"/>
                    </a:lnTo>
                    <a:lnTo>
                      <a:pt x="780196" y="171450"/>
                    </a:lnTo>
                    <a:cubicBezTo>
                      <a:pt x="786488" y="171450"/>
                      <a:pt x="792780" y="171450"/>
                      <a:pt x="792780" y="159203"/>
                    </a:cubicBezTo>
                    <a:lnTo>
                      <a:pt x="799072" y="159203"/>
                    </a:lnTo>
                    <a:lnTo>
                      <a:pt x="799072" y="238805"/>
                    </a:lnTo>
                    <a:lnTo>
                      <a:pt x="792780" y="238805"/>
                    </a:lnTo>
                    <a:cubicBezTo>
                      <a:pt x="792780" y="226559"/>
                      <a:pt x="786488" y="226559"/>
                      <a:pt x="780196" y="226559"/>
                    </a:cubicBezTo>
                    <a:lnTo>
                      <a:pt x="660650" y="226559"/>
                    </a:lnTo>
                    <a:lnTo>
                      <a:pt x="660650" y="287791"/>
                    </a:lnTo>
                    <a:close/>
                    <a:moveTo>
                      <a:pt x="1365343" y="324531"/>
                    </a:moveTo>
                    <a:cubicBezTo>
                      <a:pt x="1365343" y="330654"/>
                      <a:pt x="1371635" y="336777"/>
                      <a:pt x="1384219" y="336777"/>
                    </a:cubicBezTo>
                    <a:lnTo>
                      <a:pt x="1384219" y="342900"/>
                    </a:lnTo>
                    <a:lnTo>
                      <a:pt x="1264673" y="342900"/>
                    </a:lnTo>
                    <a:lnTo>
                      <a:pt x="1264673" y="336777"/>
                    </a:lnTo>
                    <a:cubicBezTo>
                      <a:pt x="1270965" y="336777"/>
                      <a:pt x="1283549" y="336777"/>
                      <a:pt x="1283549" y="330654"/>
                    </a:cubicBezTo>
                    <a:cubicBezTo>
                      <a:pt x="1283549" y="318407"/>
                      <a:pt x="1201754" y="244929"/>
                      <a:pt x="1132543" y="165327"/>
                    </a:cubicBezTo>
                    <a:lnTo>
                      <a:pt x="1132543" y="324531"/>
                    </a:lnTo>
                    <a:cubicBezTo>
                      <a:pt x="1132543" y="330654"/>
                      <a:pt x="1138835" y="336777"/>
                      <a:pt x="1151419" y="336777"/>
                    </a:cubicBezTo>
                    <a:lnTo>
                      <a:pt x="1151419" y="342900"/>
                    </a:lnTo>
                    <a:lnTo>
                      <a:pt x="1044456" y="342900"/>
                    </a:lnTo>
                    <a:lnTo>
                      <a:pt x="1044456" y="336777"/>
                    </a:lnTo>
                    <a:cubicBezTo>
                      <a:pt x="1050748" y="336777"/>
                      <a:pt x="1063332" y="336777"/>
                      <a:pt x="1063332" y="324531"/>
                    </a:cubicBezTo>
                    <a:lnTo>
                      <a:pt x="1063332" y="91848"/>
                    </a:lnTo>
                    <a:cubicBezTo>
                      <a:pt x="1063332" y="85725"/>
                      <a:pt x="1057040" y="79602"/>
                      <a:pt x="1044456" y="79602"/>
                    </a:cubicBezTo>
                    <a:lnTo>
                      <a:pt x="1044456" y="73479"/>
                    </a:lnTo>
                    <a:lnTo>
                      <a:pt x="1195462" y="73479"/>
                    </a:lnTo>
                    <a:lnTo>
                      <a:pt x="1195462" y="79602"/>
                    </a:lnTo>
                    <a:cubicBezTo>
                      <a:pt x="1189170" y="79602"/>
                      <a:pt x="1182878" y="79602"/>
                      <a:pt x="1182878" y="91848"/>
                    </a:cubicBezTo>
                    <a:cubicBezTo>
                      <a:pt x="1182878" y="97971"/>
                      <a:pt x="1245797" y="159203"/>
                      <a:pt x="1296132" y="214313"/>
                    </a:cubicBezTo>
                    <a:lnTo>
                      <a:pt x="1296132" y="91848"/>
                    </a:lnTo>
                    <a:cubicBezTo>
                      <a:pt x="1296132" y="85725"/>
                      <a:pt x="1289840" y="79602"/>
                      <a:pt x="1277257" y="79602"/>
                    </a:cubicBezTo>
                    <a:lnTo>
                      <a:pt x="1277257" y="73479"/>
                    </a:lnTo>
                    <a:lnTo>
                      <a:pt x="1390511" y="73479"/>
                    </a:lnTo>
                    <a:lnTo>
                      <a:pt x="1390511" y="79602"/>
                    </a:lnTo>
                    <a:cubicBezTo>
                      <a:pt x="1377927" y="79602"/>
                      <a:pt x="1371635" y="79602"/>
                      <a:pt x="1371635" y="91848"/>
                    </a:cubicBezTo>
                    <a:lnTo>
                      <a:pt x="1371635" y="324531"/>
                    </a:lnTo>
                    <a:close/>
                    <a:moveTo>
                      <a:pt x="1824652" y="73479"/>
                    </a:moveTo>
                    <a:cubicBezTo>
                      <a:pt x="1830944" y="73479"/>
                      <a:pt x="1837236" y="73479"/>
                      <a:pt x="1837236" y="61232"/>
                    </a:cubicBezTo>
                    <a:lnTo>
                      <a:pt x="1843528" y="61232"/>
                    </a:lnTo>
                    <a:lnTo>
                      <a:pt x="1843528" y="153080"/>
                    </a:lnTo>
                    <a:lnTo>
                      <a:pt x="1837236" y="153080"/>
                    </a:lnTo>
                    <a:cubicBezTo>
                      <a:pt x="1837236" y="140834"/>
                      <a:pt x="1830944" y="140834"/>
                      <a:pt x="1824652" y="140834"/>
                    </a:cubicBezTo>
                    <a:lnTo>
                      <a:pt x="1736566" y="140834"/>
                    </a:lnTo>
                    <a:lnTo>
                      <a:pt x="1736566" y="330654"/>
                    </a:lnTo>
                    <a:cubicBezTo>
                      <a:pt x="1736566" y="336777"/>
                      <a:pt x="1742858" y="342900"/>
                      <a:pt x="1749150" y="342900"/>
                    </a:cubicBezTo>
                    <a:lnTo>
                      <a:pt x="1749150" y="349024"/>
                    </a:lnTo>
                    <a:lnTo>
                      <a:pt x="1635895" y="349024"/>
                    </a:lnTo>
                    <a:lnTo>
                      <a:pt x="1635895" y="342900"/>
                    </a:lnTo>
                    <a:cubicBezTo>
                      <a:pt x="1642187" y="342900"/>
                      <a:pt x="1648479" y="342900"/>
                      <a:pt x="1648479" y="330654"/>
                    </a:cubicBezTo>
                    <a:lnTo>
                      <a:pt x="1648479" y="140834"/>
                    </a:lnTo>
                    <a:lnTo>
                      <a:pt x="1560392" y="140834"/>
                    </a:lnTo>
                    <a:cubicBezTo>
                      <a:pt x="1554100" y="140834"/>
                      <a:pt x="1547809" y="140834"/>
                      <a:pt x="1547809" y="153080"/>
                    </a:cubicBezTo>
                    <a:lnTo>
                      <a:pt x="1541517" y="153080"/>
                    </a:lnTo>
                    <a:lnTo>
                      <a:pt x="1541517" y="61232"/>
                    </a:lnTo>
                    <a:lnTo>
                      <a:pt x="1547809" y="61232"/>
                    </a:lnTo>
                    <a:cubicBezTo>
                      <a:pt x="1547809" y="73479"/>
                      <a:pt x="1554100" y="73479"/>
                      <a:pt x="1560392" y="73479"/>
                    </a:cubicBezTo>
                    <a:close/>
                    <a:moveTo>
                      <a:pt x="2277670" y="287791"/>
                    </a:moveTo>
                    <a:cubicBezTo>
                      <a:pt x="2283961" y="287791"/>
                      <a:pt x="2290253" y="281668"/>
                      <a:pt x="2296545" y="269422"/>
                    </a:cubicBezTo>
                    <a:lnTo>
                      <a:pt x="2302837" y="269422"/>
                    </a:lnTo>
                    <a:lnTo>
                      <a:pt x="2302837" y="349024"/>
                    </a:lnTo>
                    <a:lnTo>
                      <a:pt x="2296545" y="349024"/>
                    </a:lnTo>
                    <a:cubicBezTo>
                      <a:pt x="2290253" y="336777"/>
                      <a:pt x="2290253" y="336777"/>
                      <a:pt x="2277670" y="336777"/>
                    </a:cubicBezTo>
                    <a:lnTo>
                      <a:pt x="1994534" y="336777"/>
                    </a:lnTo>
                    <a:lnTo>
                      <a:pt x="1994534" y="330654"/>
                    </a:lnTo>
                    <a:cubicBezTo>
                      <a:pt x="2000826" y="330654"/>
                      <a:pt x="2013409" y="330654"/>
                      <a:pt x="2013409" y="318407"/>
                    </a:cubicBezTo>
                    <a:lnTo>
                      <a:pt x="2013409" y="85725"/>
                    </a:lnTo>
                    <a:cubicBezTo>
                      <a:pt x="2013409" y="79602"/>
                      <a:pt x="2007118" y="73479"/>
                      <a:pt x="1994534" y="73479"/>
                    </a:cubicBezTo>
                    <a:lnTo>
                      <a:pt x="1994534" y="67355"/>
                    </a:lnTo>
                    <a:lnTo>
                      <a:pt x="2283961" y="67355"/>
                    </a:lnTo>
                    <a:cubicBezTo>
                      <a:pt x="2290253" y="67355"/>
                      <a:pt x="2296545" y="67355"/>
                      <a:pt x="2296545" y="55109"/>
                    </a:cubicBezTo>
                    <a:lnTo>
                      <a:pt x="2302837" y="55109"/>
                    </a:lnTo>
                    <a:lnTo>
                      <a:pt x="2302837" y="134711"/>
                    </a:lnTo>
                    <a:lnTo>
                      <a:pt x="2296545" y="134711"/>
                    </a:lnTo>
                    <a:cubicBezTo>
                      <a:pt x="2296545" y="122464"/>
                      <a:pt x="2290253" y="122464"/>
                      <a:pt x="2283961" y="122464"/>
                    </a:cubicBezTo>
                    <a:lnTo>
                      <a:pt x="2101496" y="122464"/>
                    </a:lnTo>
                    <a:lnTo>
                      <a:pt x="2101496" y="171450"/>
                    </a:lnTo>
                    <a:lnTo>
                      <a:pt x="2221042" y="171450"/>
                    </a:lnTo>
                    <a:cubicBezTo>
                      <a:pt x="2227334" y="171450"/>
                      <a:pt x="2233626" y="171450"/>
                      <a:pt x="2233626" y="159203"/>
                    </a:cubicBezTo>
                    <a:lnTo>
                      <a:pt x="2239918" y="159203"/>
                    </a:lnTo>
                    <a:lnTo>
                      <a:pt x="2239918" y="238805"/>
                    </a:lnTo>
                    <a:lnTo>
                      <a:pt x="2233626" y="238805"/>
                    </a:lnTo>
                    <a:cubicBezTo>
                      <a:pt x="2233626" y="226559"/>
                      <a:pt x="2227334" y="226559"/>
                      <a:pt x="2221042" y="226559"/>
                    </a:cubicBezTo>
                    <a:lnTo>
                      <a:pt x="2101496" y="226559"/>
                    </a:lnTo>
                    <a:lnTo>
                      <a:pt x="2101496" y="287791"/>
                    </a:lnTo>
                    <a:close/>
                    <a:moveTo>
                      <a:pt x="2579681" y="122464"/>
                    </a:moveTo>
                    <a:lnTo>
                      <a:pt x="2667768" y="122464"/>
                    </a:lnTo>
                    <a:cubicBezTo>
                      <a:pt x="2705519" y="122464"/>
                      <a:pt x="2718103" y="134711"/>
                      <a:pt x="2718103" y="153080"/>
                    </a:cubicBezTo>
                    <a:cubicBezTo>
                      <a:pt x="2718103" y="177573"/>
                      <a:pt x="2699227" y="183696"/>
                      <a:pt x="2674060" y="183696"/>
                    </a:cubicBezTo>
                    <a:lnTo>
                      <a:pt x="2585973" y="183696"/>
                    </a:lnTo>
                    <a:lnTo>
                      <a:pt x="2585973" y="122464"/>
                    </a:lnTo>
                    <a:close/>
                    <a:moveTo>
                      <a:pt x="2497886" y="324531"/>
                    </a:moveTo>
                    <a:cubicBezTo>
                      <a:pt x="2497886" y="330654"/>
                      <a:pt x="2491594" y="336777"/>
                      <a:pt x="2485302" y="336777"/>
                    </a:cubicBezTo>
                    <a:lnTo>
                      <a:pt x="2485302" y="342900"/>
                    </a:lnTo>
                    <a:lnTo>
                      <a:pt x="2592265" y="342900"/>
                    </a:lnTo>
                    <a:lnTo>
                      <a:pt x="2592265" y="336777"/>
                    </a:lnTo>
                    <a:cubicBezTo>
                      <a:pt x="2585973" y="336777"/>
                      <a:pt x="2573389" y="336777"/>
                      <a:pt x="2573389" y="324531"/>
                    </a:cubicBezTo>
                    <a:lnTo>
                      <a:pt x="2573389" y="244929"/>
                    </a:lnTo>
                    <a:lnTo>
                      <a:pt x="2636308" y="244929"/>
                    </a:lnTo>
                    <a:cubicBezTo>
                      <a:pt x="2642600" y="257175"/>
                      <a:pt x="2686643" y="324531"/>
                      <a:pt x="2686643" y="330654"/>
                    </a:cubicBezTo>
                    <a:cubicBezTo>
                      <a:pt x="2686643" y="336777"/>
                      <a:pt x="2674060" y="336777"/>
                      <a:pt x="2674060" y="336777"/>
                    </a:cubicBezTo>
                    <a:lnTo>
                      <a:pt x="2674060" y="342900"/>
                    </a:lnTo>
                    <a:lnTo>
                      <a:pt x="2799898" y="342900"/>
                    </a:lnTo>
                    <a:lnTo>
                      <a:pt x="2799898" y="336777"/>
                    </a:lnTo>
                    <a:cubicBezTo>
                      <a:pt x="2793606" y="336777"/>
                      <a:pt x="2781022" y="330654"/>
                      <a:pt x="2774730" y="324531"/>
                    </a:cubicBezTo>
                    <a:lnTo>
                      <a:pt x="2718103" y="244929"/>
                    </a:lnTo>
                    <a:cubicBezTo>
                      <a:pt x="2755854" y="232682"/>
                      <a:pt x="2787314" y="208189"/>
                      <a:pt x="2787314" y="159203"/>
                    </a:cubicBezTo>
                    <a:cubicBezTo>
                      <a:pt x="2787314" y="104095"/>
                      <a:pt x="2743271" y="73479"/>
                      <a:pt x="2686643" y="73479"/>
                    </a:cubicBezTo>
                    <a:lnTo>
                      <a:pt x="2485302" y="73479"/>
                    </a:lnTo>
                    <a:lnTo>
                      <a:pt x="2485302" y="79602"/>
                    </a:lnTo>
                    <a:cubicBezTo>
                      <a:pt x="2491594" y="79602"/>
                      <a:pt x="2497886" y="79602"/>
                      <a:pt x="2497886" y="91848"/>
                    </a:cubicBezTo>
                    <a:close/>
                    <a:moveTo>
                      <a:pt x="2969779" y="251052"/>
                    </a:moveTo>
                    <a:lnTo>
                      <a:pt x="2976071" y="257175"/>
                    </a:lnTo>
                    <a:lnTo>
                      <a:pt x="2976071" y="263298"/>
                    </a:lnTo>
                    <a:cubicBezTo>
                      <a:pt x="2976071" y="281668"/>
                      <a:pt x="3051574" y="293914"/>
                      <a:pt x="3101909" y="293914"/>
                    </a:cubicBezTo>
                    <a:cubicBezTo>
                      <a:pt x="3114493" y="293914"/>
                      <a:pt x="3158536" y="293914"/>
                      <a:pt x="3158536" y="269422"/>
                    </a:cubicBezTo>
                    <a:cubicBezTo>
                      <a:pt x="3158536" y="220436"/>
                      <a:pt x="2950903" y="269422"/>
                      <a:pt x="2950903" y="165327"/>
                    </a:cubicBezTo>
                    <a:cubicBezTo>
                      <a:pt x="2950903" y="128587"/>
                      <a:pt x="2988655" y="73479"/>
                      <a:pt x="3089325" y="73479"/>
                    </a:cubicBezTo>
                    <a:cubicBezTo>
                      <a:pt x="3152244" y="73479"/>
                      <a:pt x="3202580" y="91848"/>
                      <a:pt x="3215163" y="91848"/>
                    </a:cubicBezTo>
                    <a:cubicBezTo>
                      <a:pt x="3221455" y="91848"/>
                      <a:pt x="3227747" y="85725"/>
                      <a:pt x="3227747" y="85725"/>
                    </a:cubicBezTo>
                    <a:lnTo>
                      <a:pt x="3234039" y="85725"/>
                    </a:lnTo>
                    <a:lnTo>
                      <a:pt x="3196288" y="165327"/>
                    </a:lnTo>
                    <a:lnTo>
                      <a:pt x="3189996" y="159203"/>
                    </a:lnTo>
                    <a:lnTo>
                      <a:pt x="3189996" y="153080"/>
                    </a:lnTo>
                    <a:cubicBezTo>
                      <a:pt x="3189996" y="146957"/>
                      <a:pt x="3145952" y="128587"/>
                      <a:pt x="3101909" y="128587"/>
                    </a:cubicBezTo>
                    <a:cubicBezTo>
                      <a:pt x="3083033" y="128587"/>
                      <a:pt x="3032698" y="128587"/>
                      <a:pt x="3032698" y="153080"/>
                    </a:cubicBezTo>
                    <a:cubicBezTo>
                      <a:pt x="3032698" y="195943"/>
                      <a:pt x="3240331" y="153080"/>
                      <a:pt x="3240331" y="257175"/>
                    </a:cubicBezTo>
                    <a:cubicBezTo>
                      <a:pt x="3240331" y="306161"/>
                      <a:pt x="3196288" y="349024"/>
                      <a:pt x="3101909" y="349024"/>
                    </a:cubicBezTo>
                    <a:cubicBezTo>
                      <a:pt x="3038990" y="349024"/>
                      <a:pt x="2969779" y="324531"/>
                      <a:pt x="2963487" y="324531"/>
                    </a:cubicBezTo>
                    <a:cubicBezTo>
                      <a:pt x="2957195" y="324531"/>
                      <a:pt x="2950903" y="330654"/>
                      <a:pt x="2950903" y="330654"/>
                    </a:cubicBezTo>
                    <a:lnTo>
                      <a:pt x="2944611" y="330654"/>
                    </a:lnTo>
                    <a:close/>
                    <a:moveTo>
                      <a:pt x="3995359" y="91848"/>
                    </a:moveTo>
                    <a:cubicBezTo>
                      <a:pt x="3995359" y="85725"/>
                      <a:pt x="3989068" y="79602"/>
                      <a:pt x="3976484" y="79602"/>
                    </a:cubicBezTo>
                    <a:lnTo>
                      <a:pt x="3976484" y="73479"/>
                    </a:lnTo>
                    <a:lnTo>
                      <a:pt x="4253328" y="73479"/>
                    </a:lnTo>
                    <a:cubicBezTo>
                      <a:pt x="4259620" y="73479"/>
                      <a:pt x="4265911" y="73479"/>
                      <a:pt x="4265911" y="61232"/>
                    </a:cubicBezTo>
                    <a:lnTo>
                      <a:pt x="4272203" y="61232"/>
                    </a:lnTo>
                    <a:lnTo>
                      <a:pt x="4272203" y="146957"/>
                    </a:lnTo>
                    <a:lnTo>
                      <a:pt x="4265911" y="146957"/>
                    </a:lnTo>
                    <a:cubicBezTo>
                      <a:pt x="4265911" y="134711"/>
                      <a:pt x="4259620" y="134711"/>
                      <a:pt x="4253328" y="134711"/>
                    </a:cubicBezTo>
                    <a:lnTo>
                      <a:pt x="4083446" y="134711"/>
                    </a:lnTo>
                    <a:lnTo>
                      <a:pt x="4083446" y="189820"/>
                    </a:lnTo>
                    <a:lnTo>
                      <a:pt x="4196701" y="189820"/>
                    </a:lnTo>
                    <a:cubicBezTo>
                      <a:pt x="4202992" y="189820"/>
                      <a:pt x="4209284" y="189820"/>
                      <a:pt x="4209284" y="177573"/>
                    </a:cubicBezTo>
                    <a:lnTo>
                      <a:pt x="4215577" y="177573"/>
                    </a:lnTo>
                    <a:lnTo>
                      <a:pt x="4215577" y="257175"/>
                    </a:lnTo>
                    <a:lnTo>
                      <a:pt x="4209284" y="257175"/>
                    </a:lnTo>
                    <a:cubicBezTo>
                      <a:pt x="4209284" y="244929"/>
                      <a:pt x="4202992" y="244929"/>
                      <a:pt x="4196701" y="244929"/>
                    </a:cubicBezTo>
                    <a:lnTo>
                      <a:pt x="4083446" y="244929"/>
                    </a:lnTo>
                    <a:lnTo>
                      <a:pt x="4083446" y="330654"/>
                    </a:lnTo>
                    <a:cubicBezTo>
                      <a:pt x="4083446" y="336777"/>
                      <a:pt x="4089738" y="342900"/>
                      <a:pt x="4102322" y="342900"/>
                    </a:cubicBezTo>
                    <a:lnTo>
                      <a:pt x="4102322" y="349024"/>
                    </a:lnTo>
                    <a:lnTo>
                      <a:pt x="3976484" y="349024"/>
                    </a:lnTo>
                    <a:lnTo>
                      <a:pt x="3976484" y="342900"/>
                    </a:lnTo>
                    <a:cubicBezTo>
                      <a:pt x="3989068" y="342900"/>
                      <a:pt x="3995359" y="342900"/>
                      <a:pt x="3995359" y="330654"/>
                    </a:cubicBezTo>
                    <a:close/>
                    <a:moveTo>
                      <a:pt x="4574215" y="134711"/>
                    </a:moveTo>
                    <a:cubicBezTo>
                      <a:pt x="4624550" y="134711"/>
                      <a:pt x="4662302" y="165327"/>
                      <a:pt x="4662302" y="208189"/>
                    </a:cubicBezTo>
                    <a:cubicBezTo>
                      <a:pt x="4662302" y="251052"/>
                      <a:pt x="4624550" y="281668"/>
                      <a:pt x="4574215" y="281668"/>
                    </a:cubicBezTo>
                    <a:cubicBezTo>
                      <a:pt x="4523879" y="281668"/>
                      <a:pt x="4486128" y="251052"/>
                      <a:pt x="4486128" y="208189"/>
                    </a:cubicBezTo>
                    <a:cubicBezTo>
                      <a:pt x="4492420" y="165327"/>
                      <a:pt x="4530172" y="134711"/>
                      <a:pt x="4574215" y="134711"/>
                    </a:cubicBezTo>
                    <a:close/>
                    <a:moveTo>
                      <a:pt x="4574215" y="67355"/>
                    </a:moveTo>
                    <a:cubicBezTo>
                      <a:pt x="4492420" y="67355"/>
                      <a:pt x="4404334" y="110218"/>
                      <a:pt x="4404334" y="208189"/>
                    </a:cubicBezTo>
                    <a:cubicBezTo>
                      <a:pt x="4404334" y="306161"/>
                      <a:pt x="4492420" y="349024"/>
                      <a:pt x="4574215" y="349024"/>
                    </a:cubicBezTo>
                    <a:cubicBezTo>
                      <a:pt x="4656010" y="349024"/>
                      <a:pt x="4744096" y="306161"/>
                      <a:pt x="4744096" y="208189"/>
                    </a:cubicBezTo>
                    <a:cubicBezTo>
                      <a:pt x="4744096" y="110218"/>
                      <a:pt x="4656010" y="67355"/>
                      <a:pt x="4574215" y="67355"/>
                    </a:cubicBezTo>
                    <a:close/>
                    <a:moveTo>
                      <a:pt x="5002065" y="122464"/>
                    </a:moveTo>
                    <a:lnTo>
                      <a:pt x="5090151" y="122464"/>
                    </a:lnTo>
                    <a:cubicBezTo>
                      <a:pt x="5127903" y="122464"/>
                      <a:pt x="5140486" y="134711"/>
                      <a:pt x="5140486" y="153080"/>
                    </a:cubicBezTo>
                    <a:cubicBezTo>
                      <a:pt x="5140486" y="177573"/>
                      <a:pt x="5121610" y="183696"/>
                      <a:pt x="5096443" y="183696"/>
                    </a:cubicBezTo>
                    <a:lnTo>
                      <a:pt x="5008356" y="183696"/>
                    </a:lnTo>
                    <a:lnTo>
                      <a:pt x="5008356" y="122464"/>
                    </a:lnTo>
                    <a:close/>
                    <a:moveTo>
                      <a:pt x="4920270" y="324531"/>
                    </a:moveTo>
                    <a:cubicBezTo>
                      <a:pt x="4920270" y="330654"/>
                      <a:pt x="4913978" y="336777"/>
                      <a:pt x="4907686" y="336777"/>
                    </a:cubicBezTo>
                    <a:lnTo>
                      <a:pt x="4907686" y="342900"/>
                    </a:lnTo>
                    <a:lnTo>
                      <a:pt x="5014648" y="342900"/>
                    </a:lnTo>
                    <a:lnTo>
                      <a:pt x="5014648" y="336777"/>
                    </a:lnTo>
                    <a:cubicBezTo>
                      <a:pt x="5008356" y="336777"/>
                      <a:pt x="4995772" y="336777"/>
                      <a:pt x="4995772" y="324531"/>
                    </a:cubicBezTo>
                    <a:lnTo>
                      <a:pt x="4995772" y="244929"/>
                    </a:lnTo>
                    <a:lnTo>
                      <a:pt x="5058691" y="244929"/>
                    </a:lnTo>
                    <a:cubicBezTo>
                      <a:pt x="5064984" y="257175"/>
                      <a:pt x="5109027" y="324531"/>
                      <a:pt x="5109027" y="330654"/>
                    </a:cubicBezTo>
                    <a:cubicBezTo>
                      <a:pt x="5109027" y="336777"/>
                      <a:pt x="5096443" y="336777"/>
                      <a:pt x="5096443" y="336777"/>
                    </a:cubicBezTo>
                    <a:lnTo>
                      <a:pt x="5096443" y="342900"/>
                    </a:lnTo>
                    <a:lnTo>
                      <a:pt x="5222281" y="342900"/>
                    </a:lnTo>
                    <a:lnTo>
                      <a:pt x="5222281" y="336777"/>
                    </a:lnTo>
                    <a:cubicBezTo>
                      <a:pt x="5215989" y="336777"/>
                      <a:pt x="5203405" y="330654"/>
                      <a:pt x="5197114" y="324531"/>
                    </a:cubicBezTo>
                    <a:lnTo>
                      <a:pt x="5140486" y="244929"/>
                    </a:lnTo>
                    <a:cubicBezTo>
                      <a:pt x="5178238" y="232682"/>
                      <a:pt x="5209697" y="208189"/>
                      <a:pt x="5209697" y="159203"/>
                    </a:cubicBezTo>
                    <a:cubicBezTo>
                      <a:pt x="5209697" y="104095"/>
                      <a:pt x="5165654" y="73479"/>
                      <a:pt x="5102735" y="73479"/>
                    </a:cubicBezTo>
                    <a:lnTo>
                      <a:pt x="4901394" y="73479"/>
                    </a:lnTo>
                    <a:lnTo>
                      <a:pt x="4901394" y="79602"/>
                    </a:lnTo>
                    <a:cubicBezTo>
                      <a:pt x="4907686" y="79602"/>
                      <a:pt x="4913978" y="79602"/>
                      <a:pt x="4913978" y="91848"/>
                    </a:cubicBezTo>
                    <a:lnTo>
                      <a:pt x="4913978" y="324531"/>
                    </a:lnTo>
                    <a:close/>
                    <a:moveTo>
                      <a:pt x="6084272" y="91848"/>
                    </a:moveTo>
                    <a:lnTo>
                      <a:pt x="6166067" y="91848"/>
                    </a:lnTo>
                    <a:cubicBezTo>
                      <a:pt x="6235278" y="91848"/>
                      <a:pt x="6260445" y="128587"/>
                      <a:pt x="6260445" y="183696"/>
                    </a:cubicBezTo>
                    <a:cubicBezTo>
                      <a:pt x="6260445" y="238805"/>
                      <a:pt x="6235278" y="275545"/>
                      <a:pt x="6166067" y="275545"/>
                    </a:cubicBezTo>
                    <a:lnTo>
                      <a:pt x="6084272" y="275545"/>
                    </a:lnTo>
                    <a:close/>
                    <a:moveTo>
                      <a:pt x="5989893" y="324531"/>
                    </a:moveTo>
                    <a:cubicBezTo>
                      <a:pt x="5989893" y="330654"/>
                      <a:pt x="5989893" y="336777"/>
                      <a:pt x="5971017" y="336777"/>
                    </a:cubicBezTo>
                    <a:lnTo>
                      <a:pt x="5971017" y="342900"/>
                    </a:lnTo>
                    <a:lnTo>
                      <a:pt x="6172359" y="342900"/>
                    </a:lnTo>
                    <a:cubicBezTo>
                      <a:pt x="6291905" y="342900"/>
                      <a:pt x="6348532" y="263298"/>
                      <a:pt x="6348532" y="183696"/>
                    </a:cubicBezTo>
                    <a:cubicBezTo>
                      <a:pt x="6348532" y="91848"/>
                      <a:pt x="6291905" y="24493"/>
                      <a:pt x="6178651" y="24493"/>
                    </a:cubicBezTo>
                    <a:lnTo>
                      <a:pt x="5971017" y="24493"/>
                    </a:lnTo>
                    <a:lnTo>
                      <a:pt x="5971017" y="30616"/>
                    </a:lnTo>
                    <a:cubicBezTo>
                      <a:pt x="5989893" y="30616"/>
                      <a:pt x="5989893" y="36739"/>
                      <a:pt x="5989893" y="42863"/>
                    </a:cubicBezTo>
                    <a:close/>
                    <a:moveTo>
                      <a:pt x="6637960" y="73479"/>
                    </a:moveTo>
                    <a:lnTo>
                      <a:pt x="6637960" y="79602"/>
                    </a:lnTo>
                    <a:cubicBezTo>
                      <a:pt x="6625376" y="79602"/>
                      <a:pt x="6619084" y="79602"/>
                      <a:pt x="6619084" y="91848"/>
                    </a:cubicBezTo>
                    <a:lnTo>
                      <a:pt x="6619084" y="324531"/>
                    </a:lnTo>
                    <a:cubicBezTo>
                      <a:pt x="6619084" y="330654"/>
                      <a:pt x="6625376" y="336777"/>
                      <a:pt x="6637960" y="336777"/>
                    </a:cubicBezTo>
                    <a:lnTo>
                      <a:pt x="6637960" y="342900"/>
                    </a:lnTo>
                    <a:lnTo>
                      <a:pt x="6512122" y="342900"/>
                    </a:lnTo>
                    <a:lnTo>
                      <a:pt x="6512122" y="336777"/>
                    </a:lnTo>
                    <a:cubicBezTo>
                      <a:pt x="6524705" y="336777"/>
                      <a:pt x="6530997" y="336777"/>
                      <a:pt x="6530997" y="324531"/>
                    </a:cubicBezTo>
                    <a:lnTo>
                      <a:pt x="6530997" y="91848"/>
                    </a:lnTo>
                    <a:cubicBezTo>
                      <a:pt x="6530997" y="85725"/>
                      <a:pt x="6524705" y="79602"/>
                      <a:pt x="6512122" y="79602"/>
                    </a:cubicBezTo>
                    <a:lnTo>
                      <a:pt x="6512122" y="73479"/>
                    </a:lnTo>
                    <a:close/>
                    <a:moveTo>
                      <a:pt x="6820425" y="251052"/>
                    </a:moveTo>
                    <a:lnTo>
                      <a:pt x="6826717" y="257175"/>
                    </a:lnTo>
                    <a:lnTo>
                      <a:pt x="6826717" y="263298"/>
                    </a:lnTo>
                    <a:cubicBezTo>
                      <a:pt x="6826717" y="281668"/>
                      <a:pt x="6902220" y="293914"/>
                      <a:pt x="6952555" y="293914"/>
                    </a:cubicBezTo>
                    <a:cubicBezTo>
                      <a:pt x="6971430" y="293914"/>
                      <a:pt x="7009182" y="293914"/>
                      <a:pt x="7009182" y="269422"/>
                    </a:cubicBezTo>
                    <a:cubicBezTo>
                      <a:pt x="7009182" y="220436"/>
                      <a:pt x="6801549" y="269422"/>
                      <a:pt x="6801549" y="165327"/>
                    </a:cubicBezTo>
                    <a:cubicBezTo>
                      <a:pt x="6801549" y="128587"/>
                      <a:pt x="6839301" y="73479"/>
                      <a:pt x="6939971" y="73479"/>
                    </a:cubicBezTo>
                    <a:cubicBezTo>
                      <a:pt x="7002890" y="73479"/>
                      <a:pt x="7053225" y="91848"/>
                      <a:pt x="7065809" y="91848"/>
                    </a:cubicBezTo>
                    <a:cubicBezTo>
                      <a:pt x="7072101" y="91848"/>
                      <a:pt x="7078393" y="85725"/>
                      <a:pt x="7078393" y="85725"/>
                    </a:cubicBezTo>
                    <a:lnTo>
                      <a:pt x="7084685" y="85725"/>
                    </a:lnTo>
                    <a:lnTo>
                      <a:pt x="7046934" y="165327"/>
                    </a:lnTo>
                    <a:lnTo>
                      <a:pt x="7040641" y="159203"/>
                    </a:lnTo>
                    <a:lnTo>
                      <a:pt x="7040641" y="153080"/>
                    </a:lnTo>
                    <a:cubicBezTo>
                      <a:pt x="7040641" y="146957"/>
                      <a:pt x="6996598" y="128587"/>
                      <a:pt x="6952555" y="128587"/>
                    </a:cubicBezTo>
                    <a:cubicBezTo>
                      <a:pt x="6933679" y="128587"/>
                      <a:pt x="6883344" y="128587"/>
                      <a:pt x="6883344" y="153080"/>
                    </a:cubicBezTo>
                    <a:cubicBezTo>
                      <a:pt x="6883344" y="195943"/>
                      <a:pt x="7090977" y="153080"/>
                      <a:pt x="7090977" y="257175"/>
                    </a:cubicBezTo>
                    <a:cubicBezTo>
                      <a:pt x="7090977" y="306161"/>
                      <a:pt x="7046934" y="349024"/>
                      <a:pt x="6952555" y="349024"/>
                    </a:cubicBezTo>
                    <a:cubicBezTo>
                      <a:pt x="6889636" y="349024"/>
                      <a:pt x="6820425" y="324531"/>
                      <a:pt x="6814133" y="324531"/>
                    </a:cubicBezTo>
                    <a:cubicBezTo>
                      <a:pt x="6807841" y="324531"/>
                      <a:pt x="6801549" y="330654"/>
                      <a:pt x="6801549" y="330654"/>
                    </a:cubicBezTo>
                    <a:lnTo>
                      <a:pt x="6795257" y="330654"/>
                    </a:lnTo>
                    <a:close/>
                    <a:moveTo>
                      <a:pt x="7537702" y="287791"/>
                    </a:moveTo>
                    <a:cubicBezTo>
                      <a:pt x="7543994" y="287791"/>
                      <a:pt x="7550286" y="281668"/>
                      <a:pt x="7556578" y="269422"/>
                    </a:cubicBezTo>
                    <a:lnTo>
                      <a:pt x="7562870" y="269422"/>
                    </a:lnTo>
                    <a:lnTo>
                      <a:pt x="7562870" y="349024"/>
                    </a:lnTo>
                    <a:lnTo>
                      <a:pt x="7556578" y="349024"/>
                    </a:lnTo>
                    <a:cubicBezTo>
                      <a:pt x="7550286" y="336777"/>
                      <a:pt x="7550286" y="336777"/>
                      <a:pt x="7537702" y="336777"/>
                    </a:cubicBezTo>
                    <a:lnTo>
                      <a:pt x="7254566" y="336777"/>
                    </a:lnTo>
                    <a:lnTo>
                      <a:pt x="7254566" y="330654"/>
                    </a:lnTo>
                    <a:cubicBezTo>
                      <a:pt x="7260858" y="330654"/>
                      <a:pt x="7273442" y="330654"/>
                      <a:pt x="7273442" y="318407"/>
                    </a:cubicBezTo>
                    <a:lnTo>
                      <a:pt x="7273442" y="85725"/>
                    </a:lnTo>
                    <a:cubicBezTo>
                      <a:pt x="7273442" y="79602"/>
                      <a:pt x="7267150" y="73479"/>
                      <a:pt x="7254566" y="73479"/>
                    </a:cubicBezTo>
                    <a:lnTo>
                      <a:pt x="7254566" y="67355"/>
                    </a:lnTo>
                    <a:lnTo>
                      <a:pt x="7543994" y="67355"/>
                    </a:lnTo>
                    <a:cubicBezTo>
                      <a:pt x="7550286" y="67355"/>
                      <a:pt x="7556578" y="67355"/>
                      <a:pt x="7556578" y="55109"/>
                    </a:cubicBezTo>
                    <a:lnTo>
                      <a:pt x="7562870" y="55109"/>
                    </a:lnTo>
                    <a:lnTo>
                      <a:pt x="7562870" y="134711"/>
                    </a:lnTo>
                    <a:lnTo>
                      <a:pt x="7556578" y="134711"/>
                    </a:lnTo>
                    <a:cubicBezTo>
                      <a:pt x="7556578" y="122464"/>
                      <a:pt x="7550286" y="122464"/>
                      <a:pt x="7543994" y="122464"/>
                    </a:cubicBezTo>
                    <a:lnTo>
                      <a:pt x="7361529" y="122464"/>
                    </a:lnTo>
                    <a:lnTo>
                      <a:pt x="7361529" y="171450"/>
                    </a:lnTo>
                    <a:lnTo>
                      <a:pt x="7481075" y="171450"/>
                    </a:lnTo>
                    <a:cubicBezTo>
                      <a:pt x="7487367" y="171450"/>
                      <a:pt x="7493659" y="171450"/>
                      <a:pt x="7493659" y="159203"/>
                    </a:cubicBezTo>
                    <a:lnTo>
                      <a:pt x="7499951" y="159203"/>
                    </a:lnTo>
                    <a:lnTo>
                      <a:pt x="7499951" y="238805"/>
                    </a:lnTo>
                    <a:lnTo>
                      <a:pt x="7493659" y="238805"/>
                    </a:lnTo>
                    <a:cubicBezTo>
                      <a:pt x="7493659" y="226559"/>
                      <a:pt x="7487367" y="226559"/>
                      <a:pt x="7481075" y="226559"/>
                    </a:cubicBezTo>
                    <a:lnTo>
                      <a:pt x="7361529" y="226559"/>
                    </a:lnTo>
                    <a:lnTo>
                      <a:pt x="7361529" y="287791"/>
                    </a:lnTo>
                    <a:close/>
                    <a:moveTo>
                      <a:pt x="7852297" y="244929"/>
                    </a:moveTo>
                    <a:lnTo>
                      <a:pt x="7902632" y="134711"/>
                    </a:lnTo>
                    <a:lnTo>
                      <a:pt x="7952967" y="244929"/>
                    </a:lnTo>
                    <a:close/>
                    <a:moveTo>
                      <a:pt x="8091389" y="342900"/>
                    </a:moveTo>
                    <a:lnTo>
                      <a:pt x="8091389" y="336777"/>
                    </a:lnTo>
                    <a:cubicBezTo>
                      <a:pt x="8085098" y="336777"/>
                      <a:pt x="8078806" y="336777"/>
                      <a:pt x="8078806" y="330654"/>
                    </a:cubicBezTo>
                    <a:cubicBezTo>
                      <a:pt x="8053638" y="269422"/>
                      <a:pt x="7959260" y="91848"/>
                      <a:pt x="7959260" y="85725"/>
                    </a:cubicBezTo>
                    <a:cubicBezTo>
                      <a:pt x="7959260" y="79602"/>
                      <a:pt x="7959260" y="79602"/>
                      <a:pt x="7965552" y="79602"/>
                    </a:cubicBezTo>
                    <a:lnTo>
                      <a:pt x="7965552" y="73479"/>
                    </a:lnTo>
                    <a:lnTo>
                      <a:pt x="7833422" y="73479"/>
                    </a:lnTo>
                    <a:lnTo>
                      <a:pt x="7833422" y="79602"/>
                    </a:lnTo>
                    <a:cubicBezTo>
                      <a:pt x="7839713" y="79602"/>
                      <a:pt x="7839713" y="79602"/>
                      <a:pt x="7839713" y="85725"/>
                    </a:cubicBezTo>
                    <a:cubicBezTo>
                      <a:pt x="7839713" y="91848"/>
                      <a:pt x="7783086" y="214313"/>
                      <a:pt x="7732751" y="330654"/>
                    </a:cubicBezTo>
                    <a:cubicBezTo>
                      <a:pt x="7732751" y="336777"/>
                      <a:pt x="7726459" y="336777"/>
                      <a:pt x="7720167" y="336777"/>
                    </a:cubicBezTo>
                    <a:lnTo>
                      <a:pt x="7720167" y="342900"/>
                    </a:lnTo>
                    <a:lnTo>
                      <a:pt x="7814546" y="342900"/>
                    </a:lnTo>
                    <a:lnTo>
                      <a:pt x="7814546" y="336777"/>
                    </a:lnTo>
                    <a:cubicBezTo>
                      <a:pt x="7814546" y="336777"/>
                      <a:pt x="7808254" y="336777"/>
                      <a:pt x="7808254" y="330654"/>
                    </a:cubicBezTo>
                    <a:cubicBezTo>
                      <a:pt x="7808254" y="324531"/>
                      <a:pt x="7820838" y="300038"/>
                      <a:pt x="7827129" y="287791"/>
                    </a:cubicBezTo>
                    <a:lnTo>
                      <a:pt x="7971843" y="287791"/>
                    </a:lnTo>
                    <a:cubicBezTo>
                      <a:pt x="7978135" y="300038"/>
                      <a:pt x="7990719" y="324531"/>
                      <a:pt x="7990719" y="330654"/>
                    </a:cubicBezTo>
                    <a:cubicBezTo>
                      <a:pt x="7990719" y="336777"/>
                      <a:pt x="7984427" y="336777"/>
                      <a:pt x="7984427" y="336777"/>
                    </a:cubicBezTo>
                    <a:lnTo>
                      <a:pt x="7984427" y="342900"/>
                    </a:lnTo>
                    <a:close/>
                    <a:moveTo>
                      <a:pt x="8267563" y="251052"/>
                    </a:moveTo>
                    <a:lnTo>
                      <a:pt x="8273855" y="257175"/>
                    </a:lnTo>
                    <a:lnTo>
                      <a:pt x="8273855" y="263298"/>
                    </a:lnTo>
                    <a:cubicBezTo>
                      <a:pt x="8273855" y="281668"/>
                      <a:pt x="8349358" y="293914"/>
                      <a:pt x="8399693" y="293914"/>
                    </a:cubicBezTo>
                    <a:cubicBezTo>
                      <a:pt x="8418569" y="293914"/>
                      <a:pt x="8456320" y="293914"/>
                      <a:pt x="8456320" y="269422"/>
                    </a:cubicBezTo>
                    <a:cubicBezTo>
                      <a:pt x="8456320" y="220436"/>
                      <a:pt x="8248687" y="269422"/>
                      <a:pt x="8248687" y="165327"/>
                    </a:cubicBezTo>
                    <a:cubicBezTo>
                      <a:pt x="8248687" y="128587"/>
                      <a:pt x="8286439" y="73479"/>
                      <a:pt x="8387109" y="73479"/>
                    </a:cubicBezTo>
                    <a:cubicBezTo>
                      <a:pt x="8450028" y="73479"/>
                      <a:pt x="8500363" y="91848"/>
                      <a:pt x="8512947" y="91848"/>
                    </a:cubicBezTo>
                    <a:cubicBezTo>
                      <a:pt x="8519239" y="91848"/>
                      <a:pt x="8525531" y="85725"/>
                      <a:pt x="8525531" y="85725"/>
                    </a:cubicBezTo>
                    <a:lnTo>
                      <a:pt x="8531822" y="85725"/>
                    </a:lnTo>
                    <a:lnTo>
                      <a:pt x="8494071" y="165327"/>
                    </a:lnTo>
                    <a:lnTo>
                      <a:pt x="8487779" y="159203"/>
                    </a:lnTo>
                    <a:lnTo>
                      <a:pt x="8487779" y="153080"/>
                    </a:lnTo>
                    <a:cubicBezTo>
                      <a:pt x="8487779" y="146957"/>
                      <a:pt x="8443736" y="128587"/>
                      <a:pt x="8399693" y="128587"/>
                    </a:cubicBezTo>
                    <a:cubicBezTo>
                      <a:pt x="8380817" y="128587"/>
                      <a:pt x="8330482" y="128587"/>
                      <a:pt x="8330482" y="153080"/>
                    </a:cubicBezTo>
                    <a:cubicBezTo>
                      <a:pt x="8330482" y="195943"/>
                      <a:pt x="8538115" y="153080"/>
                      <a:pt x="8538115" y="257175"/>
                    </a:cubicBezTo>
                    <a:cubicBezTo>
                      <a:pt x="8538115" y="306161"/>
                      <a:pt x="8494071" y="349024"/>
                      <a:pt x="8399693" y="349024"/>
                    </a:cubicBezTo>
                    <a:cubicBezTo>
                      <a:pt x="8336774" y="349024"/>
                      <a:pt x="8267563" y="324531"/>
                      <a:pt x="8261271" y="324531"/>
                    </a:cubicBezTo>
                    <a:cubicBezTo>
                      <a:pt x="8254979" y="324531"/>
                      <a:pt x="8248687" y="330654"/>
                      <a:pt x="8248687" y="330654"/>
                    </a:cubicBezTo>
                    <a:lnTo>
                      <a:pt x="8242395" y="330654"/>
                    </a:lnTo>
                    <a:close/>
                    <a:moveTo>
                      <a:pt x="8978548" y="287791"/>
                    </a:moveTo>
                    <a:cubicBezTo>
                      <a:pt x="8984840" y="287791"/>
                      <a:pt x="8991131" y="281668"/>
                      <a:pt x="8997424" y="269422"/>
                    </a:cubicBezTo>
                    <a:lnTo>
                      <a:pt x="9003715" y="269422"/>
                    </a:lnTo>
                    <a:lnTo>
                      <a:pt x="9003715" y="349024"/>
                    </a:lnTo>
                    <a:lnTo>
                      <a:pt x="8997424" y="349024"/>
                    </a:lnTo>
                    <a:cubicBezTo>
                      <a:pt x="8991131" y="336777"/>
                      <a:pt x="8991131" y="336777"/>
                      <a:pt x="8978548" y="336777"/>
                    </a:cubicBezTo>
                    <a:lnTo>
                      <a:pt x="8695412" y="336777"/>
                    </a:lnTo>
                    <a:lnTo>
                      <a:pt x="8695412" y="330654"/>
                    </a:lnTo>
                    <a:cubicBezTo>
                      <a:pt x="8701704" y="330654"/>
                      <a:pt x="8714288" y="330654"/>
                      <a:pt x="8714288" y="318407"/>
                    </a:cubicBezTo>
                    <a:lnTo>
                      <a:pt x="8714288" y="85725"/>
                    </a:lnTo>
                    <a:cubicBezTo>
                      <a:pt x="8714288" y="79602"/>
                      <a:pt x="8707996" y="73479"/>
                      <a:pt x="8695412" y="73479"/>
                    </a:cubicBezTo>
                    <a:lnTo>
                      <a:pt x="8695412" y="67355"/>
                    </a:lnTo>
                    <a:lnTo>
                      <a:pt x="8984840" y="67355"/>
                    </a:lnTo>
                    <a:cubicBezTo>
                      <a:pt x="8991131" y="67355"/>
                      <a:pt x="8997424" y="67355"/>
                      <a:pt x="8997424" y="55109"/>
                    </a:cubicBezTo>
                    <a:lnTo>
                      <a:pt x="9003715" y="55109"/>
                    </a:lnTo>
                    <a:lnTo>
                      <a:pt x="9003715" y="134711"/>
                    </a:lnTo>
                    <a:lnTo>
                      <a:pt x="8997424" y="134711"/>
                    </a:lnTo>
                    <a:cubicBezTo>
                      <a:pt x="8997424" y="122464"/>
                      <a:pt x="8991131" y="122464"/>
                      <a:pt x="8984840" y="122464"/>
                    </a:cubicBezTo>
                    <a:lnTo>
                      <a:pt x="8802374" y="122464"/>
                    </a:lnTo>
                    <a:lnTo>
                      <a:pt x="8802374" y="171450"/>
                    </a:lnTo>
                    <a:lnTo>
                      <a:pt x="8921921" y="171450"/>
                    </a:lnTo>
                    <a:cubicBezTo>
                      <a:pt x="8928212" y="171450"/>
                      <a:pt x="8934505" y="171450"/>
                      <a:pt x="8934505" y="159203"/>
                    </a:cubicBezTo>
                    <a:lnTo>
                      <a:pt x="8940796" y="159203"/>
                    </a:lnTo>
                    <a:lnTo>
                      <a:pt x="8940796" y="238805"/>
                    </a:lnTo>
                    <a:lnTo>
                      <a:pt x="8934505" y="238805"/>
                    </a:lnTo>
                    <a:cubicBezTo>
                      <a:pt x="8934505" y="226559"/>
                      <a:pt x="8928212" y="226559"/>
                      <a:pt x="8921921" y="226559"/>
                    </a:cubicBezTo>
                    <a:lnTo>
                      <a:pt x="8802374" y="226559"/>
                    </a:lnTo>
                    <a:lnTo>
                      <a:pt x="8802374" y="287791"/>
                    </a:lnTo>
                    <a:close/>
                    <a:moveTo>
                      <a:pt x="320887" y="753156"/>
                    </a:moveTo>
                    <a:lnTo>
                      <a:pt x="314595" y="747032"/>
                    </a:lnTo>
                    <a:lnTo>
                      <a:pt x="314595" y="734786"/>
                    </a:lnTo>
                    <a:cubicBezTo>
                      <a:pt x="314595" y="722540"/>
                      <a:pt x="264260" y="704170"/>
                      <a:pt x="213925" y="704170"/>
                    </a:cubicBezTo>
                    <a:cubicBezTo>
                      <a:pt x="163590" y="704170"/>
                      <a:pt x="94379" y="728663"/>
                      <a:pt x="94379" y="789895"/>
                    </a:cubicBezTo>
                    <a:cubicBezTo>
                      <a:pt x="94379" y="851127"/>
                      <a:pt x="163590" y="875620"/>
                      <a:pt x="213925" y="875620"/>
                    </a:cubicBezTo>
                    <a:cubicBezTo>
                      <a:pt x="239092" y="875620"/>
                      <a:pt x="320887" y="857250"/>
                      <a:pt x="320887" y="838881"/>
                    </a:cubicBezTo>
                    <a:cubicBezTo>
                      <a:pt x="320887" y="832757"/>
                      <a:pt x="320887" y="832757"/>
                      <a:pt x="314595" y="826634"/>
                    </a:cubicBezTo>
                    <a:lnTo>
                      <a:pt x="320887" y="820511"/>
                    </a:lnTo>
                    <a:lnTo>
                      <a:pt x="383806" y="918482"/>
                    </a:lnTo>
                    <a:lnTo>
                      <a:pt x="377514" y="924605"/>
                    </a:lnTo>
                    <a:cubicBezTo>
                      <a:pt x="377514" y="918482"/>
                      <a:pt x="371222" y="918482"/>
                      <a:pt x="371222" y="918482"/>
                    </a:cubicBezTo>
                    <a:cubicBezTo>
                      <a:pt x="358639" y="918482"/>
                      <a:pt x="302011" y="949098"/>
                      <a:pt x="207633" y="949098"/>
                    </a:cubicBezTo>
                    <a:cubicBezTo>
                      <a:pt x="106962" y="949098"/>
                      <a:pt x="0" y="893989"/>
                      <a:pt x="0" y="783772"/>
                    </a:cubicBezTo>
                    <a:cubicBezTo>
                      <a:pt x="0" y="673554"/>
                      <a:pt x="106962" y="618445"/>
                      <a:pt x="207633" y="618445"/>
                    </a:cubicBezTo>
                    <a:cubicBezTo>
                      <a:pt x="257968" y="618445"/>
                      <a:pt x="295720" y="624568"/>
                      <a:pt x="320887" y="630691"/>
                    </a:cubicBezTo>
                    <a:cubicBezTo>
                      <a:pt x="346055" y="636814"/>
                      <a:pt x="358639" y="642938"/>
                      <a:pt x="364930" y="642938"/>
                    </a:cubicBezTo>
                    <a:cubicBezTo>
                      <a:pt x="371222" y="642938"/>
                      <a:pt x="371222" y="642938"/>
                      <a:pt x="377514" y="636814"/>
                    </a:cubicBezTo>
                    <a:lnTo>
                      <a:pt x="383806" y="636814"/>
                    </a:lnTo>
                    <a:close/>
                    <a:moveTo>
                      <a:pt x="654358" y="753156"/>
                    </a:moveTo>
                    <a:cubicBezTo>
                      <a:pt x="704693" y="753156"/>
                      <a:pt x="742445" y="783772"/>
                      <a:pt x="742445" y="826634"/>
                    </a:cubicBezTo>
                    <a:cubicBezTo>
                      <a:pt x="742445" y="869497"/>
                      <a:pt x="704693" y="900113"/>
                      <a:pt x="654358" y="900113"/>
                    </a:cubicBezTo>
                    <a:cubicBezTo>
                      <a:pt x="604023" y="900113"/>
                      <a:pt x="566271" y="869497"/>
                      <a:pt x="566271" y="826634"/>
                    </a:cubicBezTo>
                    <a:cubicBezTo>
                      <a:pt x="566271" y="777649"/>
                      <a:pt x="610315" y="753156"/>
                      <a:pt x="654358" y="753156"/>
                    </a:cubicBezTo>
                    <a:close/>
                    <a:moveTo>
                      <a:pt x="654358" y="685800"/>
                    </a:moveTo>
                    <a:cubicBezTo>
                      <a:pt x="572563" y="685800"/>
                      <a:pt x="484477" y="728663"/>
                      <a:pt x="484477" y="826634"/>
                    </a:cubicBezTo>
                    <a:cubicBezTo>
                      <a:pt x="484477" y="924605"/>
                      <a:pt x="572563" y="967468"/>
                      <a:pt x="654358" y="967468"/>
                    </a:cubicBezTo>
                    <a:cubicBezTo>
                      <a:pt x="736153" y="967468"/>
                      <a:pt x="824240" y="924605"/>
                      <a:pt x="824240" y="826634"/>
                    </a:cubicBezTo>
                    <a:cubicBezTo>
                      <a:pt x="824240" y="728663"/>
                      <a:pt x="736153" y="685800"/>
                      <a:pt x="654358" y="685800"/>
                    </a:cubicBezTo>
                    <a:close/>
                    <a:moveTo>
                      <a:pt x="1264673" y="942975"/>
                    </a:moveTo>
                    <a:cubicBezTo>
                      <a:pt x="1264673" y="949098"/>
                      <a:pt x="1270965" y="955221"/>
                      <a:pt x="1283549" y="955221"/>
                    </a:cubicBezTo>
                    <a:lnTo>
                      <a:pt x="1283549" y="961345"/>
                    </a:lnTo>
                    <a:lnTo>
                      <a:pt x="1164002" y="961345"/>
                    </a:lnTo>
                    <a:lnTo>
                      <a:pt x="1164002" y="955221"/>
                    </a:lnTo>
                    <a:cubicBezTo>
                      <a:pt x="1170294" y="955221"/>
                      <a:pt x="1182878" y="955221"/>
                      <a:pt x="1182878" y="949098"/>
                    </a:cubicBezTo>
                    <a:cubicBezTo>
                      <a:pt x="1182878" y="936852"/>
                      <a:pt x="1101083" y="863373"/>
                      <a:pt x="1031872" y="783772"/>
                    </a:cubicBezTo>
                    <a:lnTo>
                      <a:pt x="1031872" y="942975"/>
                    </a:lnTo>
                    <a:cubicBezTo>
                      <a:pt x="1031872" y="949098"/>
                      <a:pt x="1038164" y="955221"/>
                      <a:pt x="1050748" y="955221"/>
                    </a:cubicBezTo>
                    <a:lnTo>
                      <a:pt x="1050748" y="961345"/>
                    </a:lnTo>
                    <a:lnTo>
                      <a:pt x="943786" y="961345"/>
                    </a:lnTo>
                    <a:lnTo>
                      <a:pt x="943786" y="955221"/>
                    </a:lnTo>
                    <a:cubicBezTo>
                      <a:pt x="950078" y="955221"/>
                      <a:pt x="962661" y="955221"/>
                      <a:pt x="962661" y="942975"/>
                    </a:cubicBezTo>
                    <a:lnTo>
                      <a:pt x="962661" y="710293"/>
                    </a:lnTo>
                    <a:cubicBezTo>
                      <a:pt x="962661" y="704170"/>
                      <a:pt x="956370" y="698047"/>
                      <a:pt x="943786" y="698047"/>
                    </a:cubicBezTo>
                    <a:lnTo>
                      <a:pt x="943786" y="691923"/>
                    </a:lnTo>
                    <a:lnTo>
                      <a:pt x="1094792" y="691923"/>
                    </a:lnTo>
                    <a:lnTo>
                      <a:pt x="1094792" y="698047"/>
                    </a:lnTo>
                    <a:cubicBezTo>
                      <a:pt x="1088500" y="698047"/>
                      <a:pt x="1082208" y="698047"/>
                      <a:pt x="1082208" y="710293"/>
                    </a:cubicBezTo>
                    <a:cubicBezTo>
                      <a:pt x="1082208" y="716416"/>
                      <a:pt x="1145127" y="777649"/>
                      <a:pt x="1195462" y="832757"/>
                    </a:cubicBezTo>
                    <a:lnTo>
                      <a:pt x="1195462" y="710293"/>
                    </a:lnTo>
                    <a:cubicBezTo>
                      <a:pt x="1195462" y="704170"/>
                      <a:pt x="1189170" y="698047"/>
                      <a:pt x="1176586" y="698047"/>
                    </a:cubicBezTo>
                    <a:lnTo>
                      <a:pt x="1176586" y="691923"/>
                    </a:lnTo>
                    <a:lnTo>
                      <a:pt x="1289840" y="691923"/>
                    </a:lnTo>
                    <a:lnTo>
                      <a:pt x="1289840" y="698047"/>
                    </a:lnTo>
                    <a:cubicBezTo>
                      <a:pt x="1277257" y="698047"/>
                      <a:pt x="1270965" y="698047"/>
                      <a:pt x="1270965" y="710293"/>
                    </a:cubicBezTo>
                    <a:lnTo>
                      <a:pt x="1270965" y="942975"/>
                    </a:lnTo>
                    <a:close/>
                    <a:moveTo>
                      <a:pt x="1673647" y="685800"/>
                    </a:moveTo>
                    <a:cubicBezTo>
                      <a:pt x="1679939" y="685800"/>
                      <a:pt x="1686231" y="685800"/>
                      <a:pt x="1686231" y="673554"/>
                    </a:cubicBezTo>
                    <a:lnTo>
                      <a:pt x="1692522" y="673554"/>
                    </a:lnTo>
                    <a:lnTo>
                      <a:pt x="1692522" y="765402"/>
                    </a:lnTo>
                    <a:lnTo>
                      <a:pt x="1686231" y="765402"/>
                    </a:lnTo>
                    <a:cubicBezTo>
                      <a:pt x="1686231" y="753156"/>
                      <a:pt x="1679939" y="753156"/>
                      <a:pt x="1673647" y="753156"/>
                    </a:cubicBezTo>
                    <a:lnTo>
                      <a:pt x="1585560" y="753156"/>
                    </a:lnTo>
                    <a:lnTo>
                      <a:pt x="1585560" y="942975"/>
                    </a:lnTo>
                    <a:cubicBezTo>
                      <a:pt x="1585560" y="949098"/>
                      <a:pt x="1591852" y="955221"/>
                      <a:pt x="1598144" y="955221"/>
                    </a:cubicBezTo>
                    <a:lnTo>
                      <a:pt x="1598144" y="961345"/>
                    </a:lnTo>
                    <a:lnTo>
                      <a:pt x="1484890" y="961345"/>
                    </a:lnTo>
                    <a:lnTo>
                      <a:pt x="1484890" y="955221"/>
                    </a:lnTo>
                    <a:cubicBezTo>
                      <a:pt x="1491181" y="955221"/>
                      <a:pt x="1497473" y="955221"/>
                      <a:pt x="1497473" y="942975"/>
                    </a:cubicBezTo>
                    <a:lnTo>
                      <a:pt x="1497473" y="753156"/>
                    </a:lnTo>
                    <a:lnTo>
                      <a:pt x="1409387" y="753156"/>
                    </a:lnTo>
                    <a:cubicBezTo>
                      <a:pt x="1403095" y="753156"/>
                      <a:pt x="1396803" y="753156"/>
                      <a:pt x="1396803" y="765402"/>
                    </a:cubicBezTo>
                    <a:lnTo>
                      <a:pt x="1390511" y="765402"/>
                    </a:lnTo>
                    <a:lnTo>
                      <a:pt x="1390511" y="673554"/>
                    </a:lnTo>
                    <a:lnTo>
                      <a:pt x="1396803" y="673554"/>
                    </a:lnTo>
                    <a:cubicBezTo>
                      <a:pt x="1396803" y="685800"/>
                      <a:pt x="1403095" y="685800"/>
                      <a:pt x="1409387" y="685800"/>
                    </a:cubicBezTo>
                    <a:close/>
                    <a:moveTo>
                      <a:pt x="1906447" y="740909"/>
                    </a:moveTo>
                    <a:lnTo>
                      <a:pt x="1994534" y="740909"/>
                    </a:lnTo>
                    <a:cubicBezTo>
                      <a:pt x="2032285" y="740909"/>
                      <a:pt x="2044869" y="753156"/>
                      <a:pt x="2044869" y="771525"/>
                    </a:cubicBezTo>
                    <a:cubicBezTo>
                      <a:pt x="2044869" y="796018"/>
                      <a:pt x="2025993" y="802141"/>
                      <a:pt x="2000826" y="802141"/>
                    </a:cubicBezTo>
                    <a:lnTo>
                      <a:pt x="1912739" y="802141"/>
                    </a:lnTo>
                    <a:lnTo>
                      <a:pt x="1912739" y="740909"/>
                    </a:lnTo>
                    <a:close/>
                    <a:moveTo>
                      <a:pt x="1824652" y="942975"/>
                    </a:moveTo>
                    <a:cubicBezTo>
                      <a:pt x="1824652" y="949098"/>
                      <a:pt x="1818361" y="955221"/>
                      <a:pt x="1812069" y="955221"/>
                    </a:cubicBezTo>
                    <a:lnTo>
                      <a:pt x="1812069" y="961345"/>
                    </a:lnTo>
                    <a:lnTo>
                      <a:pt x="1919031" y="961345"/>
                    </a:lnTo>
                    <a:lnTo>
                      <a:pt x="1919031" y="955221"/>
                    </a:lnTo>
                    <a:cubicBezTo>
                      <a:pt x="1912739" y="955221"/>
                      <a:pt x="1900155" y="955221"/>
                      <a:pt x="1900155" y="942975"/>
                    </a:cubicBezTo>
                    <a:lnTo>
                      <a:pt x="1900155" y="863373"/>
                    </a:lnTo>
                    <a:lnTo>
                      <a:pt x="1963074" y="863373"/>
                    </a:lnTo>
                    <a:cubicBezTo>
                      <a:pt x="1969366" y="875620"/>
                      <a:pt x="2013409" y="942975"/>
                      <a:pt x="2013409" y="949098"/>
                    </a:cubicBezTo>
                    <a:cubicBezTo>
                      <a:pt x="2013409" y="955221"/>
                      <a:pt x="2000826" y="955221"/>
                      <a:pt x="2000826" y="955221"/>
                    </a:cubicBezTo>
                    <a:lnTo>
                      <a:pt x="2000826" y="961345"/>
                    </a:lnTo>
                    <a:lnTo>
                      <a:pt x="2126664" y="961345"/>
                    </a:lnTo>
                    <a:lnTo>
                      <a:pt x="2126664" y="955221"/>
                    </a:lnTo>
                    <a:cubicBezTo>
                      <a:pt x="2120372" y="955221"/>
                      <a:pt x="2107788" y="949098"/>
                      <a:pt x="2101496" y="942975"/>
                    </a:cubicBezTo>
                    <a:lnTo>
                      <a:pt x="2044869" y="863373"/>
                    </a:lnTo>
                    <a:cubicBezTo>
                      <a:pt x="2082621" y="851127"/>
                      <a:pt x="2114080" y="826634"/>
                      <a:pt x="2114080" y="777649"/>
                    </a:cubicBezTo>
                    <a:cubicBezTo>
                      <a:pt x="2114080" y="722540"/>
                      <a:pt x="2070037" y="691923"/>
                      <a:pt x="2013409" y="691923"/>
                    </a:cubicBezTo>
                    <a:lnTo>
                      <a:pt x="1812069" y="691923"/>
                    </a:lnTo>
                    <a:lnTo>
                      <a:pt x="1812069" y="698047"/>
                    </a:lnTo>
                    <a:cubicBezTo>
                      <a:pt x="1818361" y="698047"/>
                      <a:pt x="1824652" y="698047"/>
                      <a:pt x="1824652" y="710293"/>
                    </a:cubicBezTo>
                    <a:close/>
                    <a:moveTo>
                      <a:pt x="2397216" y="753156"/>
                    </a:moveTo>
                    <a:cubicBezTo>
                      <a:pt x="2447551" y="753156"/>
                      <a:pt x="2485302" y="783772"/>
                      <a:pt x="2485302" y="826634"/>
                    </a:cubicBezTo>
                    <a:cubicBezTo>
                      <a:pt x="2485302" y="869497"/>
                      <a:pt x="2447551" y="900113"/>
                      <a:pt x="2397216" y="900113"/>
                    </a:cubicBezTo>
                    <a:cubicBezTo>
                      <a:pt x="2346880" y="900113"/>
                      <a:pt x="2309129" y="869497"/>
                      <a:pt x="2309129" y="826634"/>
                    </a:cubicBezTo>
                    <a:cubicBezTo>
                      <a:pt x="2309129" y="777649"/>
                      <a:pt x="2346880" y="753156"/>
                      <a:pt x="2397216" y="753156"/>
                    </a:cubicBezTo>
                    <a:close/>
                    <a:moveTo>
                      <a:pt x="2397216" y="685800"/>
                    </a:moveTo>
                    <a:cubicBezTo>
                      <a:pt x="2315421" y="685800"/>
                      <a:pt x="2227334" y="728663"/>
                      <a:pt x="2227334" y="826634"/>
                    </a:cubicBezTo>
                    <a:cubicBezTo>
                      <a:pt x="2227334" y="924605"/>
                      <a:pt x="2315421" y="967468"/>
                      <a:pt x="2397216" y="967468"/>
                    </a:cubicBezTo>
                    <a:cubicBezTo>
                      <a:pt x="2479011" y="967468"/>
                      <a:pt x="2567097" y="924605"/>
                      <a:pt x="2567097" y="826634"/>
                    </a:cubicBezTo>
                    <a:cubicBezTo>
                      <a:pt x="2567097" y="728663"/>
                      <a:pt x="2472719" y="685800"/>
                      <a:pt x="2397216" y="685800"/>
                    </a:cubicBezTo>
                    <a:close/>
                    <a:moveTo>
                      <a:pt x="2692935" y="710293"/>
                    </a:moveTo>
                    <a:cubicBezTo>
                      <a:pt x="2692935" y="704170"/>
                      <a:pt x="2686643" y="698047"/>
                      <a:pt x="2674060" y="698047"/>
                    </a:cubicBezTo>
                    <a:lnTo>
                      <a:pt x="2674060" y="691923"/>
                    </a:lnTo>
                    <a:lnTo>
                      <a:pt x="2793606" y="691923"/>
                    </a:lnTo>
                    <a:lnTo>
                      <a:pt x="2793606" y="698047"/>
                    </a:lnTo>
                    <a:cubicBezTo>
                      <a:pt x="2787314" y="698047"/>
                      <a:pt x="2774730" y="698047"/>
                      <a:pt x="2774730" y="710293"/>
                    </a:cubicBezTo>
                    <a:lnTo>
                      <a:pt x="2774730" y="900113"/>
                    </a:lnTo>
                    <a:lnTo>
                      <a:pt x="2950903" y="900113"/>
                    </a:lnTo>
                    <a:cubicBezTo>
                      <a:pt x="2957195" y="900113"/>
                      <a:pt x="2963487" y="900113"/>
                      <a:pt x="2963487" y="881743"/>
                    </a:cubicBezTo>
                    <a:lnTo>
                      <a:pt x="2969779" y="881743"/>
                    </a:lnTo>
                    <a:lnTo>
                      <a:pt x="2969779" y="973591"/>
                    </a:lnTo>
                    <a:lnTo>
                      <a:pt x="2963487" y="973591"/>
                    </a:lnTo>
                    <a:cubicBezTo>
                      <a:pt x="2963487" y="961345"/>
                      <a:pt x="2957195" y="961345"/>
                      <a:pt x="2950903" y="961345"/>
                    </a:cubicBezTo>
                    <a:lnTo>
                      <a:pt x="2674060" y="961345"/>
                    </a:lnTo>
                    <a:lnTo>
                      <a:pt x="2674060" y="955221"/>
                    </a:lnTo>
                    <a:cubicBezTo>
                      <a:pt x="2686643" y="955221"/>
                      <a:pt x="2692935" y="955221"/>
                      <a:pt x="2692935" y="942975"/>
                    </a:cubicBezTo>
                    <a:close/>
                    <a:moveTo>
                      <a:pt x="3429088" y="863373"/>
                    </a:moveTo>
                    <a:lnTo>
                      <a:pt x="3479423" y="753156"/>
                    </a:lnTo>
                    <a:lnTo>
                      <a:pt x="3529759" y="863373"/>
                    </a:lnTo>
                    <a:close/>
                    <a:moveTo>
                      <a:pt x="3668180" y="961345"/>
                    </a:moveTo>
                    <a:lnTo>
                      <a:pt x="3668180" y="955221"/>
                    </a:lnTo>
                    <a:cubicBezTo>
                      <a:pt x="3661889" y="955221"/>
                      <a:pt x="3655597" y="955221"/>
                      <a:pt x="3655597" y="949098"/>
                    </a:cubicBezTo>
                    <a:cubicBezTo>
                      <a:pt x="3630429" y="887866"/>
                      <a:pt x="3536050" y="710293"/>
                      <a:pt x="3536050" y="704170"/>
                    </a:cubicBezTo>
                    <a:cubicBezTo>
                      <a:pt x="3536050" y="698047"/>
                      <a:pt x="3536050" y="698047"/>
                      <a:pt x="3542342" y="698047"/>
                    </a:cubicBezTo>
                    <a:lnTo>
                      <a:pt x="3542342" y="691923"/>
                    </a:lnTo>
                    <a:lnTo>
                      <a:pt x="3410212" y="691923"/>
                    </a:lnTo>
                    <a:lnTo>
                      <a:pt x="3410212" y="698047"/>
                    </a:lnTo>
                    <a:cubicBezTo>
                      <a:pt x="3416504" y="698047"/>
                      <a:pt x="3416504" y="698047"/>
                      <a:pt x="3416504" y="704170"/>
                    </a:cubicBezTo>
                    <a:cubicBezTo>
                      <a:pt x="3416504" y="710293"/>
                      <a:pt x="3359877" y="832757"/>
                      <a:pt x="3309542" y="949098"/>
                    </a:cubicBezTo>
                    <a:cubicBezTo>
                      <a:pt x="3309542" y="955221"/>
                      <a:pt x="3303250" y="955221"/>
                      <a:pt x="3296958" y="955221"/>
                    </a:cubicBezTo>
                    <a:lnTo>
                      <a:pt x="3296958" y="961345"/>
                    </a:lnTo>
                    <a:lnTo>
                      <a:pt x="3391337" y="961345"/>
                    </a:lnTo>
                    <a:lnTo>
                      <a:pt x="3391337" y="955221"/>
                    </a:lnTo>
                    <a:cubicBezTo>
                      <a:pt x="3391337" y="955221"/>
                      <a:pt x="3385045" y="955221"/>
                      <a:pt x="3385045" y="949098"/>
                    </a:cubicBezTo>
                    <a:cubicBezTo>
                      <a:pt x="3385045" y="942975"/>
                      <a:pt x="3397629" y="918482"/>
                      <a:pt x="3403921" y="906236"/>
                    </a:cubicBezTo>
                    <a:lnTo>
                      <a:pt x="3548634" y="906236"/>
                    </a:lnTo>
                    <a:cubicBezTo>
                      <a:pt x="3554926" y="918482"/>
                      <a:pt x="3567510" y="942975"/>
                      <a:pt x="3567510" y="949098"/>
                    </a:cubicBezTo>
                    <a:cubicBezTo>
                      <a:pt x="3567510" y="955221"/>
                      <a:pt x="3561218" y="955221"/>
                      <a:pt x="3561218" y="955221"/>
                    </a:cubicBezTo>
                    <a:lnTo>
                      <a:pt x="3561218" y="961345"/>
                    </a:lnTo>
                    <a:close/>
                    <a:moveTo>
                      <a:pt x="4114906" y="942975"/>
                    </a:moveTo>
                    <a:cubicBezTo>
                      <a:pt x="4114906" y="949098"/>
                      <a:pt x="4121198" y="955221"/>
                      <a:pt x="4133781" y="955221"/>
                    </a:cubicBezTo>
                    <a:lnTo>
                      <a:pt x="4133781" y="961345"/>
                    </a:lnTo>
                    <a:lnTo>
                      <a:pt x="4014235" y="961345"/>
                    </a:lnTo>
                    <a:lnTo>
                      <a:pt x="4014235" y="955221"/>
                    </a:lnTo>
                    <a:cubicBezTo>
                      <a:pt x="4020527" y="955221"/>
                      <a:pt x="4033111" y="955221"/>
                      <a:pt x="4033111" y="949098"/>
                    </a:cubicBezTo>
                    <a:cubicBezTo>
                      <a:pt x="4033111" y="936852"/>
                      <a:pt x="3951316" y="863373"/>
                      <a:pt x="3882105" y="783772"/>
                    </a:cubicBezTo>
                    <a:lnTo>
                      <a:pt x="3882105" y="942975"/>
                    </a:lnTo>
                    <a:cubicBezTo>
                      <a:pt x="3882105" y="949098"/>
                      <a:pt x="3888397" y="955221"/>
                      <a:pt x="3900981" y="955221"/>
                    </a:cubicBezTo>
                    <a:lnTo>
                      <a:pt x="3900981" y="961345"/>
                    </a:lnTo>
                    <a:lnTo>
                      <a:pt x="3787727" y="961345"/>
                    </a:lnTo>
                    <a:lnTo>
                      <a:pt x="3787727" y="955221"/>
                    </a:lnTo>
                    <a:cubicBezTo>
                      <a:pt x="3794018" y="955221"/>
                      <a:pt x="3806602" y="955221"/>
                      <a:pt x="3806602" y="942975"/>
                    </a:cubicBezTo>
                    <a:lnTo>
                      <a:pt x="3806602" y="710293"/>
                    </a:lnTo>
                    <a:cubicBezTo>
                      <a:pt x="3806602" y="704170"/>
                      <a:pt x="3800311" y="698047"/>
                      <a:pt x="3787727" y="698047"/>
                    </a:cubicBezTo>
                    <a:lnTo>
                      <a:pt x="3787727" y="691923"/>
                    </a:lnTo>
                    <a:lnTo>
                      <a:pt x="3938732" y="691923"/>
                    </a:lnTo>
                    <a:lnTo>
                      <a:pt x="3938732" y="698047"/>
                    </a:lnTo>
                    <a:cubicBezTo>
                      <a:pt x="3932440" y="698047"/>
                      <a:pt x="3926149" y="698047"/>
                      <a:pt x="3926149" y="710293"/>
                    </a:cubicBezTo>
                    <a:cubicBezTo>
                      <a:pt x="3926149" y="716416"/>
                      <a:pt x="3989068" y="777649"/>
                      <a:pt x="4039403" y="832757"/>
                    </a:cubicBezTo>
                    <a:lnTo>
                      <a:pt x="4039403" y="710293"/>
                    </a:lnTo>
                    <a:cubicBezTo>
                      <a:pt x="4039403" y="704170"/>
                      <a:pt x="4033111" y="698047"/>
                      <a:pt x="4020527" y="698047"/>
                    </a:cubicBezTo>
                    <a:lnTo>
                      <a:pt x="4020527" y="691923"/>
                    </a:lnTo>
                    <a:lnTo>
                      <a:pt x="4133781" y="691923"/>
                    </a:lnTo>
                    <a:lnTo>
                      <a:pt x="4133781" y="698047"/>
                    </a:lnTo>
                    <a:cubicBezTo>
                      <a:pt x="4121198" y="698047"/>
                      <a:pt x="4114906" y="698047"/>
                      <a:pt x="4114906" y="710293"/>
                    </a:cubicBezTo>
                    <a:close/>
                    <a:moveTo>
                      <a:pt x="4360290" y="747032"/>
                    </a:moveTo>
                    <a:lnTo>
                      <a:pt x="4404334" y="747032"/>
                    </a:lnTo>
                    <a:cubicBezTo>
                      <a:pt x="4467253" y="747032"/>
                      <a:pt x="4498712" y="765402"/>
                      <a:pt x="4498712" y="820511"/>
                    </a:cubicBezTo>
                    <a:cubicBezTo>
                      <a:pt x="4498712" y="875620"/>
                      <a:pt x="4473544" y="893989"/>
                      <a:pt x="4404334" y="893989"/>
                    </a:cubicBezTo>
                    <a:lnTo>
                      <a:pt x="4360290" y="893989"/>
                    </a:lnTo>
                    <a:close/>
                    <a:moveTo>
                      <a:pt x="4272203" y="942975"/>
                    </a:moveTo>
                    <a:cubicBezTo>
                      <a:pt x="4272203" y="949098"/>
                      <a:pt x="4265911" y="955221"/>
                      <a:pt x="4253328" y="955221"/>
                    </a:cubicBezTo>
                    <a:lnTo>
                      <a:pt x="4253328" y="961345"/>
                    </a:lnTo>
                    <a:lnTo>
                      <a:pt x="4442085" y="961345"/>
                    </a:lnTo>
                    <a:cubicBezTo>
                      <a:pt x="4536464" y="961345"/>
                      <a:pt x="4574215" y="900113"/>
                      <a:pt x="4574215" y="826634"/>
                    </a:cubicBezTo>
                    <a:cubicBezTo>
                      <a:pt x="4574215" y="753156"/>
                      <a:pt x="4536464" y="691923"/>
                      <a:pt x="4442085" y="691923"/>
                    </a:cubicBezTo>
                    <a:lnTo>
                      <a:pt x="4253328" y="691923"/>
                    </a:lnTo>
                    <a:lnTo>
                      <a:pt x="4253328" y="698047"/>
                    </a:lnTo>
                    <a:cubicBezTo>
                      <a:pt x="4259620" y="698047"/>
                      <a:pt x="4272203" y="698047"/>
                      <a:pt x="4272203" y="710293"/>
                    </a:cubicBezTo>
                    <a:close/>
                    <a:moveTo>
                      <a:pt x="5058691" y="704170"/>
                    </a:moveTo>
                    <a:lnTo>
                      <a:pt x="5153070" y="704170"/>
                    </a:lnTo>
                    <a:cubicBezTo>
                      <a:pt x="5184529" y="704170"/>
                      <a:pt x="5203405" y="716416"/>
                      <a:pt x="5203405" y="740909"/>
                    </a:cubicBezTo>
                    <a:cubicBezTo>
                      <a:pt x="5203405" y="765402"/>
                      <a:pt x="5184529" y="777649"/>
                      <a:pt x="5153070" y="777649"/>
                    </a:cubicBezTo>
                    <a:lnTo>
                      <a:pt x="5058691" y="777649"/>
                    </a:lnTo>
                    <a:close/>
                    <a:moveTo>
                      <a:pt x="5058691" y="838881"/>
                    </a:moveTo>
                    <a:lnTo>
                      <a:pt x="5171946" y="838881"/>
                    </a:lnTo>
                    <a:cubicBezTo>
                      <a:pt x="5253741" y="838881"/>
                      <a:pt x="5291492" y="789895"/>
                      <a:pt x="5291492" y="734786"/>
                    </a:cubicBezTo>
                    <a:cubicBezTo>
                      <a:pt x="5291492" y="679677"/>
                      <a:pt x="5247448" y="630691"/>
                      <a:pt x="5171946" y="630691"/>
                    </a:cubicBezTo>
                    <a:lnTo>
                      <a:pt x="4945437" y="630691"/>
                    </a:lnTo>
                    <a:lnTo>
                      <a:pt x="4945437" y="636814"/>
                    </a:lnTo>
                    <a:cubicBezTo>
                      <a:pt x="4964313" y="636814"/>
                      <a:pt x="4964313" y="642938"/>
                      <a:pt x="4964313" y="649061"/>
                    </a:cubicBezTo>
                    <a:lnTo>
                      <a:pt x="4964313" y="936852"/>
                    </a:lnTo>
                    <a:cubicBezTo>
                      <a:pt x="4964313" y="942975"/>
                      <a:pt x="4964313" y="949098"/>
                      <a:pt x="4945437" y="949098"/>
                    </a:cubicBezTo>
                    <a:lnTo>
                      <a:pt x="4945437" y="955221"/>
                    </a:lnTo>
                    <a:lnTo>
                      <a:pt x="5077567" y="955221"/>
                    </a:lnTo>
                    <a:lnTo>
                      <a:pt x="5077567" y="949098"/>
                    </a:lnTo>
                    <a:cubicBezTo>
                      <a:pt x="5058691" y="949098"/>
                      <a:pt x="5058691" y="942975"/>
                      <a:pt x="5058691" y="936852"/>
                    </a:cubicBezTo>
                    <a:close/>
                    <a:moveTo>
                      <a:pt x="5505417" y="740909"/>
                    </a:moveTo>
                    <a:lnTo>
                      <a:pt x="5593503" y="740909"/>
                    </a:lnTo>
                    <a:cubicBezTo>
                      <a:pt x="5631255" y="740909"/>
                      <a:pt x="5643839" y="753156"/>
                      <a:pt x="5643839" y="771525"/>
                    </a:cubicBezTo>
                    <a:cubicBezTo>
                      <a:pt x="5643839" y="796018"/>
                      <a:pt x="5624963" y="802141"/>
                      <a:pt x="5599796" y="802141"/>
                    </a:cubicBezTo>
                    <a:lnTo>
                      <a:pt x="5511709" y="802141"/>
                    </a:lnTo>
                    <a:lnTo>
                      <a:pt x="5511709" y="740909"/>
                    </a:lnTo>
                    <a:close/>
                    <a:moveTo>
                      <a:pt x="5423622" y="942975"/>
                    </a:moveTo>
                    <a:cubicBezTo>
                      <a:pt x="5423622" y="949098"/>
                      <a:pt x="5417330" y="955221"/>
                      <a:pt x="5411038" y="955221"/>
                    </a:cubicBezTo>
                    <a:lnTo>
                      <a:pt x="5411038" y="961345"/>
                    </a:lnTo>
                    <a:lnTo>
                      <a:pt x="5518001" y="961345"/>
                    </a:lnTo>
                    <a:lnTo>
                      <a:pt x="5518001" y="955221"/>
                    </a:lnTo>
                    <a:cubicBezTo>
                      <a:pt x="5511709" y="955221"/>
                      <a:pt x="5499125" y="955221"/>
                      <a:pt x="5499125" y="942975"/>
                    </a:cubicBezTo>
                    <a:lnTo>
                      <a:pt x="5499125" y="863373"/>
                    </a:lnTo>
                    <a:lnTo>
                      <a:pt x="5562044" y="863373"/>
                    </a:lnTo>
                    <a:cubicBezTo>
                      <a:pt x="5568336" y="875620"/>
                      <a:pt x="5612379" y="942975"/>
                      <a:pt x="5612379" y="949098"/>
                    </a:cubicBezTo>
                    <a:cubicBezTo>
                      <a:pt x="5612379" y="955221"/>
                      <a:pt x="5599796" y="955221"/>
                      <a:pt x="5599796" y="955221"/>
                    </a:cubicBezTo>
                    <a:lnTo>
                      <a:pt x="5599796" y="961345"/>
                    </a:lnTo>
                    <a:lnTo>
                      <a:pt x="5725634" y="961345"/>
                    </a:lnTo>
                    <a:lnTo>
                      <a:pt x="5725634" y="955221"/>
                    </a:lnTo>
                    <a:cubicBezTo>
                      <a:pt x="5719341" y="955221"/>
                      <a:pt x="5706758" y="949098"/>
                      <a:pt x="5700466" y="942975"/>
                    </a:cubicBezTo>
                    <a:lnTo>
                      <a:pt x="5643839" y="863373"/>
                    </a:lnTo>
                    <a:cubicBezTo>
                      <a:pt x="5681590" y="851127"/>
                      <a:pt x="5713050" y="826634"/>
                      <a:pt x="5713050" y="777649"/>
                    </a:cubicBezTo>
                    <a:cubicBezTo>
                      <a:pt x="5713050" y="722540"/>
                      <a:pt x="5669006" y="691923"/>
                      <a:pt x="5612379" y="691923"/>
                    </a:cubicBezTo>
                    <a:lnTo>
                      <a:pt x="5411038" y="691923"/>
                    </a:lnTo>
                    <a:lnTo>
                      <a:pt x="5411038" y="698047"/>
                    </a:lnTo>
                    <a:cubicBezTo>
                      <a:pt x="5417330" y="698047"/>
                      <a:pt x="5423622" y="698047"/>
                      <a:pt x="5423622" y="710293"/>
                    </a:cubicBezTo>
                    <a:close/>
                    <a:moveTo>
                      <a:pt x="6122023" y="906236"/>
                    </a:moveTo>
                    <a:cubicBezTo>
                      <a:pt x="6128315" y="906236"/>
                      <a:pt x="6134607" y="900113"/>
                      <a:pt x="6140899" y="893989"/>
                    </a:cubicBezTo>
                    <a:lnTo>
                      <a:pt x="6147191" y="893989"/>
                    </a:lnTo>
                    <a:lnTo>
                      <a:pt x="6147191" y="973591"/>
                    </a:lnTo>
                    <a:lnTo>
                      <a:pt x="6140899" y="973591"/>
                    </a:lnTo>
                    <a:cubicBezTo>
                      <a:pt x="6134607" y="961345"/>
                      <a:pt x="6134607" y="961345"/>
                      <a:pt x="6122023" y="961345"/>
                    </a:cubicBezTo>
                    <a:lnTo>
                      <a:pt x="5838888" y="961345"/>
                    </a:lnTo>
                    <a:lnTo>
                      <a:pt x="5838888" y="955221"/>
                    </a:lnTo>
                    <a:cubicBezTo>
                      <a:pt x="5845179" y="955221"/>
                      <a:pt x="5857764" y="955221"/>
                      <a:pt x="5857764" y="942975"/>
                    </a:cubicBezTo>
                    <a:lnTo>
                      <a:pt x="5857764" y="710293"/>
                    </a:lnTo>
                    <a:cubicBezTo>
                      <a:pt x="5857764" y="704170"/>
                      <a:pt x="5851472" y="698047"/>
                      <a:pt x="5838888" y="698047"/>
                    </a:cubicBezTo>
                    <a:lnTo>
                      <a:pt x="5838888" y="691923"/>
                    </a:lnTo>
                    <a:lnTo>
                      <a:pt x="6128315" y="691923"/>
                    </a:lnTo>
                    <a:cubicBezTo>
                      <a:pt x="6134607" y="691923"/>
                      <a:pt x="6140899" y="691923"/>
                      <a:pt x="6140899" y="679677"/>
                    </a:cubicBezTo>
                    <a:lnTo>
                      <a:pt x="6147191" y="679677"/>
                    </a:lnTo>
                    <a:lnTo>
                      <a:pt x="6147191" y="759279"/>
                    </a:lnTo>
                    <a:lnTo>
                      <a:pt x="6140899" y="759279"/>
                    </a:lnTo>
                    <a:cubicBezTo>
                      <a:pt x="6140899" y="747032"/>
                      <a:pt x="6134607" y="747032"/>
                      <a:pt x="6128315" y="747032"/>
                    </a:cubicBezTo>
                    <a:lnTo>
                      <a:pt x="5945850" y="747032"/>
                    </a:lnTo>
                    <a:lnTo>
                      <a:pt x="5945850" y="796018"/>
                    </a:lnTo>
                    <a:lnTo>
                      <a:pt x="6065396" y="796018"/>
                    </a:lnTo>
                    <a:cubicBezTo>
                      <a:pt x="6071688" y="796018"/>
                      <a:pt x="6077980" y="796018"/>
                      <a:pt x="6077980" y="783772"/>
                    </a:cubicBezTo>
                    <a:lnTo>
                      <a:pt x="6084272" y="783772"/>
                    </a:lnTo>
                    <a:lnTo>
                      <a:pt x="6084272" y="863373"/>
                    </a:lnTo>
                    <a:lnTo>
                      <a:pt x="6077980" y="863373"/>
                    </a:lnTo>
                    <a:cubicBezTo>
                      <a:pt x="6077980" y="851127"/>
                      <a:pt x="6071688" y="851127"/>
                      <a:pt x="6065396" y="851127"/>
                    </a:cubicBezTo>
                    <a:lnTo>
                      <a:pt x="5945850" y="851127"/>
                    </a:lnTo>
                    <a:lnTo>
                      <a:pt x="5945850" y="912359"/>
                    </a:lnTo>
                    <a:lnTo>
                      <a:pt x="6122023" y="912359"/>
                    </a:lnTo>
                    <a:close/>
                    <a:moveTo>
                      <a:pt x="6247861" y="685800"/>
                    </a:moveTo>
                    <a:lnTo>
                      <a:pt x="6367408" y="685800"/>
                    </a:lnTo>
                    <a:lnTo>
                      <a:pt x="6367408" y="691923"/>
                    </a:lnTo>
                    <a:cubicBezTo>
                      <a:pt x="6361116" y="691923"/>
                      <a:pt x="6348532" y="691923"/>
                      <a:pt x="6348532" y="698047"/>
                    </a:cubicBezTo>
                    <a:cubicBezTo>
                      <a:pt x="6348532" y="704170"/>
                      <a:pt x="6398867" y="838881"/>
                      <a:pt x="6405159" y="857250"/>
                    </a:cubicBezTo>
                    <a:cubicBezTo>
                      <a:pt x="6430327" y="802141"/>
                      <a:pt x="6468078" y="704170"/>
                      <a:pt x="6468078" y="698047"/>
                    </a:cubicBezTo>
                    <a:cubicBezTo>
                      <a:pt x="6468078" y="691923"/>
                      <a:pt x="6455494" y="691923"/>
                      <a:pt x="6455494" y="691923"/>
                    </a:cubicBezTo>
                    <a:lnTo>
                      <a:pt x="6455494" y="685800"/>
                    </a:lnTo>
                    <a:lnTo>
                      <a:pt x="6562457" y="685800"/>
                    </a:lnTo>
                    <a:lnTo>
                      <a:pt x="6562457" y="691923"/>
                    </a:lnTo>
                    <a:cubicBezTo>
                      <a:pt x="6556165" y="691923"/>
                      <a:pt x="6549873" y="691923"/>
                      <a:pt x="6549873" y="698047"/>
                    </a:cubicBezTo>
                    <a:cubicBezTo>
                      <a:pt x="6543581" y="722540"/>
                      <a:pt x="6449203" y="930729"/>
                      <a:pt x="6449203" y="936852"/>
                    </a:cubicBezTo>
                    <a:cubicBezTo>
                      <a:pt x="6449203" y="942975"/>
                      <a:pt x="6455494" y="949098"/>
                      <a:pt x="6461786" y="949098"/>
                    </a:cubicBezTo>
                    <a:lnTo>
                      <a:pt x="6461786" y="955221"/>
                    </a:lnTo>
                    <a:lnTo>
                      <a:pt x="6329656" y="955221"/>
                    </a:lnTo>
                    <a:lnTo>
                      <a:pt x="6329656" y="949098"/>
                    </a:lnTo>
                    <a:cubicBezTo>
                      <a:pt x="6335948" y="949098"/>
                      <a:pt x="6342240" y="942975"/>
                      <a:pt x="6342240" y="936852"/>
                    </a:cubicBezTo>
                    <a:cubicBezTo>
                      <a:pt x="6342240" y="936852"/>
                      <a:pt x="6260445" y="698047"/>
                      <a:pt x="6254153" y="691923"/>
                    </a:cubicBezTo>
                    <a:lnTo>
                      <a:pt x="6241570" y="691923"/>
                    </a:lnTo>
                    <a:lnTo>
                      <a:pt x="6241570" y="685800"/>
                    </a:lnTo>
                    <a:close/>
                    <a:moveTo>
                      <a:pt x="6952555" y="906236"/>
                    </a:moveTo>
                    <a:cubicBezTo>
                      <a:pt x="6958847" y="906236"/>
                      <a:pt x="6965139" y="900113"/>
                      <a:pt x="6971430" y="893989"/>
                    </a:cubicBezTo>
                    <a:lnTo>
                      <a:pt x="6977722" y="893989"/>
                    </a:lnTo>
                    <a:lnTo>
                      <a:pt x="6977722" y="973591"/>
                    </a:lnTo>
                    <a:lnTo>
                      <a:pt x="6971430" y="973591"/>
                    </a:lnTo>
                    <a:cubicBezTo>
                      <a:pt x="6965139" y="961345"/>
                      <a:pt x="6965139" y="961345"/>
                      <a:pt x="6952555" y="961345"/>
                    </a:cubicBezTo>
                    <a:lnTo>
                      <a:pt x="6669419" y="961345"/>
                    </a:lnTo>
                    <a:lnTo>
                      <a:pt x="6669419" y="955221"/>
                    </a:lnTo>
                    <a:cubicBezTo>
                      <a:pt x="6675711" y="955221"/>
                      <a:pt x="6688295" y="955221"/>
                      <a:pt x="6688295" y="942975"/>
                    </a:cubicBezTo>
                    <a:lnTo>
                      <a:pt x="6688295" y="710293"/>
                    </a:lnTo>
                    <a:cubicBezTo>
                      <a:pt x="6688295" y="704170"/>
                      <a:pt x="6682003" y="698047"/>
                      <a:pt x="6669419" y="698047"/>
                    </a:cubicBezTo>
                    <a:lnTo>
                      <a:pt x="6669419" y="691923"/>
                    </a:lnTo>
                    <a:lnTo>
                      <a:pt x="6958847" y="691923"/>
                    </a:lnTo>
                    <a:cubicBezTo>
                      <a:pt x="6965139" y="691923"/>
                      <a:pt x="6971430" y="691923"/>
                      <a:pt x="6971430" y="679677"/>
                    </a:cubicBezTo>
                    <a:lnTo>
                      <a:pt x="6977722" y="679677"/>
                    </a:lnTo>
                    <a:lnTo>
                      <a:pt x="6977722" y="759279"/>
                    </a:lnTo>
                    <a:lnTo>
                      <a:pt x="6971430" y="759279"/>
                    </a:lnTo>
                    <a:cubicBezTo>
                      <a:pt x="6971430" y="747032"/>
                      <a:pt x="6965139" y="747032"/>
                      <a:pt x="6958847" y="747032"/>
                    </a:cubicBezTo>
                    <a:lnTo>
                      <a:pt x="6776381" y="747032"/>
                    </a:lnTo>
                    <a:lnTo>
                      <a:pt x="6776381" y="796018"/>
                    </a:lnTo>
                    <a:lnTo>
                      <a:pt x="6895928" y="796018"/>
                    </a:lnTo>
                    <a:cubicBezTo>
                      <a:pt x="6902220" y="796018"/>
                      <a:pt x="6908511" y="796018"/>
                      <a:pt x="6908511" y="783772"/>
                    </a:cubicBezTo>
                    <a:lnTo>
                      <a:pt x="6914803" y="783772"/>
                    </a:lnTo>
                    <a:lnTo>
                      <a:pt x="6914803" y="863373"/>
                    </a:lnTo>
                    <a:lnTo>
                      <a:pt x="6908511" y="863373"/>
                    </a:lnTo>
                    <a:cubicBezTo>
                      <a:pt x="6908511" y="851127"/>
                      <a:pt x="6902220" y="851127"/>
                      <a:pt x="6895928" y="851127"/>
                    </a:cubicBezTo>
                    <a:lnTo>
                      <a:pt x="6776381" y="851127"/>
                    </a:lnTo>
                    <a:lnTo>
                      <a:pt x="6776381" y="912359"/>
                    </a:lnTo>
                    <a:lnTo>
                      <a:pt x="6952555" y="912359"/>
                    </a:lnTo>
                    <a:close/>
                    <a:moveTo>
                      <a:pt x="7437031" y="942975"/>
                    </a:moveTo>
                    <a:cubicBezTo>
                      <a:pt x="7437031" y="949098"/>
                      <a:pt x="7443323" y="955221"/>
                      <a:pt x="7455907" y="955221"/>
                    </a:cubicBezTo>
                    <a:lnTo>
                      <a:pt x="7455907" y="961345"/>
                    </a:lnTo>
                    <a:lnTo>
                      <a:pt x="7336361" y="961345"/>
                    </a:lnTo>
                    <a:lnTo>
                      <a:pt x="7336361" y="955221"/>
                    </a:lnTo>
                    <a:cubicBezTo>
                      <a:pt x="7342653" y="955221"/>
                      <a:pt x="7355237" y="955221"/>
                      <a:pt x="7355237" y="949098"/>
                    </a:cubicBezTo>
                    <a:cubicBezTo>
                      <a:pt x="7355237" y="936852"/>
                      <a:pt x="7273442" y="863373"/>
                      <a:pt x="7204231" y="783772"/>
                    </a:cubicBezTo>
                    <a:lnTo>
                      <a:pt x="7204231" y="942975"/>
                    </a:lnTo>
                    <a:cubicBezTo>
                      <a:pt x="7204231" y="949098"/>
                      <a:pt x="7210523" y="955221"/>
                      <a:pt x="7223107" y="955221"/>
                    </a:cubicBezTo>
                    <a:lnTo>
                      <a:pt x="7223107" y="961345"/>
                    </a:lnTo>
                    <a:lnTo>
                      <a:pt x="7116144" y="961345"/>
                    </a:lnTo>
                    <a:lnTo>
                      <a:pt x="7116144" y="955221"/>
                    </a:lnTo>
                    <a:cubicBezTo>
                      <a:pt x="7122436" y="955221"/>
                      <a:pt x="7135020" y="955221"/>
                      <a:pt x="7135020" y="942975"/>
                    </a:cubicBezTo>
                    <a:lnTo>
                      <a:pt x="7135020" y="710293"/>
                    </a:lnTo>
                    <a:cubicBezTo>
                      <a:pt x="7135020" y="704170"/>
                      <a:pt x="7128728" y="698047"/>
                      <a:pt x="7116144" y="698047"/>
                    </a:cubicBezTo>
                    <a:lnTo>
                      <a:pt x="7116144" y="691923"/>
                    </a:lnTo>
                    <a:lnTo>
                      <a:pt x="7267150" y="691923"/>
                    </a:lnTo>
                    <a:lnTo>
                      <a:pt x="7267150" y="698047"/>
                    </a:lnTo>
                    <a:cubicBezTo>
                      <a:pt x="7260858" y="698047"/>
                      <a:pt x="7254566" y="698047"/>
                      <a:pt x="7254566" y="710293"/>
                    </a:cubicBezTo>
                    <a:cubicBezTo>
                      <a:pt x="7254566" y="716416"/>
                      <a:pt x="7317485" y="777649"/>
                      <a:pt x="7367821" y="832757"/>
                    </a:cubicBezTo>
                    <a:lnTo>
                      <a:pt x="7367821" y="710293"/>
                    </a:lnTo>
                    <a:cubicBezTo>
                      <a:pt x="7367821" y="704170"/>
                      <a:pt x="7361529" y="698047"/>
                      <a:pt x="7348945" y="698047"/>
                    </a:cubicBezTo>
                    <a:lnTo>
                      <a:pt x="7348945" y="691923"/>
                    </a:lnTo>
                    <a:lnTo>
                      <a:pt x="7462199" y="691923"/>
                    </a:lnTo>
                    <a:lnTo>
                      <a:pt x="7462199" y="698047"/>
                    </a:lnTo>
                    <a:cubicBezTo>
                      <a:pt x="7449615" y="698047"/>
                      <a:pt x="7443323" y="698047"/>
                      <a:pt x="7443323" y="710293"/>
                    </a:cubicBezTo>
                    <a:lnTo>
                      <a:pt x="7443323" y="942975"/>
                    </a:lnTo>
                    <a:close/>
                    <a:moveTo>
                      <a:pt x="7846005" y="685800"/>
                    </a:moveTo>
                    <a:cubicBezTo>
                      <a:pt x="7852297" y="685800"/>
                      <a:pt x="7858589" y="685800"/>
                      <a:pt x="7858589" y="673554"/>
                    </a:cubicBezTo>
                    <a:lnTo>
                      <a:pt x="7864881" y="673554"/>
                    </a:lnTo>
                    <a:lnTo>
                      <a:pt x="7864881" y="765402"/>
                    </a:lnTo>
                    <a:lnTo>
                      <a:pt x="7858589" y="765402"/>
                    </a:lnTo>
                    <a:cubicBezTo>
                      <a:pt x="7858589" y="753156"/>
                      <a:pt x="7852297" y="753156"/>
                      <a:pt x="7846005" y="753156"/>
                    </a:cubicBezTo>
                    <a:lnTo>
                      <a:pt x="7757918" y="753156"/>
                    </a:lnTo>
                    <a:lnTo>
                      <a:pt x="7757918" y="942975"/>
                    </a:lnTo>
                    <a:cubicBezTo>
                      <a:pt x="7757918" y="949098"/>
                      <a:pt x="7764210" y="955221"/>
                      <a:pt x="7770503" y="955221"/>
                    </a:cubicBezTo>
                    <a:lnTo>
                      <a:pt x="7770503" y="961345"/>
                    </a:lnTo>
                    <a:lnTo>
                      <a:pt x="7657248" y="961345"/>
                    </a:lnTo>
                    <a:lnTo>
                      <a:pt x="7657248" y="955221"/>
                    </a:lnTo>
                    <a:cubicBezTo>
                      <a:pt x="7663540" y="955221"/>
                      <a:pt x="7669832" y="955221"/>
                      <a:pt x="7669832" y="942975"/>
                    </a:cubicBezTo>
                    <a:lnTo>
                      <a:pt x="7669832" y="753156"/>
                    </a:lnTo>
                    <a:lnTo>
                      <a:pt x="7581745" y="753156"/>
                    </a:lnTo>
                    <a:cubicBezTo>
                      <a:pt x="7575453" y="753156"/>
                      <a:pt x="7569161" y="753156"/>
                      <a:pt x="7569161" y="765402"/>
                    </a:cubicBezTo>
                    <a:lnTo>
                      <a:pt x="7562870" y="765402"/>
                    </a:lnTo>
                    <a:lnTo>
                      <a:pt x="7562870" y="673554"/>
                    </a:lnTo>
                    <a:lnTo>
                      <a:pt x="7569161" y="673554"/>
                    </a:lnTo>
                    <a:cubicBezTo>
                      <a:pt x="7569161" y="685800"/>
                      <a:pt x="7575453" y="685800"/>
                      <a:pt x="7581745" y="685800"/>
                    </a:cubicBezTo>
                    <a:close/>
                    <a:moveTo>
                      <a:pt x="8110265" y="685800"/>
                    </a:moveTo>
                    <a:lnTo>
                      <a:pt x="8110265" y="691923"/>
                    </a:lnTo>
                    <a:cubicBezTo>
                      <a:pt x="8097681" y="691923"/>
                      <a:pt x="8091389" y="691923"/>
                      <a:pt x="8091389" y="704170"/>
                    </a:cubicBezTo>
                    <a:lnTo>
                      <a:pt x="8091389" y="936852"/>
                    </a:lnTo>
                    <a:cubicBezTo>
                      <a:pt x="8091389" y="942975"/>
                      <a:pt x="8097681" y="949098"/>
                      <a:pt x="8110265" y="949098"/>
                    </a:cubicBezTo>
                    <a:lnTo>
                      <a:pt x="8110265" y="955221"/>
                    </a:lnTo>
                    <a:lnTo>
                      <a:pt x="7984427" y="955221"/>
                    </a:lnTo>
                    <a:lnTo>
                      <a:pt x="7984427" y="949098"/>
                    </a:lnTo>
                    <a:cubicBezTo>
                      <a:pt x="7997011" y="949098"/>
                      <a:pt x="8003303" y="949098"/>
                      <a:pt x="8003303" y="936852"/>
                    </a:cubicBezTo>
                    <a:lnTo>
                      <a:pt x="8003303" y="704170"/>
                    </a:lnTo>
                    <a:cubicBezTo>
                      <a:pt x="8003303" y="698047"/>
                      <a:pt x="7997011" y="691923"/>
                      <a:pt x="7984427" y="691923"/>
                    </a:cubicBezTo>
                    <a:lnTo>
                      <a:pt x="7984427" y="685800"/>
                    </a:lnTo>
                    <a:close/>
                    <a:moveTo>
                      <a:pt x="8393401" y="753156"/>
                    </a:moveTo>
                    <a:cubicBezTo>
                      <a:pt x="8443736" y="753156"/>
                      <a:pt x="8481488" y="783772"/>
                      <a:pt x="8481488" y="826634"/>
                    </a:cubicBezTo>
                    <a:cubicBezTo>
                      <a:pt x="8481488" y="869497"/>
                      <a:pt x="8443736" y="900113"/>
                      <a:pt x="8393401" y="900113"/>
                    </a:cubicBezTo>
                    <a:cubicBezTo>
                      <a:pt x="8343065" y="900113"/>
                      <a:pt x="8305314" y="869497"/>
                      <a:pt x="8305314" y="826634"/>
                    </a:cubicBezTo>
                    <a:cubicBezTo>
                      <a:pt x="8305314" y="777649"/>
                      <a:pt x="8343065" y="753156"/>
                      <a:pt x="8393401" y="753156"/>
                    </a:cubicBezTo>
                    <a:close/>
                    <a:moveTo>
                      <a:pt x="8393401" y="685800"/>
                    </a:moveTo>
                    <a:cubicBezTo>
                      <a:pt x="8311606" y="685800"/>
                      <a:pt x="8223520" y="728663"/>
                      <a:pt x="8223520" y="826634"/>
                    </a:cubicBezTo>
                    <a:cubicBezTo>
                      <a:pt x="8223520" y="924605"/>
                      <a:pt x="8311606" y="967468"/>
                      <a:pt x="8393401" y="967468"/>
                    </a:cubicBezTo>
                    <a:cubicBezTo>
                      <a:pt x="8475195" y="967468"/>
                      <a:pt x="8563282" y="924605"/>
                      <a:pt x="8563282" y="826634"/>
                    </a:cubicBezTo>
                    <a:cubicBezTo>
                      <a:pt x="8563282" y="728663"/>
                      <a:pt x="8468903" y="685800"/>
                      <a:pt x="8393401" y="685800"/>
                    </a:cubicBezTo>
                    <a:close/>
                    <a:moveTo>
                      <a:pt x="8997424" y="942975"/>
                    </a:moveTo>
                    <a:cubicBezTo>
                      <a:pt x="8997424" y="949098"/>
                      <a:pt x="9003715" y="955221"/>
                      <a:pt x="9016300" y="955221"/>
                    </a:cubicBezTo>
                    <a:lnTo>
                      <a:pt x="9016300" y="961345"/>
                    </a:lnTo>
                    <a:lnTo>
                      <a:pt x="8896753" y="961345"/>
                    </a:lnTo>
                    <a:lnTo>
                      <a:pt x="8896753" y="955221"/>
                    </a:lnTo>
                    <a:cubicBezTo>
                      <a:pt x="8903045" y="955221"/>
                      <a:pt x="8915629" y="955221"/>
                      <a:pt x="8915629" y="949098"/>
                    </a:cubicBezTo>
                    <a:cubicBezTo>
                      <a:pt x="8915629" y="936852"/>
                      <a:pt x="8833834" y="863373"/>
                      <a:pt x="8764623" y="783772"/>
                    </a:cubicBezTo>
                    <a:lnTo>
                      <a:pt x="8764623" y="942975"/>
                    </a:lnTo>
                    <a:cubicBezTo>
                      <a:pt x="8764623" y="949098"/>
                      <a:pt x="8770915" y="955221"/>
                      <a:pt x="8783498" y="955221"/>
                    </a:cubicBezTo>
                    <a:lnTo>
                      <a:pt x="8783498" y="961345"/>
                    </a:lnTo>
                    <a:lnTo>
                      <a:pt x="8676536" y="961345"/>
                    </a:lnTo>
                    <a:lnTo>
                      <a:pt x="8676536" y="955221"/>
                    </a:lnTo>
                    <a:cubicBezTo>
                      <a:pt x="8682829" y="955221"/>
                      <a:pt x="8695412" y="955221"/>
                      <a:pt x="8695412" y="942975"/>
                    </a:cubicBezTo>
                    <a:lnTo>
                      <a:pt x="8695412" y="710293"/>
                    </a:lnTo>
                    <a:cubicBezTo>
                      <a:pt x="8695412" y="704170"/>
                      <a:pt x="8689120" y="698047"/>
                      <a:pt x="8676536" y="698047"/>
                    </a:cubicBezTo>
                    <a:lnTo>
                      <a:pt x="8676536" y="691923"/>
                    </a:lnTo>
                    <a:lnTo>
                      <a:pt x="8827543" y="691923"/>
                    </a:lnTo>
                    <a:lnTo>
                      <a:pt x="8827543" y="698047"/>
                    </a:lnTo>
                    <a:cubicBezTo>
                      <a:pt x="8821250" y="698047"/>
                      <a:pt x="8814958" y="698047"/>
                      <a:pt x="8814958" y="710293"/>
                    </a:cubicBezTo>
                    <a:cubicBezTo>
                      <a:pt x="8814958" y="716416"/>
                      <a:pt x="8877877" y="777649"/>
                      <a:pt x="8928212" y="832757"/>
                    </a:cubicBezTo>
                    <a:lnTo>
                      <a:pt x="8928212" y="710293"/>
                    </a:lnTo>
                    <a:cubicBezTo>
                      <a:pt x="8928212" y="704170"/>
                      <a:pt x="8921921" y="698047"/>
                      <a:pt x="8909336" y="698047"/>
                    </a:cubicBezTo>
                    <a:lnTo>
                      <a:pt x="8909336" y="691923"/>
                    </a:lnTo>
                    <a:lnTo>
                      <a:pt x="9022591" y="691923"/>
                    </a:lnTo>
                    <a:lnTo>
                      <a:pt x="9022591" y="698047"/>
                    </a:lnTo>
                    <a:cubicBezTo>
                      <a:pt x="9010007" y="698047"/>
                      <a:pt x="9003715" y="698047"/>
                      <a:pt x="9003715" y="710293"/>
                    </a:cubicBezTo>
                    <a:lnTo>
                      <a:pt x="9003715" y="942975"/>
                    </a:lnTo>
                    <a:close/>
                  </a:path>
                </a:pathLst>
              </a:custGeom>
              <a:solidFill>
                <a:srgbClr val="0058A2"/>
              </a:solidFill>
              <a:ln w="62877" cap="flat">
                <a:noFill/>
                <a:prstDash val="solid"/>
                <a:miter/>
              </a:ln>
            </p:spPr>
            <p:txBody>
              <a:bodyPr rtlCol="0" anchor="ctr"/>
              <a:lstStyle/>
              <a:p>
                <a:endParaRPr lang="en-US" sz="1800"/>
              </a:p>
            </p:txBody>
          </p:sp>
        </p:grpSp>
        <p:pic>
          <p:nvPicPr>
            <p:cNvPr id="33" name="Picture 2" descr="Gates Foundation">
              <a:extLst>
                <a:ext uri="{FF2B5EF4-FFF2-40B4-BE49-F238E27FC236}">
                  <a16:creationId xmlns:a16="http://schemas.microsoft.com/office/drawing/2014/main" id="{EBB777D2-2006-2D71-94E4-D6CD39E071E8}"/>
                </a:ext>
              </a:extLst>
            </p:cNvPr>
            <p:cNvPicPr>
              <a:picLocks noChangeAspect="1" noChangeArrowheads="1"/>
            </p:cNvPicPr>
            <p:nvPr userDrawn="1"/>
          </p:nvPicPr>
          <p:blipFill>
            <a:blip r:embed="rId16" cstate="screen">
              <a:extLst>
                <a:ext uri="{28A0092B-C50C-407E-A947-70E740481C1C}">
                  <a14:useLocalDpi xmlns:a14="http://schemas.microsoft.com/office/drawing/2010/main" val="0"/>
                </a:ext>
              </a:extLst>
            </a:blip>
            <a:srcRect/>
            <a:stretch>
              <a:fillRect/>
            </a:stretch>
          </p:blipFill>
          <p:spPr bwMode="ltGray">
            <a:xfrm>
              <a:off x="8801050" y="5854187"/>
              <a:ext cx="1698115" cy="1883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avi, the Vaccine Alliance">
              <a:extLst>
                <a:ext uri="{FF2B5EF4-FFF2-40B4-BE49-F238E27FC236}">
                  <a16:creationId xmlns:a16="http://schemas.microsoft.com/office/drawing/2014/main" id="{C9E4B6EE-8537-571D-15A3-9CE8A58F2440}"/>
                </a:ext>
              </a:extLst>
            </p:cNvPr>
            <p:cNvPicPr>
              <a:picLocks noChangeAspect="1" noChangeArrowheads="1"/>
            </p:cNvPicPr>
            <p:nvPr userDrawn="1"/>
          </p:nvPicPr>
          <p:blipFill>
            <a:blip r:embed="rId17" cstate="screen">
              <a:extLst>
                <a:ext uri="{28A0092B-C50C-407E-A947-70E740481C1C}">
                  <a14:useLocalDpi xmlns:a14="http://schemas.microsoft.com/office/drawing/2010/main" val="0"/>
                </a:ext>
              </a:extLst>
            </a:blip>
            <a:srcRect/>
            <a:stretch>
              <a:fillRect/>
            </a:stretch>
          </p:blipFill>
          <p:spPr bwMode="ltGray">
            <a:xfrm>
              <a:off x="10844175" y="5767291"/>
              <a:ext cx="790613" cy="29867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55957466"/>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1386356"/>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1" y="6293652"/>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473775"/>
            <a:ext cx="8160000" cy="492447"/>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1223500964"/>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24093-D13D-BA38-D14D-60BEF0D0706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05E965D0-8B93-3AF2-0B0F-7E335065B451}"/>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13631665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173718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Basic Text Slide -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2C699-CE20-7301-83C5-75C1BD96486F}"/>
              </a:ext>
            </a:extLst>
          </p:cNvPr>
          <p:cNvSpPr>
            <a:spLocks noGrp="1"/>
          </p:cNvSpPr>
          <p:nvPr>
            <p:ph type="title" hasCustomPrompt="1"/>
          </p:nvPr>
        </p:nvSpPr>
        <p:spPr/>
        <p:txBody>
          <a:bodyPr/>
          <a:lstStyle>
            <a:lvl1pPr>
              <a:lnSpc>
                <a:spcPct val="100000"/>
              </a:lnSpc>
              <a:defRPr>
                <a:solidFill>
                  <a:schemeClr val="accent6"/>
                </a:solidFill>
              </a:defRPr>
            </a:lvl1pPr>
          </a:lstStyle>
          <a:p>
            <a:r>
              <a:rPr lang="en-US"/>
              <a:t>Basic text slide – white background</a:t>
            </a:r>
          </a:p>
        </p:txBody>
      </p:sp>
      <p:sp>
        <p:nvSpPr>
          <p:cNvPr id="21" name="Text Placeholder 2">
            <a:extLst>
              <a:ext uri="{FF2B5EF4-FFF2-40B4-BE49-F238E27FC236}">
                <a16:creationId xmlns:a16="http://schemas.microsoft.com/office/drawing/2014/main" id="{163DE8A5-5065-5348-8E74-D19DA245609C}"/>
              </a:ext>
            </a:extLst>
          </p:cNvPr>
          <p:cNvSpPr>
            <a:spLocks noGrp="1"/>
          </p:cNvSpPr>
          <p:nvPr>
            <p:ph type="body" sz="quarter" idx="13" hasCustomPrompt="1"/>
          </p:nvPr>
        </p:nvSpPr>
        <p:spPr>
          <a:xfrm>
            <a:off x="542457" y="1021113"/>
            <a:ext cx="11119274" cy="246221"/>
          </a:xfrm>
          <a:prstGeom prst="rect">
            <a:avLst/>
          </a:prstGeom>
        </p:spPr>
        <p:txBody>
          <a:bodyPr vert="horz" wrap="square" lIns="0" tIns="0" rIns="0" bIns="0" rtlCol="0">
            <a:noAutofit/>
          </a:bodyPr>
          <a:lstStyle>
            <a:lvl1pPr marL="0" indent="0" algn="l">
              <a:lnSpc>
                <a:spcPct val="100000"/>
              </a:lnSpc>
              <a:spcBef>
                <a:spcPts val="0"/>
              </a:spcBef>
              <a:buFont typeface="Arial" panose="020B0604020202020204" pitchFamily="34" charset="0"/>
              <a:buNone/>
              <a:defRPr lang="en-US" sz="1600" b="0" i="0" baseline="0" dirty="0">
                <a:solidFill>
                  <a:schemeClr val="accent6"/>
                </a:solidFill>
                <a:latin typeface="Calibri Light" panose="020F0302020204030204" pitchFamily="34" charset="0"/>
                <a:cs typeface="Calibri Light" panose="020F0302020204030204" pitchFamily="34" charset="0"/>
              </a:defRPr>
            </a:lvl1pPr>
            <a:lvl2pPr marL="171493" indent="-171493">
              <a:spcBef>
                <a:spcPts val="336"/>
              </a:spcBef>
              <a:spcAft>
                <a:spcPts val="0"/>
              </a:spcAft>
              <a:buClr>
                <a:schemeClr val="accent3">
                  <a:lumMod val="75000"/>
                </a:schemeClr>
              </a:buClr>
              <a:buFont typeface="Wingdings" panose="05000000000000000000" pitchFamily="2" charset="2"/>
              <a:buChar char="§"/>
              <a:defRPr sz="1300"/>
            </a:lvl2pPr>
            <a:lvl3pPr marL="342987" indent="-171493">
              <a:spcBef>
                <a:spcPts val="336"/>
              </a:spcBef>
              <a:buClr>
                <a:srgbClr val="3086AB"/>
              </a:buClr>
              <a:buFont typeface="Arial" panose="020B0604020202020204" pitchFamily="34" charset="0"/>
              <a:buChar char="•"/>
              <a:tabLst/>
              <a:defRPr baseline="0"/>
            </a:lvl3pPr>
            <a:lvl4pPr marL="516069" indent="-173082">
              <a:spcBef>
                <a:spcPts val="336"/>
              </a:spcBef>
              <a:spcAft>
                <a:spcPts val="0"/>
              </a:spcAft>
              <a:buFont typeface="Arial" panose="020B0604020202020204" pitchFamily="34" charset="0"/>
              <a:buChar char="-"/>
              <a:tabLst/>
              <a:defRPr baseline="0"/>
            </a:lvl4pPr>
            <a:lvl5pPr marL="687562" indent="-171493">
              <a:spcBef>
                <a:spcPts val="336"/>
              </a:spcBef>
              <a:defRPr baseline="0"/>
            </a:lvl5pPr>
          </a:lstStyle>
          <a:p>
            <a:pPr marL="285823" lvl="0" indent="-285823">
              <a:lnSpc>
                <a:spcPct val="100000"/>
              </a:lnSpc>
            </a:pPr>
            <a:r>
              <a:rPr lang="en-US"/>
              <a:t>Page Description / Narrative Text (Optional)</a:t>
            </a:r>
          </a:p>
        </p:txBody>
      </p:sp>
      <p:sp>
        <p:nvSpPr>
          <p:cNvPr id="7" name="Text Placeholder 3">
            <a:extLst>
              <a:ext uri="{FF2B5EF4-FFF2-40B4-BE49-F238E27FC236}">
                <a16:creationId xmlns:a16="http://schemas.microsoft.com/office/drawing/2014/main" id="{D4CDDFFB-D274-6844-8B51-1DF88BFB98EB}"/>
              </a:ext>
            </a:extLst>
          </p:cNvPr>
          <p:cNvSpPr>
            <a:spLocks noGrp="1"/>
          </p:cNvSpPr>
          <p:nvPr>
            <p:ph type="body" sz="quarter" idx="21" hasCustomPrompt="1"/>
          </p:nvPr>
        </p:nvSpPr>
        <p:spPr>
          <a:xfrm>
            <a:off x="535486" y="6280278"/>
            <a:ext cx="11119274" cy="107705"/>
          </a:xfrm>
          <a:prstGeom prst="rect">
            <a:avLst/>
          </a:prstGeom>
        </p:spPr>
        <p:txBody>
          <a:bodyPr anchor="ctr">
            <a:spAutoFit/>
          </a:bodyPr>
          <a:lstStyle>
            <a:lvl1pPr>
              <a:spcAft>
                <a:spcPts val="0"/>
              </a:spcAft>
              <a:buFontTx/>
              <a:buNone/>
              <a:defRPr lang="en-US" sz="700" i="1"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to edit Source</a:t>
            </a:r>
          </a:p>
        </p:txBody>
      </p:sp>
      <p:sp>
        <p:nvSpPr>
          <p:cNvPr id="18" name="Date Placeholder 4">
            <a:extLst>
              <a:ext uri="{FF2B5EF4-FFF2-40B4-BE49-F238E27FC236}">
                <a16:creationId xmlns:a16="http://schemas.microsoft.com/office/drawing/2014/main" id="{693A3A6B-2912-404C-B880-AB1575C2DDD3}"/>
              </a:ext>
            </a:extLst>
          </p:cNvPr>
          <p:cNvSpPr>
            <a:spLocks noGrp="1"/>
          </p:cNvSpPr>
          <p:nvPr>
            <p:ph type="dt" sz="half" idx="2"/>
          </p:nvPr>
        </p:nvSpPr>
        <p:spPr>
          <a:xfrm>
            <a:off x="535487" y="6586325"/>
            <a:ext cx="2743915" cy="107722"/>
          </a:xfrm>
          <a:prstGeom prst="rect">
            <a:avLst/>
          </a:prstGeom>
        </p:spPr>
        <p:txBody>
          <a:bodyPr vert="horz" lIns="0" tIns="0" rIns="0" bIns="0" rtlCol="0" anchor="ctr" anchorCtr="0">
            <a:spAutoFit/>
          </a:bodyPr>
          <a:lstStyle>
            <a:lvl1pPr algn="l">
              <a:defRPr lang="en-US" sz="700" spc="20" baseline="0" smtClean="0">
                <a:solidFill>
                  <a:schemeClr val="accent6"/>
                </a:solidFill>
                <a:latin typeface="Calibri" panose="020F0502020204030204" pitchFamily="34" charset="0"/>
                <a:cs typeface="Calibri" panose="020F0502020204030204" pitchFamily="34" charset="0"/>
              </a:defRPr>
            </a:lvl1pPr>
          </a:lstStyle>
          <a:p>
            <a:endParaRPr lang="en-US"/>
          </a:p>
        </p:txBody>
      </p:sp>
      <p:sp>
        <p:nvSpPr>
          <p:cNvPr id="13" name="Footer Placeholder 5">
            <a:extLst>
              <a:ext uri="{FF2B5EF4-FFF2-40B4-BE49-F238E27FC236}">
                <a16:creationId xmlns:a16="http://schemas.microsoft.com/office/drawing/2014/main" id="{2E7B7752-E4B2-ED4B-8866-D8BBE94936E5}"/>
              </a:ext>
            </a:extLst>
          </p:cNvPr>
          <p:cNvSpPr>
            <a:spLocks noGrp="1"/>
          </p:cNvSpPr>
          <p:nvPr>
            <p:ph type="ftr" sz="quarter" idx="3"/>
          </p:nvPr>
        </p:nvSpPr>
        <p:spPr>
          <a:xfrm>
            <a:off x="4038063" y="6577816"/>
            <a:ext cx="4115872" cy="107722"/>
          </a:xfrm>
          <a:prstGeom prst="rect">
            <a:avLst/>
          </a:prstGeom>
        </p:spPr>
        <p:txBody>
          <a:bodyPr vert="horz" lIns="0" tIns="0" rIns="0" bIns="0" rtlCol="0" anchor="ctr" anchorCtr="0">
            <a:spAutoFit/>
          </a:bodyPr>
          <a:lstStyle>
            <a:lvl1pPr algn="ctr">
              <a:defRPr sz="700" spc="20" baseline="0">
                <a:solidFill>
                  <a:schemeClr val="accent6"/>
                </a:solidFill>
                <a:latin typeface="Calibri" panose="020F0502020204030204" pitchFamily="34" charset="0"/>
                <a:cs typeface="Calibri" panose="020F0502020204030204" pitchFamily="34" charset="0"/>
              </a:defRPr>
            </a:lvl1pPr>
          </a:lstStyle>
          <a:p>
            <a:endParaRPr lang="en-US"/>
          </a:p>
        </p:txBody>
      </p:sp>
      <p:sp>
        <p:nvSpPr>
          <p:cNvPr id="14" name="Slide Number Placeholder 6">
            <a:extLst>
              <a:ext uri="{FF2B5EF4-FFF2-40B4-BE49-F238E27FC236}">
                <a16:creationId xmlns:a16="http://schemas.microsoft.com/office/drawing/2014/main" id="{DF05B559-581F-D941-BDCC-78105100E19E}"/>
              </a:ext>
            </a:extLst>
          </p:cNvPr>
          <p:cNvSpPr>
            <a:spLocks noGrp="1"/>
          </p:cNvSpPr>
          <p:nvPr>
            <p:ph type="sldNum" sz="quarter" idx="4"/>
          </p:nvPr>
        </p:nvSpPr>
        <p:spPr>
          <a:xfrm>
            <a:off x="11408288" y="6577228"/>
            <a:ext cx="253444" cy="107722"/>
          </a:xfrm>
          <a:prstGeom prst="rect">
            <a:avLst/>
          </a:prstGeom>
        </p:spPr>
        <p:txBody>
          <a:bodyPr vert="horz" lIns="0" tIns="0" rIns="0" bIns="0" rtlCol="0" anchor="ctr">
            <a:spAutoFit/>
          </a:bodyPr>
          <a:lstStyle>
            <a:lvl1pPr algn="r">
              <a:defRPr sz="700">
                <a:solidFill>
                  <a:schemeClr val="accent6"/>
                </a:solidFill>
                <a:latin typeface="Calibri" panose="020F0502020204030204" pitchFamily="34" charset="0"/>
                <a:cs typeface="Calibri" panose="020F0502020204030204" pitchFamily="34" charset="0"/>
              </a:defRPr>
            </a:lvl1pPr>
          </a:lstStyle>
          <a:p>
            <a:fld id="{D3F7C509-FEEF-45D3-B896-7C07814C0C13}" type="slidenum">
              <a:rPr lang="en-US" smtClean="0"/>
              <a:pPr/>
              <a:t>‹#›</a:t>
            </a:fld>
            <a:endParaRPr lang="en-US"/>
          </a:p>
        </p:txBody>
      </p:sp>
      <p:sp>
        <p:nvSpPr>
          <p:cNvPr id="6" name="Text Placeholder 5">
            <a:extLst>
              <a:ext uri="{FF2B5EF4-FFF2-40B4-BE49-F238E27FC236}">
                <a16:creationId xmlns:a16="http://schemas.microsoft.com/office/drawing/2014/main" id="{3627DB30-90C6-211C-BDBC-DB034F63F953}"/>
              </a:ext>
            </a:extLst>
          </p:cNvPr>
          <p:cNvSpPr>
            <a:spLocks noGrp="1"/>
          </p:cNvSpPr>
          <p:nvPr>
            <p:ph type="body" sz="quarter" idx="22" hasCustomPrompt="1"/>
          </p:nvPr>
        </p:nvSpPr>
        <p:spPr>
          <a:xfrm>
            <a:off x="542925" y="1562100"/>
            <a:ext cx="11118850" cy="4649073"/>
          </a:xfrm>
        </p:spPr>
        <p:txBody>
          <a:bodyPr>
            <a:noAutofit/>
          </a:bodyPr>
          <a:lstStyle>
            <a:lvl1pPr>
              <a:lnSpc>
                <a:spcPct val="114000"/>
              </a:lnSpc>
              <a:defRPr/>
            </a:lvl1pPr>
          </a:lstStyle>
          <a:p>
            <a:pPr lvl="0"/>
            <a:r>
              <a:rPr lang="en-US"/>
              <a:t>Click to add text</a:t>
            </a:r>
          </a:p>
        </p:txBody>
      </p:sp>
    </p:spTree>
    <p:extLst>
      <p:ext uri="{BB962C8B-B14F-4D97-AF65-F5344CB8AC3E}">
        <p14:creationId xmlns:p14="http://schemas.microsoft.com/office/powerpoint/2010/main" val="209489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7D5AE-8498-8289-0B7A-9CDB67CC11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EB8264-BB2D-6EAB-E1F3-14D31F9017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A7BCA56-725B-FBFB-4F1A-2D46E25D9033}"/>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2191676406"/>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6BA4CB-3379-4259-8BA2-B72D3CFB04A3}"/>
              </a:ext>
            </a:extLst>
          </p:cNvPr>
          <p:cNvSpPr>
            <a:spLocks noGrp="1"/>
          </p:cNvSpPr>
          <p:nvPr>
            <p:ph type="dt" sz="half" idx="10"/>
          </p:nvPr>
        </p:nvSpPr>
        <p:spPr>
          <a:xfrm>
            <a:off x="838201" y="6356351"/>
            <a:ext cx="2743200" cy="365125"/>
          </a:xfrm>
          <a:prstGeom prst="rect">
            <a:avLst/>
          </a:prstGeom>
        </p:spPr>
        <p:txBody>
          <a:bodyPr/>
          <a:lstStyle/>
          <a:p>
            <a:endParaRPr lang="en-GB"/>
          </a:p>
        </p:txBody>
      </p:sp>
      <p:sp>
        <p:nvSpPr>
          <p:cNvPr id="3" name="Footer Placeholder 2">
            <a:extLst>
              <a:ext uri="{FF2B5EF4-FFF2-40B4-BE49-F238E27FC236}">
                <a16:creationId xmlns:a16="http://schemas.microsoft.com/office/drawing/2014/main" id="{8429DB7E-40AD-4142-A197-9880682D50A5}"/>
              </a:ext>
            </a:extLst>
          </p:cNvPr>
          <p:cNvSpPr>
            <a:spLocks noGrp="1"/>
          </p:cNvSpPr>
          <p:nvPr>
            <p:ph type="ftr" sz="quarter" idx="11"/>
          </p:nvPr>
        </p:nvSpPr>
        <p:spPr>
          <a:xfrm>
            <a:off x="4038600" y="6356351"/>
            <a:ext cx="4114800" cy="365125"/>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463AF157-C143-4C38-A485-34B7621FBBA3}"/>
              </a:ext>
            </a:extLst>
          </p:cNvPr>
          <p:cNvSpPr>
            <a:spLocks noGrp="1"/>
          </p:cNvSpPr>
          <p:nvPr>
            <p:ph type="sldNum" sz="quarter" idx="12"/>
          </p:nvPr>
        </p:nvSpPr>
        <p:spPr>
          <a:xfrm>
            <a:off x="8610600" y="6356351"/>
            <a:ext cx="2743200" cy="365125"/>
          </a:xfrm>
          <a:prstGeom prst="rect">
            <a:avLst/>
          </a:prstGeom>
        </p:spPr>
        <p:txBody>
          <a:bodyPr/>
          <a:lstStyle/>
          <a:p>
            <a:fld id="{091D6D7D-31F1-4EB0-AB4A-A9B94C9205B9}" type="slidenum">
              <a:rPr lang="en-GB" smtClean="0"/>
              <a:t>‹#›</a:t>
            </a:fld>
            <a:endParaRPr lang="en-GB"/>
          </a:p>
        </p:txBody>
      </p:sp>
    </p:spTree>
    <p:extLst>
      <p:ext uri="{BB962C8B-B14F-4D97-AF65-F5344CB8AC3E}">
        <p14:creationId xmlns:p14="http://schemas.microsoft.com/office/powerpoint/2010/main" val="2746288432"/>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4" hidden="1"/>
          <p:cNvGraphicFramePr>
            <a:graphicFrameLocks noChangeAspect="1"/>
          </p:cNvGraphicFramePr>
          <p:nvPr>
            <p:custDataLst>
              <p:tags r:id="rId1"/>
            </p:custDataLst>
          </p:nvPr>
        </p:nvGraphicFramePr>
        <p:xfrm>
          <a:off x="1962" y="1600"/>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62" y="1600"/>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6" descr="GPEI inside pages.jp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p:cNvSpPr>
            <a:spLocks noGrp="1"/>
          </p:cNvSpPr>
          <p:nvPr>
            <p:ph type="sldNum" sz="quarter" idx="10"/>
          </p:nvPr>
        </p:nvSpPr>
        <p:spPr/>
        <p:txBody>
          <a:bodyPr/>
          <a:lstStyle>
            <a:lvl1pPr defTabSz="844023">
              <a:defRPr b="1"/>
            </a:lvl1pPr>
          </a:lstStyle>
          <a:p>
            <a:fld id="{2AD275FA-0ED7-41FF-9699-975846A9EB8C}" type="slidenum">
              <a:rPr lang="en-US" smtClean="0"/>
              <a:t>‹#›</a:t>
            </a:fld>
            <a:endParaRPr lang="en-US"/>
          </a:p>
        </p:txBody>
      </p:sp>
      <p:sp>
        <p:nvSpPr>
          <p:cNvPr id="5" name="Title Placeholder 1"/>
          <p:cNvSpPr>
            <a:spLocks noGrp="1"/>
          </p:cNvSpPr>
          <p:nvPr>
            <p:ph type="title"/>
          </p:nvPr>
        </p:nvSpPr>
        <p:spPr>
          <a:xfrm>
            <a:off x="838207" y="365137"/>
            <a:ext cx="10515600" cy="615603"/>
          </a:xfrm>
          <a:prstGeom prst="rect">
            <a:avLst/>
          </a:prstGeom>
        </p:spPr>
        <p:txBody>
          <a:bodyPr vert="horz" lIns="91440" tIns="45720" rIns="91440" bIns="45720" rtlCol="0" anchor="t">
            <a:normAutofit/>
          </a:bodyPr>
          <a:lstStyle>
            <a:lvl1pPr>
              <a:defRPr lang="en-US" sz="2400" b="1" kern="1200" dirty="0" smtClean="0">
                <a:solidFill>
                  <a:schemeClr val="accent1"/>
                </a:solidFill>
                <a:latin typeface="+mj-lt"/>
                <a:ea typeface="+mj-ea"/>
                <a:cs typeface="+mj-cs"/>
              </a:defRPr>
            </a:lvl1pPr>
          </a:lstStyle>
          <a:p>
            <a:r>
              <a:rPr lang="en-US"/>
              <a:t>Click to edit Master title style</a:t>
            </a:r>
          </a:p>
        </p:txBody>
      </p:sp>
      <p:sp>
        <p:nvSpPr>
          <p:cNvPr id="8" name="Text Placeholder 7"/>
          <p:cNvSpPr>
            <a:spLocks noGrp="1"/>
          </p:cNvSpPr>
          <p:nvPr>
            <p:ph type="body" sz="quarter" idx="11"/>
          </p:nvPr>
        </p:nvSpPr>
        <p:spPr>
          <a:xfrm>
            <a:off x="838207" y="1341439"/>
            <a:ext cx="10515600" cy="816260"/>
          </a:xfrm>
          <a:prstGeom prst="rect">
            <a:avLst/>
          </a:prstGeom>
        </p:spPr>
        <p:txBody>
          <a:bodyPr/>
          <a:lstStyle>
            <a:lvl2pPr>
              <a:buClr>
                <a:schemeClr val="accent1"/>
              </a:buClr>
              <a:defRPr/>
            </a:lvl2pPr>
            <a:lvl3pPr>
              <a:buClr>
                <a:schemeClr val="accent1"/>
              </a:buCl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3979878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62C59-5671-411D-BFF9-8F5D573D165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FC2F097-2361-4590-A400-8EA2FC9FF162}"/>
              </a:ext>
            </a:extLst>
          </p:cNvPr>
          <p:cNvSpPr>
            <a:spLocks noGrp="1"/>
          </p:cNvSpPr>
          <p:nvPr>
            <p:ph type="sldNum" sz="quarter" idx="10"/>
          </p:nvPr>
        </p:nvSpPr>
        <p:spPr/>
        <p:txBody>
          <a:bodyPr/>
          <a:lstStyle/>
          <a:p>
            <a:fld id="{2AD275FA-0ED7-41FF-9699-975846A9EB8C}" type="slidenum">
              <a:rPr lang="en-US" smtClean="0"/>
              <a:t>‹#›</a:t>
            </a:fld>
            <a:endParaRPr lang="en-US"/>
          </a:p>
        </p:txBody>
      </p:sp>
    </p:spTree>
    <p:extLst>
      <p:ext uri="{BB962C8B-B14F-4D97-AF65-F5344CB8AC3E}">
        <p14:creationId xmlns:p14="http://schemas.microsoft.com/office/powerpoint/2010/main" val="3927052660"/>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D8E4E-EF53-81A0-1D93-CD000F0E586A}"/>
              </a:ext>
            </a:extLst>
          </p:cNvPr>
          <p:cNvSpPr>
            <a:spLocks noGrp="1"/>
          </p:cNvSpPr>
          <p:nvPr>
            <p:ph type="title"/>
          </p:nvPr>
        </p:nvSpPr>
        <p:spPr>
          <a:xfrm>
            <a:off x="838200" y="781686"/>
            <a:ext cx="10515600" cy="492443"/>
          </a:xfrm>
          <a:prstGeom prst="rect">
            <a:avLst/>
          </a:prstGeom>
        </p:spPr>
        <p:txBody>
          <a:bodyPr/>
          <a:lstStyle>
            <a:lvl1pPr>
              <a:defRPr sz="3200">
                <a:solidFill>
                  <a:srgbClr val="025295"/>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21992B4-CF75-3FB1-FC66-9500416CC4B2}"/>
              </a:ext>
            </a:extLst>
          </p:cNvPr>
          <p:cNvSpPr>
            <a:spLocks noGrp="1"/>
          </p:cNvSpPr>
          <p:nvPr>
            <p:ph idx="1"/>
          </p:nvPr>
        </p:nvSpPr>
        <p:spPr>
          <a:xfrm>
            <a:off x="838200" y="1825625"/>
            <a:ext cx="10515600" cy="138635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EC045A16-469C-70B9-F65C-D09D6E47C1C0}"/>
              </a:ext>
            </a:extLst>
          </p:cNvPr>
          <p:cNvSpPr/>
          <p:nvPr userDrawn="1"/>
        </p:nvSpPr>
        <p:spPr>
          <a:xfrm>
            <a:off x="1" y="6608141"/>
            <a:ext cx="2370017" cy="254000"/>
          </a:xfrm>
          <a:prstGeom prst="rect">
            <a:avLst/>
          </a:prstGeom>
          <a:solidFill>
            <a:srgbClr val="F997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8185C32A-BFCC-7AD2-C794-5C445E84A71A}"/>
              </a:ext>
            </a:extLst>
          </p:cNvPr>
          <p:cNvSpPr/>
          <p:nvPr userDrawn="1"/>
        </p:nvSpPr>
        <p:spPr>
          <a:xfrm>
            <a:off x="2411731" y="6605932"/>
            <a:ext cx="9780270" cy="254001"/>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 name="Picture 9" descr="A yellow footprints on a black background&#10;&#10;AI-generated content may be incorrect.">
            <a:extLst>
              <a:ext uri="{FF2B5EF4-FFF2-40B4-BE49-F238E27FC236}">
                <a16:creationId xmlns:a16="http://schemas.microsoft.com/office/drawing/2014/main" id="{D2613CD0-840E-DAA0-2108-2EEDC9C742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18845" y="5873749"/>
            <a:ext cx="703526" cy="591762"/>
          </a:xfrm>
          <a:prstGeom prst="rect">
            <a:avLst/>
          </a:prstGeom>
        </p:spPr>
      </p:pic>
      <p:sp>
        <p:nvSpPr>
          <p:cNvPr id="6" name="Slide Number Placeholder 5">
            <a:extLst>
              <a:ext uri="{FF2B5EF4-FFF2-40B4-BE49-F238E27FC236}">
                <a16:creationId xmlns:a16="http://schemas.microsoft.com/office/drawing/2014/main" id="{59CCFC40-05E8-1A96-A213-0BD9AED245FB}"/>
              </a:ext>
            </a:extLst>
          </p:cNvPr>
          <p:cNvSpPr>
            <a:spLocks noGrp="1"/>
          </p:cNvSpPr>
          <p:nvPr>
            <p:ph type="sldNum" sz="quarter" idx="12"/>
          </p:nvPr>
        </p:nvSpPr>
        <p:spPr>
          <a:xfrm>
            <a:off x="1" y="6605932"/>
            <a:ext cx="2370017" cy="252069"/>
          </a:xfrm>
        </p:spPr>
        <p:txBody>
          <a:bodyPr/>
          <a:lstStyle>
            <a:lvl1pPr algn="l">
              <a:defRPr/>
            </a:lvl1pPr>
          </a:lstStyle>
          <a:p>
            <a:fld id="{1BDAC386-2F89-4B27-A314-5EFD2D45DF4E}" type="slidenum">
              <a:rPr lang="en-US" smtClean="0"/>
              <a:pPr/>
              <a:t>‹#›</a:t>
            </a:fld>
            <a:endParaRPr lang="en-US"/>
          </a:p>
        </p:txBody>
      </p:sp>
    </p:spTree>
    <p:extLst>
      <p:ext uri="{BB962C8B-B14F-4D97-AF65-F5344CB8AC3E}">
        <p14:creationId xmlns:p14="http://schemas.microsoft.com/office/powerpoint/2010/main" val="3889063520"/>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4F8DA79-3319-3B86-8D20-C91E161359B1}"/>
              </a:ext>
            </a:extLst>
          </p:cNvPr>
          <p:cNvSpPr>
            <a:spLocks noGrp="1"/>
          </p:cNvSpPr>
          <p:nvPr>
            <p:ph type="dt" sz="half" idx="10"/>
          </p:nvPr>
        </p:nvSpPr>
        <p:spPr>
          <a:xfrm>
            <a:off x="838201" y="6356351"/>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7ED72871-FA95-C045-9938-65BD1ADE958F}"/>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A2ED724-888E-5889-AF95-E0BCB6B13DAA}"/>
              </a:ext>
            </a:extLst>
          </p:cNvPr>
          <p:cNvSpPr>
            <a:spLocks noGrp="1"/>
          </p:cNvSpPr>
          <p:nvPr>
            <p:ph type="sldNum" sz="quarter" idx="12"/>
          </p:nvPr>
        </p:nvSpPr>
        <p:spPr>
          <a:xfrm>
            <a:off x="8610600" y="6356351"/>
            <a:ext cx="2743200" cy="365125"/>
          </a:xfrm>
          <a:prstGeom prst="rect">
            <a:avLst/>
          </a:prstGeom>
        </p:spPr>
        <p:txBody>
          <a:bodyPr/>
          <a:lstStyle/>
          <a:p>
            <a:fld id="{EC2B915E-0FC6-4AD2-99C0-8B16A6C13038}" type="slidenum">
              <a:rPr lang="en-US" smtClean="0"/>
              <a:t>‹#›</a:t>
            </a:fld>
            <a:endParaRPr lang="en-US"/>
          </a:p>
        </p:txBody>
      </p:sp>
      <p:sp>
        <p:nvSpPr>
          <p:cNvPr id="7" name="Google Shape;17;ge6d29a52f9_0_209">
            <a:extLst>
              <a:ext uri="{FF2B5EF4-FFF2-40B4-BE49-F238E27FC236}">
                <a16:creationId xmlns:a16="http://schemas.microsoft.com/office/drawing/2014/main" id="{57967E90-BF3B-8455-A50B-83CCEAC1B447}"/>
              </a:ext>
            </a:extLst>
          </p:cNvPr>
          <p:cNvSpPr/>
          <p:nvPr userDrawn="1"/>
        </p:nvSpPr>
        <p:spPr>
          <a:xfrm>
            <a:off x="0" y="2781974"/>
            <a:ext cx="2370016" cy="1294052"/>
          </a:xfrm>
          <a:prstGeom prst="rect">
            <a:avLst/>
          </a:prstGeom>
          <a:solidFill>
            <a:srgbClr val="F9971C"/>
          </a:solidFill>
          <a:ln w="25400" cap="flat" cmpd="sng">
            <a:solidFill>
              <a:srgbClr val="F9971C"/>
            </a:solidFill>
            <a:prstDash val="solid"/>
            <a:round/>
            <a:headEnd type="none" w="sm" len="sm"/>
            <a:tailEnd type="none" w="sm" len="sm"/>
          </a:ln>
        </p:spPr>
        <p:txBody>
          <a:bodyPr spcFirstLastPara="1" wrap="square" lIns="91419" tIns="45697" rIns="91419" bIns="45697"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chemeClr val="lt1"/>
              </a:solidFill>
              <a:latin typeface="DIN Alternate" panose="020B0500000000000000" pitchFamily="34" charset="77"/>
              <a:ea typeface="Arial"/>
              <a:cs typeface="Arial"/>
              <a:sym typeface="Arial"/>
            </a:endParaRPr>
          </a:p>
        </p:txBody>
      </p:sp>
      <p:sp>
        <p:nvSpPr>
          <p:cNvPr id="8" name="Google Shape;18;ge6d29a52f9_0_209">
            <a:extLst>
              <a:ext uri="{FF2B5EF4-FFF2-40B4-BE49-F238E27FC236}">
                <a16:creationId xmlns:a16="http://schemas.microsoft.com/office/drawing/2014/main" id="{71096392-C3D8-3E51-5426-6676C91E7830}"/>
              </a:ext>
            </a:extLst>
          </p:cNvPr>
          <p:cNvSpPr/>
          <p:nvPr userDrawn="1"/>
        </p:nvSpPr>
        <p:spPr>
          <a:xfrm>
            <a:off x="2451100" y="2781974"/>
            <a:ext cx="9740900" cy="1294052"/>
          </a:xfrm>
          <a:prstGeom prst="rect">
            <a:avLst/>
          </a:prstGeom>
          <a:solidFill>
            <a:srgbClr val="005BAC"/>
          </a:solidFill>
          <a:ln w="25400" cap="flat" cmpd="sng">
            <a:solidFill>
              <a:srgbClr val="005BAC"/>
            </a:solidFill>
            <a:prstDash val="solid"/>
            <a:round/>
            <a:headEnd type="none" w="sm" len="sm"/>
            <a:tailEnd type="none" w="sm" len="sm"/>
          </a:ln>
        </p:spPr>
        <p:txBody>
          <a:bodyPr spcFirstLastPara="1" wrap="square" lIns="91419" tIns="45697" rIns="91419" bIns="45697"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chemeClr val="lt1"/>
              </a:solidFill>
              <a:latin typeface="DIN Alternate" panose="020B0500000000000000" pitchFamily="34" charset="77"/>
              <a:ea typeface="Arial"/>
              <a:cs typeface="Arial"/>
              <a:sym typeface="Arial"/>
            </a:endParaRPr>
          </a:p>
        </p:txBody>
      </p:sp>
      <p:pic>
        <p:nvPicPr>
          <p:cNvPr id="9" name="Picture 8" descr="A blue and orange text on a black background&#10;&#10;AI-generated content may be incorrect.">
            <a:extLst>
              <a:ext uri="{FF2B5EF4-FFF2-40B4-BE49-F238E27FC236}">
                <a16:creationId xmlns:a16="http://schemas.microsoft.com/office/drawing/2014/main" id="{B408B8C3-81FA-E917-92A8-E788B6B557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98492" y="798856"/>
            <a:ext cx="3855308" cy="1215363"/>
          </a:xfrm>
          <a:prstGeom prst="rect">
            <a:avLst/>
          </a:prstGeom>
        </p:spPr>
      </p:pic>
      <p:grpSp>
        <p:nvGrpSpPr>
          <p:cNvPr id="24" name="Group 23">
            <a:extLst>
              <a:ext uri="{FF2B5EF4-FFF2-40B4-BE49-F238E27FC236}">
                <a16:creationId xmlns:a16="http://schemas.microsoft.com/office/drawing/2014/main" id="{F67B8A78-AA76-CD62-7184-001A72948AB3}"/>
              </a:ext>
            </a:extLst>
          </p:cNvPr>
          <p:cNvGrpSpPr/>
          <p:nvPr userDrawn="1"/>
        </p:nvGrpSpPr>
        <p:grpSpPr>
          <a:xfrm>
            <a:off x="1934012" y="4418104"/>
            <a:ext cx="8130544" cy="610354"/>
            <a:chOff x="289349" y="4195542"/>
            <a:chExt cx="10538621" cy="791127"/>
          </a:xfrm>
        </p:grpSpPr>
        <p:pic>
          <p:nvPicPr>
            <p:cNvPr id="12" name="Picture 11" descr="A blue text on a black background&#10;&#10;AI-generated content may be incorrect.">
              <a:extLst>
                <a:ext uri="{FF2B5EF4-FFF2-40B4-BE49-F238E27FC236}">
                  <a16:creationId xmlns:a16="http://schemas.microsoft.com/office/drawing/2014/main" id="{6173B42A-0866-18CF-D3AD-55D7E45B1AB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9349" y="4286199"/>
              <a:ext cx="1988523" cy="609814"/>
            </a:xfrm>
            <a:prstGeom prst="rect">
              <a:avLst/>
            </a:prstGeom>
          </p:spPr>
        </p:pic>
        <p:pic>
          <p:nvPicPr>
            <p:cNvPr id="14" name="Picture 13" descr="A blue text on a black background&#10;&#10;AI-generated content may be incorrect.">
              <a:extLst>
                <a:ext uri="{FF2B5EF4-FFF2-40B4-BE49-F238E27FC236}">
                  <a16:creationId xmlns:a16="http://schemas.microsoft.com/office/drawing/2014/main" id="{F55E229D-1846-FC41-0E2F-B4664E04EB3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77872" y="4195542"/>
              <a:ext cx="2095040" cy="791127"/>
            </a:xfrm>
            <a:prstGeom prst="rect">
              <a:avLst/>
            </a:prstGeom>
          </p:spPr>
        </p:pic>
        <p:pic>
          <p:nvPicPr>
            <p:cNvPr id="16" name="Picture 15" descr="A yellow and blue text with a black background&#10;&#10;AI-generated content may be incorrect.">
              <a:extLst>
                <a:ext uri="{FF2B5EF4-FFF2-40B4-BE49-F238E27FC236}">
                  <a16:creationId xmlns:a16="http://schemas.microsoft.com/office/drawing/2014/main" id="{78743753-AD43-5E40-2F4E-6AB3301A16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12035" y="4281009"/>
              <a:ext cx="1657354" cy="624442"/>
            </a:xfrm>
            <a:prstGeom prst="rect">
              <a:avLst/>
            </a:prstGeom>
          </p:spPr>
        </p:pic>
        <p:pic>
          <p:nvPicPr>
            <p:cNvPr id="18" name="Picture 17">
              <a:extLst>
                <a:ext uri="{FF2B5EF4-FFF2-40B4-BE49-F238E27FC236}">
                  <a16:creationId xmlns:a16="http://schemas.microsoft.com/office/drawing/2014/main" id="{D56F9E01-6B9C-CE64-B502-7F9F4AFB24F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321550" y="4461524"/>
              <a:ext cx="2038350" cy="226219"/>
            </a:xfrm>
            <a:prstGeom prst="rect">
              <a:avLst/>
            </a:prstGeom>
          </p:spPr>
        </p:pic>
        <p:pic>
          <p:nvPicPr>
            <p:cNvPr id="20" name="Picture 19" descr="A blue and white logo&#10;&#10;AI-generated content may be incorrect.">
              <a:extLst>
                <a:ext uri="{FF2B5EF4-FFF2-40B4-BE49-F238E27FC236}">
                  <a16:creationId xmlns:a16="http://schemas.microsoft.com/office/drawing/2014/main" id="{F90994E4-E1FD-AD8D-191A-659A977E029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19366" y="4345742"/>
              <a:ext cx="1308604" cy="490726"/>
            </a:xfrm>
            <a:prstGeom prst="rect">
              <a:avLst/>
            </a:prstGeom>
          </p:spPr>
        </p:pic>
        <p:pic>
          <p:nvPicPr>
            <p:cNvPr id="22" name="Picture 21" descr="A blue and white sign with white text&#10;&#10;AI-generated content may be incorrect.">
              <a:extLst>
                <a:ext uri="{FF2B5EF4-FFF2-40B4-BE49-F238E27FC236}">
                  <a16:creationId xmlns:a16="http://schemas.microsoft.com/office/drawing/2014/main" id="{A172635A-6DBE-30F1-12F3-DE319584496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295101" y="4281009"/>
              <a:ext cx="866983" cy="625687"/>
            </a:xfrm>
            <a:prstGeom prst="rect">
              <a:avLst/>
            </a:prstGeom>
          </p:spPr>
        </p:pic>
      </p:grpSp>
    </p:spTree>
    <p:extLst>
      <p:ext uri="{BB962C8B-B14F-4D97-AF65-F5344CB8AC3E}">
        <p14:creationId xmlns:p14="http://schemas.microsoft.com/office/powerpoint/2010/main" val="3830537846"/>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1_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5" y="1718735"/>
            <a:ext cx="11106151" cy="1696910"/>
          </a:xfrm>
        </p:spPr>
        <p:txBody>
          <a:bodyPr/>
          <a:lstStyle>
            <a:lvl1pPr>
              <a:spcBef>
                <a:spcPts val="800"/>
              </a:spcBef>
              <a:spcAft>
                <a:spcPts val="0"/>
              </a:spcAft>
              <a:defRPr sz="1867" b="0" baseline="0"/>
            </a:lvl1pPr>
            <a:lvl2pPr marL="228578" indent="-228578">
              <a:spcBef>
                <a:spcPts val="800"/>
              </a:spcBef>
              <a:spcAft>
                <a:spcPts val="0"/>
              </a:spcAft>
              <a:buClr>
                <a:schemeClr val="accent3">
                  <a:lumMod val="75000"/>
                </a:schemeClr>
              </a:buClr>
              <a:buFont typeface="Wingdings" panose="05000000000000000000" pitchFamily="2" charset="2"/>
              <a:buChar char="§"/>
              <a:defRPr sz="1733"/>
            </a:lvl2pPr>
            <a:lvl3pPr marL="457157" indent="-228578">
              <a:spcBef>
                <a:spcPts val="800"/>
              </a:spcBef>
              <a:spcAft>
                <a:spcPts val="0"/>
              </a:spcAft>
              <a:buClr>
                <a:srgbClr val="3086AB"/>
              </a:buClr>
              <a:buFont typeface="Arial" panose="020B0604020202020204" pitchFamily="34" charset="0"/>
              <a:buChar char="•"/>
              <a:tabLst/>
              <a:defRPr baseline="0"/>
            </a:lvl3pPr>
            <a:lvl4pPr marL="687851" indent="-230695">
              <a:spcBef>
                <a:spcPts val="800"/>
              </a:spcBef>
              <a:spcAft>
                <a:spcPts val="0"/>
              </a:spcAft>
              <a:buFont typeface="Arial" panose="020B0604020202020204" pitchFamily="34" charset="0"/>
              <a:buChar char="-"/>
              <a:tabLst/>
              <a:defRPr baseline="0"/>
            </a:lvl4pPr>
            <a:lvl5pPr marL="916429" indent="-228578">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a:xfrm>
            <a:off x="4038600" y="6356351"/>
            <a:ext cx="4114800" cy="365125"/>
          </a:xfrm>
          <a:prstGeom prst="rect">
            <a:avLst/>
          </a:prstGeom>
        </p:spPr>
        <p:txBody>
          <a:bodyPr/>
          <a:lstStyle/>
          <a:p>
            <a:pPr algn="r"/>
            <a:endParaRPr lang="en-US">
              <a:solidFill>
                <a:srgbClr val="000000"/>
              </a:solidFill>
            </a:endParaRPr>
          </a:p>
        </p:txBody>
      </p:sp>
      <p:sp>
        <p:nvSpPr>
          <p:cNvPr id="6" name="Slide Number Placeholder 5"/>
          <p:cNvSpPr>
            <a:spLocks noGrp="1"/>
          </p:cNvSpPr>
          <p:nvPr>
            <p:ph type="sldNum" sz="quarter" idx="15"/>
          </p:nvPr>
        </p:nvSpPr>
        <p:spPr>
          <a:xfrm>
            <a:off x="8610600" y="6356351"/>
            <a:ext cx="2743200" cy="365125"/>
          </a:xfrm>
          <a:prstGeom prst="rect">
            <a:avLst/>
          </a:prstGeom>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5" y="748743"/>
            <a:ext cx="11106151" cy="49244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27676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223959657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33304614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GB"/>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203376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1"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5"/>
          </a:xfrm>
          <a:prstGeom prst="rect">
            <a:avLst/>
          </a:prstGeom>
        </p:spPr>
      </p:pic>
    </p:spTree>
    <p:extLst>
      <p:ext uri="{BB962C8B-B14F-4D97-AF65-F5344CB8AC3E}">
        <p14:creationId xmlns:p14="http://schemas.microsoft.com/office/powerpoint/2010/main" val="2748119572"/>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6"/>
          </a:xfrm>
          <a:prstGeom prst="rect">
            <a:avLst/>
          </a:prstGeom>
        </p:spPr>
      </p:pic>
    </p:spTree>
    <p:extLst>
      <p:ext uri="{BB962C8B-B14F-4D97-AF65-F5344CB8AC3E}">
        <p14:creationId xmlns:p14="http://schemas.microsoft.com/office/powerpoint/2010/main" val="3433115551"/>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r>
              <a:rPr lang="en-US"/>
              <a:t>Joint SAGE/MPAG session on malaria vaccines 3 vs 4 dose schedule, Sept 2025</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5"/>
          </a:xfrm>
          <a:prstGeom prst="rect">
            <a:avLst/>
          </a:prstGeom>
        </p:spPr>
      </p:pic>
    </p:spTree>
    <p:extLst>
      <p:ext uri="{BB962C8B-B14F-4D97-AF65-F5344CB8AC3E}">
        <p14:creationId xmlns:p14="http://schemas.microsoft.com/office/powerpoint/2010/main" val="4243228744"/>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r>
              <a:rPr lang="en-US"/>
              <a:t>Joint SAGE/MPAG session on malaria vaccines 3 vs 4 dose schedule, Sept 2025</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911629649"/>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1"/>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chemeClr val="bg1"/>
                </a:solidFill>
              </a:defRPr>
            </a:lvl1pPr>
          </a:lstStyle>
          <a:p>
            <a:r>
              <a:rPr lang="en-US"/>
              <a:t>Joint SAGE/MPAG session on malaria vaccines 3 vs 4 dose schedule, Sept 2025</a:t>
            </a:r>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312484718"/>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r>
              <a:rPr lang="en-US"/>
              <a:t>Joint SAGE/MPAG session on malaria vaccines 3 vs 4 dose schedule, Sept 2025</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870678185"/>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1" y="1846372"/>
            <a:ext cx="9700351" cy="2743200"/>
          </a:xfrm>
        </p:spPr>
        <p:txBody>
          <a:bodyPr anchor="t" anchorCtr="0">
            <a:normAutofit/>
          </a:bodyPr>
          <a:lstStyle>
            <a:lvl1pPr marL="228589" indent="-228589">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r>
              <a:rPr lang="en-US"/>
              <a:t>Joint SAGE/MPAG session on malaria vaccines 3 vs 4 dose schedule, Sept 2025</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4734773"/>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150874329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1"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r>
              <a:rPr lang="en-US"/>
              <a:t>Joint SAGE/MPAG session on malaria vaccines 3 vs 4 dose schedule, Sept 2025</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1574801"/>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1430119753"/>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r>
              <a:rPr lang="en-US"/>
              <a:t>Joint SAGE/MPAG session on malaria vaccines 3 vs 4 dose schedule, Sept 2025</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2"/>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1" y="1551944"/>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sz="1400">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2"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53065477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1" y="1825626"/>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r>
              <a:rPr lang="en-US"/>
              <a:t>Joint SAGE/MPAG session on malaria vaccines 3 vs 4 dose schedule, Sept 2025</a:t>
            </a:r>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1423945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2886264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1"/>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r>
              <a:rPr lang="en-US"/>
              <a:t>Joint SAGE/MPAG session on malaria vaccines 3 vs 4 dose schedule, Sept 2025</a:t>
            </a:r>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Tree>
    <p:extLst>
      <p:ext uri="{BB962C8B-B14F-4D97-AF65-F5344CB8AC3E}">
        <p14:creationId xmlns:p14="http://schemas.microsoft.com/office/powerpoint/2010/main" val="283320453"/>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r>
              <a:rPr lang="en-US"/>
              <a:t>Joint SAGE/MPAG session on malaria vaccines 3 vs 4 dose schedule, Sept 2025</a:t>
            </a:r>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179" indent="0">
              <a:buNone/>
              <a:defRPr sz="2000">
                <a:solidFill>
                  <a:srgbClr val="00205C"/>
                </a:solidFill>
              </a:defRPr>
            </a:lvl2pPr>
            <a:lvl3pPr marL="914358" indent="0">
              <a:buNone/>
              <a:defRPr sz="2000">
                <a:solidFill>
                  <a:srgbClr val="00205C"/>
                </a:solidFill>
              </a:defRPr>
            </a:lvl3pPr>
            <a:lvl4pPr marL="1371536" indent="0">
              <a:buNone/>
              <a:defRPr sz="2000">
                <a:solidFill>
                  <a:srgbClr val="00205C"/>
                </a:solidFill>
              </a:defRPr>
            </a:lvl4pPr>
            <a:lvl5pPr marL="1828715"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174135446"/>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rgbClr val="00205C"/>
                </a:solidFill>
              </a:defRPr>
            </a:lvl1pPr>
          </a:lstStyle>
          <a:p>
            <a:r>
              <a:rPr lang="en-US"/>
              <a:t>Joint SAGE/MPAG session on malaria vaccines 3 vs 4 dose schedule, Sept 2025</a:t>
            </a:r>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427738765"/>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chemeClr val="bg1"/>
                </a:solidFill>
              </a:defRPr>
            </a:lvl1pPr>
          </a:lstStyle>
          <a:p>
            <a:r>
              <a:rPr lang="en-US"/>
              <a:t>Joint SAGE/MPAG session on malaria vaccines 3 vs 4 dose schedule, Sept 2025</a:t>
            </a:r>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1841010039"/>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404129"/>
            <a:ext cx="5154592" cy="320675"/>
          </a:xfrm>
        </p:spPr>
        <p:txBody>
          <a:bodyPr/>
          <a:lstStyle>
            <a:lvl1pPr>
              <a:defRPr>
                <a:solidFill>
                  <a:srgbClr val="00205C"/>
                </a:solidFill>
              </a:defRPr>
            </a:lvl1pPr>
          </a:lstStyle>
          <a:p>
            <a:r>
              <a:rPr lang="en-US"/>
              <a:t>Joint SAGE/MPAG session on malaria vaccines 3 vs 4 dose schedule, Sept 2025</a:t>
            </a:r>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43422028"/>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r>
              <a:rPr lang="en-US"/>
              <a:t>Joint SAGE/MPAG session on malaria vaccines 3 vs 4 dose schedule, Sept 2025</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41671269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r>
              <a:rPr lang="en-US"/>
              <a:t>Joint SAGE/MPAG session on malaria vaccines 3 vs 4 dose schedule, Sept 2025</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062779730"/>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r>
              <a:rPr lang="en-US"/>
              <a:t>Joint SAGE/MPAG session on malaria vaccines 3 vs 4 dose schedule, Sept 2025</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1991400298"/>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r>
              <a:rPr lang="en-US"/>
              <a:t>Joint SAGE/MPAG session on malaria vaccines 3 vs 4 dose schedule, Sept 2025</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227684555"/>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3"/>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chemeClr val="bg1"/>
                </a:solidFill>
              </a:defRPr>
            </a:lvl1pPr>
          </a:lstStyle>
          <a:p>
            <a:r>
              <a:rPr lang="en-US"/>
              <a:t>Joint SAGE/MPAG session on malaria vaccines 3 vs 4 dose schedule, Sept 2025</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2998280"/>
            <a:ext cx="5486399"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39830019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156540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1"/>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CAD4A73-8602-F84A-9C68-0647084B0CC7}"/>
              </a:ext>
            </a:extLst>
          </p:cNvPr>
          <p:cNvSpPr>
            <a:spLocks noGrp="1"/>
          </p:cNvSpPr>
          <p:nvPr>
            <p:ph type="ftr" sz="quarter" idx="11"/>
          </p:nvPr>
        </p:nvSpPr>
        <p:spPr/>
        <p:txBody>
          <a:bodyPr/>
          <a:lstStyle>
            <a:lvl1pPr>
              <a:defRPr>
                <a:solidFill>
                  <a:schemeClr val="bg1"/>
                </a:solidFill>
              </a:defRPr>
            </a:lvl1pPr>
          </a:lstStyle>
          <a:p>
            <a:r>
              <a:rPr lang="en-US"/>
              <a:t>Joint SAGE/MPAG session on malaria vaccines 3 vs 4 dose schedule, Sept 2025</a:t>
            </a:r>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2"/>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4" name="Picture 13">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2639757295"/>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114588A5-7D85-6341-A58F-B4539B4697EB}"/>
              </a:ext>
            </a:extLst>
          </p:cNvPr>
          <p:cNvSpPr>
            <a:spLocks noGrp="1"/>
          </p:cNvSpPr>
          <p:nvPr>
            <p:ph type="ftr" sz="quarter" idx="11"/>
          </p:nvPr>
        </p:nvSpPr>
        <p:spPr/>
        <p:txBody>
          <a:bodyPr/>
          <a:lstStyle>
            <a:lvl1pPr>
              <a:defRPr>
                <a:solidFill>
                  <a:srgbClr val="00205C"/>
                </a:solidFill>
              </a:defRPr>
            </a:lvl1pPr>
          </a:lstStyle>
          <a:p>
            <a:r>
              <a:rPr lang="en-US"/>
              <a:t>Joint SAGE/MPAG session on malaria vaccines 3 vs 4 dose schedule, Sept 2025</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Lst>
          </p:cNvPr>
          <p:cNvCxnSpPr>
            <a:cxnSpLocks/>
          </p:cNvCxnSpPr>
          <p:nvPr userDrawn="1"/>
        </p:nvCxnSpPr>
        <p:spPr>
          <a:xfrm>
            <a:off x="457201"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609816650"/>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179" indent="0">
              <a:buNone/>
              <a:defRPr sz="2800"/>
            </a:lvl2pPr>
            <a:lvl3pPr marL="914358" indent="0">
              <a:buNone/>
              <a:defRPr sz="2400"/>
            </a:lvl3pPr>
            <a:lvl4pPr marL="1371536" indent="0">
              <a:buNone/>
              <a:defRPr sz="2000"/>
            </a:lvl4pPr>
            <a:lvl5pPr marL="1828715" indent="0">
              <a:buNone/>
              <a:defRPr sz="2000"/>
            </a:lvl5pPr>
            <a:lvl6pPr marL="2285894" indent="0">
              <a:buNone/>
              <a:defRPr sz="2000"/>
            </a:lvl6pPr>
            <a:lvl7pPr marL="2743073" indent="0">
              <a:buNone/>
              <a:defRPr sz="2000"/>
            </a:lvl7pPr>
            <a:lvl8pPr marL="3200252" indent="0">
              <a:buNone/>
              <a:defRPr sz="2000"/>
            </a:lvl8pPr>
            <a:lvl9pPr marL="365743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37" indent="-285737">
              <a:spcBef>
                <a:spcPts val="1600"/>
              </a:spcBef>
              <a:buFont typeface="Arial" panose="020B0604020202020204" pitchFamily="34" charset="0"/>
              <a:buChar char="•"/>
              <a:defRPr sz="16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chemeClr val="bg1"/>
                </a:solidFill>
              </a:defRPr>
            </a:lvl1pPr>
          </a:lstStyle>
          <a:p>
            <a:r>
              <a:rPr lang="en-US"/>
              <a:t>Joint SAGE/MPAG session on malaria vaccines 3 vs 4 dose schedule, Sept 2025</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991437885"/>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picTx" preserve="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179" indent="0">
              <a:buNone/>
              <a:defRPr sz="2800"/>
            </a:lvl2pPr>
            <a:lvl3pPr marL="914358" indent="0">
              <a:buNone/>
              <a:defRPr sz="2400"/>
            </a:lvl3pPr>
            <a:lvl4pPr marL="1371536" indent="0">
              <a:buNone/>
              <a:defRPr sz="2000"/>
            </a:lvl4pPr>
            <a:lvl5pPr marL="1828715" indent="0">
              <a:buNone/>
              <a:defRPr sz="2000"/>
            </a:lvl5pPr>
            <a:lvl6pPr marL="2285894" indent="0">
              <a:buNone/>
              <a:defRPr sz="2000"/>
            </a:lvl6pPr>
            <a:lvl7pPr marL="2743073" indent="0">
              <a:buNone/>
              <a:defRPr sz="2000"/>
            </a:lvl7pPr>
            <a:lvl8pPr marL="3200252" indent="0">
              <a:buNone/>
              <a:defRPr sz="2000"/>
            </a:lvl8pPr>
            <a:lvl9pPr marL="365743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rgbClr val="00205C"/>
                </a:solidFill>
              </a:defRPr>
            </a:lvl1pPr>
          </a:lstStyle>
          <a:p>
            <a:r>
              <a:rPr lang="en-US"/>
              <a:t>Joint SAGE/MPAG session on malaria vaccines 3 vs 4 dose schedule, Sept 2025</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1800977741"/>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1"/>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4240437335"/>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1" y="5852984"/>
            <a:ext cx="2314640" cy="704736"/>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6200173" y="6397385"/>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851663778"/>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extLst>
              <a:ext uri="{28A0092B-C50C-407E-A947-70E740481C1C}">
                <a14:useLocalDpi xmlns:a14="http://schemas.microsoft.com/office/drawing/2010/main" val="0"/>
              </a:ext>
            </a:extLst>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024015950"/>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3" y="5852984"/>
            <a:ext cx="2314637" cy="704735"/>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424216192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3"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989103693"/>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3" y="5852984"/>
            <a:ext cx="2314637" cy="704735"/>
          </a:xfrm>
          <a:prstGeom prst="rect">
            <a:avLst/>
          </a:prstGeom>
        </p:spPr>
      </p:pic>
    </p:spTree>
    <p:extLst>
      <p:ext uri="{BB962C8B-B14F-4D97-AF65-F5344CB8AC3E}">
        <p14:creationId xmlns:p14="http://schemas.microsoft.com/office/powerpoint/2010/main" val="27488553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2102069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02097692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1"/>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411445792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3" y="6000906"/>
            <a:ext cx="1828798" cy="556813"/>
          </a:xfrm>
          <a:prstGeom prst="rect">
            <a:avLst/>
          </a:prstGeom>
        </p:spPr>
      </p:pic>
      <p:pic>
        <p:nvPicPr>
          <p:cNvPr id="4" name="Picture 3" descr="A young child in a blue dress holding a green ball&#10;&#10;Description automatically generated">
            <a:extLst>
              <a:ext uri="{FF2B5EF4-FFF2-40B4-BE49-F238E27FC236}">
                <a16:creationId xmlns:a16="http://schemas.microsoft.com/office/drawing/2014/main" id="{700C03F5-5206-7D13-C223-35CE71CF2B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14686" y="-553213"/>
            <a:ext cx="5154592" cy="7731888"/>
          </a:xfrm>
          <a:prstGeom prst="rect">
            <a:avLst/>
          </a:prstGeom>
        </p:spPr>
      </p:pic>
    </p:spTree>
    <p:extLst>
      <p:ext uri="{BB962C8B-B14F-4D97-AF65-F5344CB8AC3E}">
        <p14:creationId xmlns:p14="http://schemas.microsoft.com/office/powerpoint/2010/main" val="3314020768"/>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1" y="1846372"/>
            <a:ext cx="9700351" cy="2743200"/>
          </a:xfrm>
        </p:spPr>
        <p:txBody>
          <a:bodyPr anchor="t" anchorCtr="0">
            <a:normAutofit/>
          </a:bodyPr>
          <a:lstStyle>
            <a:lvl1pPr marL="228589" indent="-228589">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4734773"/>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3762459157"/>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1"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1574801"/>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733201469"/>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2"/>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7"/>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1" y="1551944"/>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sz="1400">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2"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811491738"/>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1" y="1825626"/>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43440" y="6466709"/>
            <a:ext cx="1064450" cy="324092"/>
          </a:xfrm>
          <a:prstGeom prst="rect">
            <a:avLst/>
          </a:prstGeom>
        </p:spPr>
      </p:pic>
    </p:spTree>
    <p:extLst>
      <p:ext uri="{BB962C8B-B14F-4D97-AF65-F5344CB8AC3E}">
        <p14:creationId xmlns:p14="http://schemas.microsoft.com/office/powerpoint/2010/main" val="27253213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1"/>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Tree>
    <p:extLst>
      <p:ext uri="{BB962C8B-B14F-4D97-AF65-F5344CB8AC3E}">
        <p14:creationId xmlns:p14="http://schemas.microsoft.com/office/powerpoint/2010/main" val="3335340321"/>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179" indent="0">
              <a:buNone/>
              <a:defRPr sz="2000">
                <a:solidFill>
                  <a:srgbClr val="00205C"/>
                </a:solidFill>
              </a:defRPr>
            </a:lvl2pPr>
            <a:lvl3pPr marL="914358" indent="0">
              <a:buNone/>
              <a:defRPr sz="2000">
                <a:solidFill>
                  <a:srgbClr val="00205C"/>
                </a:solidFill>
              </a:defRPr>
            </a:lvl3pPr>
            <a:lvl4pPr marL="1371536" indent="0">
              <a:buNone/>
              <a:defRPr sz="2000">
                <a:solidFill>
                  <a:srgbClr val="00205C"/>
                </a:solidFill>
              </a:defRPr>
            </a:lvl4pPr>
            <a:lvl5pPr marL="1828715"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World Health Organization logo ">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995719358"/>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4661007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920217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2499805893"/>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404129"/>
            <a:ext cx="5154592" cy="320675"/>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866276340"/>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024915767"/>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639197452"/>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834240015"/>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030903318"/>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3"/>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2998280"/>
            <a:ext cx="5486399"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3499311366"/>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1"/>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2"/>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4" name="Picture 13" descr="World Health Organization logo ">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3720211821"/>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1"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1009154213"/>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179" indent="0">
              <a:buNone/>
              <a:defRPr sz="2800"/>
            </a:lvl2pPr>
            <a:lvl3pPr marL="914358" indent="0">
              <a:buNone/>
              <a:defRPr sz="2400"/>
            </a:lvl3pPr>
            <a:lvl4pPr marL="1371536" indent="0">
              <a:buNone/>
              <a:defRPr sz="2000"/>
            </a:lvl4pPr>
            <a:lvl5pPr marL="1828715" indent="0">
              <a:buNone/>
              <a:defRPr sz="2000"/>
            </a:lvl5pPr>
            <a:lvl6pPr marL="2285894" indent="0">
              <a:buNone/>
              <a:defRPr sz="2000"/>
            </a:lvl6pPr>
            <a:lvl7pPr marL="2743073" indent="0">
              <a:buNone/>
              <a:defRPr sz="2000"/>
            </a:lvl7pPr>
            <a:lvl8pPr marL="3200252" indent="0">
              <a:buNone/>
              <a:defRPr sz="2000"/>
            </a:lvl8pPr>
            <a:lvl9pPr marL="365743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37" indent="-285737">
              <a:spcBef>
                <a:spcPts val="1600"/>
              </a:spcBef>
              <a:buFont typeface="Arial" panose="020B0604020202020204" pitchFamily="34" charset="0"/>
              <a:buChar char="•"/>
              <a:defRPr sz="16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17751543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3481226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918524084"/>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1"/>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427976343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title" preserve="1">
  <p:cSld name="1_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6200173" y="6397385"/>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3251455935"/>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title" preserve="1">
  <p:cSld name="2_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extLst>
              <a:ext uri="{28A0092B-C50C-407E-A947-70E740481C1C}">
                <a14:useLocalDpi xmlns:a14="http://schemas.microsoft.com/office/drawing/2010/main"/>
              </a:ext>
            </a:extLst>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774404462"/>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title" preserve="1">
  <p:cSld name="1_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968738698"/>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1_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5"/>
          </a:xfrm>
          <a:prstGeom prst="rect">
            <a:avLst/>
          </a:prstGeom>
        </p:spPr>
      </p:pic>
      <p:sp>
        <p:nvSpPr>
          <p:cNvPr id="4" name="Google Shape;526;p1">
            <a:extLst>
              <a:ext uri="{FF2B5EF4-FFF2-40B4-BE49-F238E27FC236}">
                <a16:creationId xmlns:a16="http://schemas.microsoft.com/office/drawing/2014/main" id="{7F09F528-5DF1-B779-F8D2-802189028C46}"/>
              </a:ext>
            </a:extLst>
          </p:cNvPr>
          <p:cNvSpPr txBox="1"/>
          <p:nvPr userDrawn="1"/>
        </p:nvSpPr>
        <p:spPr>
          <a:xfrm>
            <a:off x="10016263" y="6557719"/>
            <a:ext cx="1338501" cy="160340"/>
          </a:xfrm>
          <a:prstGeom prst="rect">
            <a:avLst/>
          </a:prstGeom>
          <a:noFill/>
          <a:ln>
            <a:noFill/>
          </a:ln>
        </p:spPr>
        <p:txBody>
          <a:bodyPr spcFirstLastPara="1" wrap="square" lIns="0" tIns="0" rIns="17999" bIns="0" anchor="ctr"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2351542335"/>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1_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200473386"/>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type="obj" preserve="1">
  <p:cSld name="1_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1"/>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pic>
        <p:nvPicPr>
          <p:cNvPr id="8" name="Picture 7" descr="A baby reaching out to the side of a door&#10;&#10;Description automatically generated">
            <a:extLst>
              <a:ext uri="{FF2B5EF4-FFF2-40B4-BE49-F238E27FC236}">
                <a16:creationId xmlns:a16="http://schemas.microsoft.com/office/drawing/2014/main" id="{14EF53E5-2265-9689-0B25-74FA3E9EA2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17084" y="707793"/>
            <a:ext cx="3809999" cy="5714999"/>
          </a:xfrm>
          <a:prstGeom prst="rect">
            <a:avLst/>
          </a:prstGeom>
        </p:spPr>
      </p:pic>
      <p:sp>
        <p:nvSpPr>
          <p:cNvPr id="12" name="Google Shape;526;p1">
            <a:extLst>
              <a:ext uri="{FF2B5EF4-FFF2-40B4-BE49-F238E27FC236}">
                <a16:creationId xmlns:a16="http://schemas.microsoft.com/office/drawing/2014/main" id="{48D546BA-EADE-74C8-883D-CF4C51C01AE8}"/>
              </a:ext>
            </a:extLst>
          </p:cNvPr>
          <p:cNvSpPr txBox="1"/>
          <p:nvPr userDrawn="1"/>
        </p:nvSpPr>
        <p:spPr>
          <a:xfrm>
            <a:off x="9822084" y="6596850"/>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1021955132"/>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2_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
        <p:nvSpPr>
          <p:cNvPr id="11" name="Google Shape;526;p1">
            <a:extLst>
              <a:ext uri="{FF2B5EF4-FFF2-40B4-BE49-F238E27FC236}">
                <a16:creationId xmlns:a16="http://schemas.microsoft.com/office/drawing/2014/main" id="{DF14CAFB-5A1C-359F-0377-3AAEBEEE251F}"/>
              </a:ext>
            </a:extLst>
          </p:cNvPr>
          <p:cNvSpPr txBox="1"/>
          <p:nvPr userDrawn="1"/>
        </p:nvSpPr>
        <p:spPr>
          <a:xfrm>
            <a:off x="10205254" y="6163771"/>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schemeClr val="bg1">
                    <a:lumMod val="50000"/>
                  </a:schemeClr>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schemeClr val="bg1">
                    <a:lumMod val="50000"/>
                  </a:schemeClr>
                </a:solidFill>
                <a:effectLst/>
                <a:uLnTx/>
                <a:uFillTx/>
                <a:latin typeface="Arial"/>
                <a:ea typeface="Arial"/>
                <a:cs typeface="Arial"/>
                <a:sym typeface="Arial"/>
              </a:rPr>
              <a:t>F.</a:t>
            </a:r>
            <a:r>
              <a:rPr kumimoji="0" lang="en-US" sz="900" b="0" i="0" u="none" strike="noStrike" kern="1200" cap="none" spc="0" normalizeH="0" baseline="0" noProof="0" err="1">
                <a:ln>
                  <a:noFill/>
                </a:ln>
                <a:solidFill>
                  <a:schemeClr val="bg1">
                    <a:lumMod val="50000"/>
                  </a:schemeClr>
                </a:solidFill>
                <a:effectLst/>
                <a:uLnTx/>
                <a:uFillTx/>
                <a:latin typeface="+mn-lt"/>
                <a:ea typeface="Arial"/>
                <a:cs typeface="Arial"/>
                <a:sym typeface="Arial"/>
              </a:rPr>
              <a:t>Combrink</a:t>
            </a:r>
            <a:endParaRPr kumimoji="0" sz="800" b="0" i="0" u="none" strike="noStrike" kern="1200" cap="none" spc="0" normalizeH="0" baseline="0" noProof="0">
              <a:ln>
                <a:noFill/>
              </a:ln>
              <a:solidFill>
                <a:schemeClr val="bg1">
                  <a:lumMod val="50000"/>
                </a:schemeClr>
              </a:solidFill>
              <a:effectLst/>
              <a:uLnTx/>
              <a:uFillTx/>
              <a:latin typeface="+mn-lt"/>
              <a:ea typeface="Arial"/>
              <a:cs typeface="Arial"/>
              <a:sym typeface="Arial"/>
            </a:endParaRPr>
          </a:p>
        </p:txBody>
      </p:sp>
      <p:pic>
        <p:nvPicPr>
          <p:cNvPr id="13" name="Picture 12" descr="A young child holding a green ball&#10;&#10;Description automatically generated">
            <a:extLst>
              <a:ext uri="{FF2B5EF4-FFF2-40B4-BE49-F238E27FC236}">
                <a16:creationId xmlns:a16="http://schemas.microsoft.com/office/drawing/2014/main" id="{019154AA-3726-F696-4BC4-53FCA04751C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61044" y="-571498"/>
            <a:ext cx="5120655" cy="7680323"/>
          </a:xfrm>
          <a:prstGeom prst="rect">
            <a:avLst/>
          </a:prstGeom>
          <a:scene3d>
            <a:camera prst="orthographicFront">
              <a:rot lat="0" lon="10800000" rev="0"/>
            </a:camera>
            <a:lightRig rig="threePt" dir="t"/>
          </a:scene3d>
        </p:spPr>
      </p:pic>
    </p:spTree>
    <p:extLst>
      <p:ext uri="{BB962C8B-B14F-4D97-AF65-F5344CB8AC3E}">
        <p14:creationId xmlns:p14="http://schemas.microsoft.com/office/powerpoint/2010/main" val="3381876987"/>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5_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
        <p:nvSpPr>
          <p:cNvPr id="11" name="Google Shape;526;p1">
            <a:extLst>
              <a:ext uri="{FF2B5EF4-FFF2-40B4-BE49-F238E27FC236}">
                <a16:creationId xmlns:a16="http://schemas.microsoft.com/office/drawing/2014/main" id="{DF14CAFB-5A1C-359F-0377-3AAEBEEE251F}"/>
              </a:ext>
            </a:extLst>
          </p:cNvPr>
          <p:cNvSpPr txBox="1"/>
          <p:nvPr userDrawn="1"/>
        </p:nvSpPr>
        <p:spPr>
          <a:xfrm>
            <a:off x="10205254" y="6163771"/>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schemeClr val="bg1">
                    <a:lumMod val="50000"/>
                  </a:schemeClr>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schemeClr val="bg1">
                    <a:lumMod val="50000"/>
                  </a:schemeClr>
                </a:solidFill>
                <a:effectLst/>
                <a:uLnTx/>
                <a:uFillTx/>
                <a:latin typeface="Arial"/>
                <a:ea typeface="Arial"/>
                <a:cs typeface="Arial"/>
                <a:sym typeface="Arial"/>
              </a:rPr>
              <a:t>F.</a:t>
            </a:r>
            <a:r>
              <a:rPr kumimoji="0" lang="en-US" sz="900" b="0" i="0" u="none" strike="noStrike" kern="1200" cap="none" spc="0" normalizeH="0" baseline="0" noProof="0" err="1">
                <a:ln>
                  <a:noFill/>
                </a:ln>
                <a:solidFill>
                  <a:schemeClr val="bg1">
                    <a:lumMod val="50000"/>
                  </a:schemeClr>
                </a:solidFill>
                <a:effectLst/>
                <a:uLnTx/>
                <a:uFillTx/>
                <a:latin typeface="+mn-lt"/>
                <a:ea typeface="Arial"/>
                <a:cs typeface="Arial"/>
                <a:sym typeface="Arial"/>
              </a:rPr>
              <a:t>Combrink</a:t>
            </a:r>
            <a:endParaRPr kumimoji="0" sz="800" b="0" i="0" u="none" strike="noStrike" kern="1200" cap="none" spc="0" normalizeH="0" baseline="0" noProof="0">
              <a:ln>
                <a:noFill/>
              </a:ln>
              <a:solidFill>
                <a:schemeClr val="bg1">
                  <a:lumMod val="50000"/>
                </a:schemeClr>
              </a:solidFill>
              <a:effectLst/>
              <a:uLnTx/>
              <a:uFillTx/>
              <a:latin typeface="+mn-lt"/>
              <a:ea typeface="Arial"/>
              <a:cs typeface="Arial"/>
              <a:sym typeface="Arial"/>
            </a:endParaRPr>
          </a:p>
        </p:txBody>
      </p:sp>
    </p:spTree>
    <p:extLst>
      <p:ext uri="{BB962C8B-B14F-4D97-AF65-F5344CB8AC3E}">
        <p14:creationId xmlns:p14="http://schemas.microsoft.com/office/powerpoint/2010/main" val="417495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540047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235411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1" y="1825626"/>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606417577"/>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1"/>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Tree>
    <p:extLst>
      <p:ext uri="{BB962C8B-B14F-4D97-AF65-F5344CB8AC3E}">
        <p14:creationId xmlns:p14="http://schemas.microsoft.com/office/powerpoint/2010/main" val="2423988843"/>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1_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179" indent="0">
              <a:buNone/>
              <a:defRPr sz="2000">
                <a:solidFill>
                  <a:srgbClr val="00205C"/>
                </a:solidFill>
              </a:defRPr>
            </a:lvl2pPr>
            <a:lvl3pPr marL="914358" indent="0">
              <a:buNone/>
              <a:defRPr sz="2000">
                <a:solidFill>
                  <a:srgbClr val="00205C"/>
                </a:solidFill>
              </a:defRPr>
            </a:lvl3pPr>
            <a:lvl4pPr marL="1371536" indent="0">
              <a:buNone/>
              <a:defRPr sz="2000">
                <a:solidFill>
                  <a:srgbClr val="00205C"/>
                </a:solidFill>
              </a:defRPr>
            </a:lvl4pPr>
            <a:lvl5pPr marL="1828715"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World Health Organization logo ">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582667893"/>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60637112"/>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708553239"/>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1_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1600084295"/>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1_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48507469"/>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1_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3"/>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2998280"/>
            <a:ext cx="5486399"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1078024579"/>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_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1"/>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2"/>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4" name="Picture 13" descr="World Health Organization logo ">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1638407020"/>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objTx" preserve="1">
  <p:cSld name="1_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1"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9017" y="6447153"/>
            <a:ext cx="992032" cy="381552"/>
          </a:xfrm>
          <a:prstGeom prst="rect">
            <a:avLst/>
          </a:prstGeom>
        </p:spPr>
      </p:pic>
    </p:spTree>
    <p:extLst>
      <p:ext uri="{BB962C8B-B14F-4D97-AF65-F5344CB8AC3E}">
        <p14:creationId xmlns:p14="http://schemas.microsoft.com/office/powerpoint/2010/main" val="23608232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UNICEF  </a:t>
            </a:r>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AA6AE69-EFDE-4444-A7C0-C1C8D3F0B9B9}" type="slidenum">
              <a:rPr lang="en-US" smtClean="0"/>
              <a:pPr/>
              <a:t>‹#›</a:t>
            </a:fld>
            <a:endParaRPr lang="en-US"/>
          </a:p>
        </p:txBody>
      </p:sp>
    </p:spTree>
    <p:extLst>
      <p:ext uri="{BB962C8B-B14F-4D97-AF65-F5344CB8AC3E}">
        <p14:creationId xmlns:p14="http://schemas.microsoft.com/office/powerpoint/2010/main" val="396466024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179" indent="0">
              <a:buNone/>
              <a:defRPr sz="2800"/>
            </a:lvl2pPr>
            <a:lvl3pPr marL="914358" indent="0">
              <a:buNone/>
              <a:defRPr sz="2400"/>
            </a:lvl3pPr>
            <a:lvl4pPr marL="1371536" indent="0">
              <a:buNone/>
              <a:defRPr sz="2000"/>
            </a:lvl4pPr>
            <a:lvl5pPr marL="1828715" indent="0">
              <a:buNone/>
              <a:defRPr sz="2000"/>
            </a:lvl5pPr>
            <a:lvl6pPr marL="2285894" indent="0">
              <a:buNone/>
              <a:defRPr sz="2000"/>
            </a:lvl6pPr>
            <a:lvl7pPr marL="2743073" indent="0">
              <a:buNone/>
              <a:defRPr sz="2000"/>
            </a:lvl7pPr>
            <a:lvl8pPr marL="3200252" indent="0">
              <a:buNone/>
              <a:defRPr sz="2000"/>
            </a:lvl8pPr>
            <a:lvl9pPr marL="365743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37" indent="-285737">
              <a:spcBef>
                <a:spcPts val="1600"/>
              </a:spcBef>
              <a:buFont typeface="Arial" panose="020B0604020202020204" pitchFamily="34" charset="0"/>
              <a:buChar char="•"/>
              <a:defRPr sz="16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412092233"/>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69187848"/>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title" preserve="1">
  <p:cSld name="1_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1"/>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264066881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matchingName="Title slide white">
  <p:cSld name="Title slide white">
    <p:spTree>
      <p:nvGrpSpPr>
        <p:cNvPr id="1" name="Shape 14"/>
        <p:cNvGrpSpPr/>
        <p:nvPr/>
      </p:nvGrpSpPr>
      <p:grpSpPr>
        <a:xfrm>
          <a:off x="0" y="0"/>
          <a:ext cx="0" cy="0"/>
          <a:chOff x="0" y="0"/>
          <a:chExt cx="0" cy="0"/>
        </a:xfrm>
      </p:grpSpPr>
      <p:sp>
        <p:nvSpPr>
          <p:cNvPr id="15" name="Google Shape;15;p9"/>
          <p:cNvSpPr>
            <a:spLocks noGrp="1"/>
          </p:cNvSpPr>
          <p:nvPr>
            <p:ph type="pic" idx="2"/>
          </p:nvPr>
        </p:nvSpPr>
        <p:spPr>
          <a:xfrm>
            <a:off x="0" y="0"/>
            <a:ext cx="12192000" cy="6858000"/>
          </a:xfrm>
          <a:prstGeom prst="rect">
            <a:avLst/>
          </a:prstGeom>
          <a:solidFill>
            <a:schemeClr val="lt1"/>
          </a:solidFill>
          <a:ln>
            <a:noFill/>
          </a:ln>
        </p:spPr>
        <p:txBody>
          <a:bodyPr spcFirstLastPara="1" wrap="square" lIns="18000" tIns="0" rIns="18000" bIns="1224000" anchor="ctr" anchorCtr="0">
            <a:normAutofit/>
          </a:bodyPr>
          <a:lstStyle>
            <a:lvl1pPr marR="0" lvl="0" algn="ctr" rtl="0">
              <a:lnSpc>
                <a:spcPct val="110000"/>
              </a:lnSpc>
              <a:spcBef>
                <a:spcPts val="1000"/>
              </a:spcBef>
              <a:spcAft>
                <a:spcPts val="0"/>
              </a:spcAft>
              <a:buClr>
                <a:schemeClr val="dk1"/>
              </a:buClr>
              <a:buSzPts val="1120"/>
              <a:buFont typeface="Arial"/>
              <a:buNone/>
              <a:defRPr sz="1400" b="0" i="0" u="none" strike="noStrike" cap="none">
                <a:solidFill>
                  <a:schemeClr val="accent6"/>
                </a:solidFill>
                <a:latin typeface="Arial"/>
                <a:ea typeface="Arial"/>
                <a:cs typeface="Arial"/>
                <a:sym typeface="Arial"/>
              </a:defRPr>
            </a:lvl1pPr>
            <a:lvl2pPr marR="0" lvl="1"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3pPr>
            <a:lvl4pPr marR="0" lvl="3"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R="0" lvl="4"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R="0" lvl="5"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6" name="Google Shape;16;p9"/>
          <p:cNvSpPr txBox="1">
            <a:spLocks noGrp="1"/>
          </p:cNvSpPr>
          <p:nvPr>
            <p:ph type="ctrTitle"/>
          </p:nvPr>
        </p:nvSpPr>
        <p:spPr>
          <a:xfrm>
            <a:off x="0" y="485184"/>
            <a:ext cx="7344000" cy="1119158"/>
          </a:xfrm>
          <a:prstGeom prst="rect">
            <a:avLst/>
          </a:prstGeom>
          <a:noFill/>
          <a:ln>
            <a:noFill/>
          </a:ln>
        </p:spPr>
        <p:txBody>
          <a:bodyPr spcFirstLastPara="1" wrap="square" lIns="360000" tIns="72000" rIns="450000" bIns="180000" anchor="t" anchorCtr="0">
            <a:noAutofit/>
          </a:bodyPr>
          <a:lstStyle>
            <a:lvl1pPr lvl="0" algn="l">
              <a:lnSpc>
                <a:spcPct val="85000"/>
              </a:lnSpc>
              <a:spcBef>
                <a:spcPts val="0"/>
              </a:spcBef>
              <a:spcAft>
                <a:spcPts val="0"/>
              </a:spcAft>
              <a:buClr>
                <a:srgbClr val="0092CC"/>
              </a:buClr>
              <a:buSzPts val="4200"/>
              <a:buFont typeface="Arial"/>
              <a:buNone/>
              <a:defRPr sz="4200">
                <a:solidFill>
                  <a:srgbClr val="0092CC"/>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9"/>
          <p:cNvSpPr txBox="1">
            <a:spLocks noGrp="1"/>
          </p:cNvSpPr>
          <p:nvPr>
            <p:ph type="body" idx="1"/>
          </p:nvPr>
        </p:nvSpPr>
        <p:spPr>
          <a:xfrm>
            <a:off x="480000" y="6507006"/>
            <a:ext cx="5971600" cy="247650"/>
          </a:xfrm>
          <a:prstGeom prst="rect">
            <a:avLst/>
          </a:prstGeom>
          <a:noFill/>
          <a:ln>
            <a:noFill/>
          </a:ln>
        </p:spPr>
        <p:txBody>
          <a:bodyPr spcFirstLastPara="1" wrap="square" lIns="0" tIns="0" rIns="18000" bIns="0" anchor="ctr" anchorCtr="0">
            <a:noAutofit/>
          </a:bodyPr>
          <a:lstStyle>
            <a:lvl1pPr marL="457179" lvl="0" indent="-228589" algn="l">
              <a:lnSpc>
                <a:spcPct val="110000"/>
              </a:lnSpc>
              <a:spcBef>
                <a:spcPts val="1000"/>
              </a:spcBef>
              <a:spcAft>
                <a:spcPts val="0"/>
              </a:spcAft>
              <a:buSzPts val="800"/>
              <a:buFont typeface="Arial"/>
              <a:buNone/>
              <a:defRPr sz="1000" b="0">
                <a:solidFill>
                  <a:schemeClr val="dk1"/>
                </a:solidFill>
                <a:latin typeface="Arial"/>
                <a:ea typeface="Arial"/>
                <a:cs typeface="Arial"/>
                <a:sym typeface="Arial"/>
              </a:defRPr>
            </a:lvl1pPr>
            <a:lvl2pPr marL="914358" lvl="1" indent="-317486"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2pPr>
            <a:lvl3pPr marL="1371536" lvl="2" indent="-317486"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3pPr>
            <a:lvl4pPr marL="1828715" lvl="3" indent="-317486"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4pPr>
            <a:lvl5pPr marL="2285894" lvl="4" indent="-317486"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5pPr>
            <a:lvl6pPr marL="2743073" lvl="5" indent="-342884" algn="l">
              <a:lnSpc>
                <a:spcPct val="90000"/>
              </a:lnSpc>
              <a:spcBef>
                <a:spcPts val="600"/>
              </a:spcBef>
              <a:spcAft>
                <a:spcPts val="0"/>
              </a:spcAft>
              <a:buClr>
                <a:schemeClr val="dk1"/>
              </a:buClr>
              <a:buSzPts val="1800"/>
              <a:buChar char="•"/>
              <a:defRPr/>
            </a:lvl6pPr>
            <a:lvl7pPr marL="3200252" lvl="6" indent="-342884" algn="l">
              <a:lnSpc>
                <a:spcPct val="90000"/>
              </a:lnSpc>
              <a:spcBef>
                <a:spcPts val="500"/>
              </a:spcBef>
              <a:spcAft>
                <a:spcPts val="0"/>
              </a:spcAft>
              <a:buClr>
                <a:schemeClr val="dk1"/>
              </a:buClr>
              <a:buSzPts val="1800"/>
              <a:buChar char="•"/>
              <a:defRPr/>
            </a:lvl7pPr>
            <a:lvl8pPr marL="3657430" lvl="7" indent="-342884" algn="l">
              <a:lnSpc>
                <a:spcPct val="90000"/>
              </a:lnSpc>
              <a:spcBef>
                <a:spcPts val="500"/>
              </a:spcBef>
              <a:spcAft>
                <a:spcPts val="0"/>
              </a:spcAft>
              <a:buClr>
                <a:schemeClr val="dk1"/>
              </a:buClr>
              <a:buSzPts val="1800"/>
              <a:buChar char="•"/>
              <a:defRPr/>
            </a:lvl8pPr>
            <a:lvl9pPr marL="4114609" lvl="8" indent="-342884" algn="l">
              <a:lnSpc>
                <a:spcPct val="90000"/>
              </a:lnSpc>
              <a:spcBef>
                <a:spcPts val="500"/>
              </a:spcBef>
              <a:spcAft>
                <a:spcPts val="0"/>
              </a:spcAft>
              <a:buClr>
                <a:schemeClr val="dk1"/>
              </a:buClr>
              <a:buSzPts val="1800"/>
              <a:buChar char="•"/>
              <a:defRPr/>
            </a:lvl9pPr>
          </a:lstStyle>
          <a:p>
            <a:endParaRPr/>
          </a:p>
        </p:txBody>
      </p:sp>
      <p:sp>
        <p:nvSpPr>
          <p:cNvPr id="18" name="Google Shape;18;p9"/>
          <p:cNvSpPr txBox="1">
            <a:spLocks noGrp="1"/>
          </p:cNvSpPr>
          <p:nvPr>
            <p:ph type="body" idx="3"/>
          </p:nvPr>
        </p:nvSpPr>
        <p:spPr>
          <a:xfrm>
            <a:off x="9495914" y="6476048"/>
            <a:ext cx="2195259" cy="247650"/>
          </a:xfrm>
          <a:prstGeom prst="rect">
            <a:avLst/>
          </a:prstGeom>
          <a:noFill/>
          <a:ln>
            <a:noFill/>
          </a:ln>
        </p:spPr>
        <p:txBody>
          <a:bodyPr spcFirstLastPara="1" wrap="square" lIns="18000" tIns="0" rIns="0" bIns="0" anchor="ctr" anchorCtr="0">
            <a:noAutofit/>
          </a:bodyPr>
          <a:lstStyle>
            <a:lvl1pPr marL="457179" lvl="0" indent="-228589" algn="ctr">
              <a:lnSpc>
                <a:spcPct val="110000"/>
              </a:lnSpc>
              <a:spcBef>
                <a:spcPts val="1000"/>
              </a:spcBef>
              <a:spcAft>
                <a:spcPts val="0"/>
              </a:spcAft>
              <a:buSzPts val="1280"/>
              <a:buFont typeface="Arial"/>
              <a:buNone/>
              <a:defRPr sz="1600" b="1">
                <a:solidFill>
                  <a:schemeClr val="dk2"/>
                </a:solidFill>
                <a:latin typeface="Arial"/>
                <a:ea typeface="Arial"/>
                <a:cs typeface="Arial"/>
                <a:sym typeface="Arial"/>
              </a:defRPr>
            </a:lvl1pPr>
            <a:lvl2pPr marL="914358" lvl="1" indent="-317486"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2pPr>
            <a:lvl3pPr marL="1371536" lvl="2" indent="-317486"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3pPr>
            <a:lvl4pPr marL="1828715" lvl="3" indent="-317486"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4pPr>
            <a:lvl5pPr marL="2285894" lvl="4" indent="-317486"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5pPr>
            <a:lvl6pPr marL="2743073" lvl="5" indent="-342884" algn="l">
              <a:lnSpc>
                <a:spcPct val="90000"/>
              </a:lnSpc>
              <a:spcBef>
                <a:spcPts val="600"/>
              </a:spcBef>
              <a:spcAft>
                <a:spcPts val="0"/>
              </a:spcAft>
              <a:buClr>
                <a:schemeClr val="dk1"/>
              </a:buClr>
              <a:buSzPts val="1800"/>
              <a:buChar char="•"/>
              <a:defRPr/>
            </a:lvl6pPr>
            <a:lvl7pPr marL="3200252" lvl="6" indent="-342884" algn="l">
              <a:lnSpc>
                <a:spcPct val="90000"/>
              </a:lnSpc>
              <a:spcBef>
                <a:spcPts val="500"/>
              </a:spcBef>
              <a:spcAft>
                <a:spcPts val="0"/>
              </a:spcAft>
              <a:buClr>
                <a:schemeClr val="dk1"/>
              </a:buClr>
              <a:buSzPts val="1800"/>
              <a:buChar char="•"/>
              <a:defRPr/>
            </a:lvl7pPr>
            <a:lvl8pPr marL="3657430" lvl="7" indent="-342884" algn="l">
              <a:lnSpc>
                <a:spcPct val="90000"/>
              </a:lnSpc>
              <a:spcBef>
                <a:spcPts val="500"/>
              </a:spcBef>
              <a:spcAft>
                <a:spcPts val="0"/>
              </a:spcAft>
              <a:buClr>
                <a:schemeClr val="dk1"/>
              </a:buClr>
              <a:buSzPts val="1800"/>
              <a:buChar char="•"/>
              <a:defRPr/>
            </a:lvl8pPr>
            <a:lvl9pPr marL="4114609" lvl="8" indent="-342884" algn="l">
              <a:lnSpc>
                <a:spcPct val="90000"/>
              </a:lnSpc>
              <a:spcBef>
                <a:spcPts val="500"/>
              </a:spcBef>
              <a:spcAft>
                <a:spcPts val="0"/>
              </a:spcAft>
              <a:buClr>
                <a:schemeClr val="dk1"/>
              </a:buClr>
              <a:buSzPts val="1800"/>
              <a:buChar char="•"/>
              <a:defRPr/>
            </a:lvl9pPr>
          </a:lstStyle>
          <a:p>
            <a:endParaRPr/>
          </a:p>
        </p:txBody>
      </p:sp>
      <p:sp>
        <p:nvSpPr>
          <p:cNvPr id="19" name="Google Shape;19;p9"/>
          <p:cNvSpPr txBox="1">
            <a:spLocks noGrp="1"/>
          </p:cNvSpPr>
          <p:nvPr>
            <p:ph type="subTitle" idx="4"/>
          </p:nvPr>
        </p:nvSpPr>
        <p:spPr>
          <a:xfrm>
            <a:off x="2" y="4482001"/>
            <a:ext cx="12191999" cy="1656000"/>
          </a:xfrm>
          <a:prstGeom prst="rect">
            <a:avLst/>
          </a:prstGeom>
          <a:solidFill>
            <a:schemeClr val="dk2"/>
          </a:solidFill>
          <a:ln>
            <a:noFill/>
          </a:ln>
        </p:spPr>
        <p:txBody>
          <a:bodyPr spcFirstLastPara="1" wrap="square" lIns="360000" tIns="360000" rIns="360000" bIns="828000" anchor="b" anchorCtr="0">
            <a:noAutofit/>
          </a:bodyPr>
          <a:lstStyle>
            <a:lvl1pPr lvl="0" algn="l">
              <a:lnSpc>
                <a:spcPct val="90000"/>
              </a:lnSpc>
              <a:spcBef>
                <a:spcPts val="1000"/>
              </a:spcBef>
              <a:spcAft>
                <a:spcPts val="0"/>
              </a:spcAft>
              <a:buSzPts val="1920"/>
              <a:buFont typeface="Arial"/>
              <a:buNone/>
              <a:defRPr sz="2400" b="1">
                <a:solidFill>
                  <a:schemeClr val="lt1"/>
                </a:solidFill>
                <a:latin typeface="Arial"/>
                <a:ea typeface="Arial"/>
                <a:cs typeface="Arial"/>
                <a:sym typeface="Arial"/>
              </a:defRPr>
            </a:lvl1pPr>
            <a:lvl2pPr lvl="1" algn="ctr">
              <a:lnSpc>
                <a:spcPct val="110000"/>
              </a:lnSpc>
              <a:spcBef>
                <a:spcPts val="600"/>
              </a:spcBef>
              <a:spcAft>
                <a:spcPts val="0"/>
              </a:spcAft>
              <a:buSzPts val="2000"/>
              <a:buNone/>
              <a:defRPr sz="2000"/>
            </a:lvl2pPr>
            <a:lvl3pPr lvl="2" algn="ctr">
              <a:lnSpc>
                <a:spcPct val="110000"/>
              </a:lnSpc>
              <a:spcBef>
                <a:spcPts val="600"/>
              </a:spcBef>
              <a:spcAft>
                <a:spcPts val="0"/>
              </a:spcAft>
              <a:buSzPts val="1800"/>
              <a:buNone/>
              <a:defRPr sz="1800"/>
            </a:lvl3pPr>
            <a:lvl4pPr lvl="3" algn="ctr">
              <a:lnSpc>
                <a:spcPct val="110000"/>
              </a:lnSpc>
              <a:spcBef>
                <a:spcPts val="600"/>
              </a:spcBef>
              <a:spcAft>
                <a:spcPts val="0"/>
              </a:spcAft>
              <a:buSzPts val="1600"/>
              <a:buNone/>
              <a:defRPr sz="1600"/>
            </a:lvl4pPr>
            <a:lvl5pPr lvl="4" algn="ctr">
              <a:lnSpc>
                <a:spcPct val="11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 name="Google Shape;20;p9"/>
          <p:cNvSpPr txBox="1">
            <a:spLocks noGrp="1"/>
          </p:cNvSpPr>
          <p:nvPr>
            <p:ph type="body" idx="5"/>
          </p:nvPr>
        </p:nvSpPr>
        <p:spPr>
          <a:xfrm>
            <a:off x="480000" y="5440855"/>
            <a:ext cx="11211172" cy="288000"/>
          </a:xfrm>
          <a:prstGeom prst="rect">
            <a:avLst/>
          </a:prstGeom>
          <a:noFill/>
          <a:ln>
            <a:noFill/>
          </a:ln>
        </p:spPr>
        <p:txBody>
          <a:bodyPr spcFirstLastPara="1" wrap="square" lIns="0" tIns="0" rIns="90000" bIns="0" anchor="t" anchorCtr="0">
            <a:noAutofit/>
          </a:bodyPr>
          <a:lstStyle>
            <a:lvl1pPr marL="457179" lvl="0" indent="-228589" algn="l">
              <a:lnSpc>
                <a:spcPct val="110000"/>
              </a:lnSpc>
              <a:spcBef>
                <a:spcPts val="1000"/>
              </a:spcBef>
              <a:spcAft>
                <a:spcPts val="0"/>
              </a:spcAft>
              <a:buSzPts val="1280"/>
              <a:buFont typeface="Arial"/>
              <a:buNone/>
              <a:defRPr sz="1600" b="0">
                <a:solidFill>
                  <a:schemeClr val="lt1"/>
                </a:solidFill>
                <a:latin typeface="Arial"/>
                <a:ea typeface="Arial"/>
                <a:cs typeface="Arial"/>
                <a:sym typeface="Arial"/>
              </a:defRPr>
            </a:lvl1pPr>
            <a:lvl2pPr marL="914358" lvl="1" indent="-317486"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2pPr>
            <a:lvl3pPr marL="1371536" lvl="2" indent="-317486"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3pPr>
            <a:lvl4pPr marL="1828715" lvl="3" indent="-317486"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4pPr>
            <a:lvl5pPr marL="2285894" lvl="4" indent="-317486"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5pPr>
            <a:lvl6pPr marL="2743073" lvl="5" indent="-342884" algn="l">
              <a:lnSpc>
                <a:spcPct val="90000"/>
              </a:lnSpc>
              <a:spcBef>
                <a:spcPts val="600"/>
              </a:spcBef>
              <a:spcAft>
                <a:spcPts val="0"/>
              </a:spcAft>
              <a:buClr>
                <a:schemeClr val="dk1"/>
              </a:buClr>
              <a:buSzPts val="1800"/>
              <a:buChar char="•"/>
              <a:defRPr/>
            </a:lvl6pPr>
            <a:lvl7pPr marL="3200252" lvl="6" indent="-342884" algn="l">
              <a:lnSpc>
                <a:spcPct val="90000"/>
              </a:lnSpc>
              <a:spcBef>
                <a:spcPts val="500"/>
              </a:spcBef>
              <a:spcAft>
                <a:spcPts val="0"/>
              </a:spcAft>
              <a:buClr>
                <a:schemeClr val="dk1"/>
              </a:buClr>
              <a:buSzPts val="1800"/>
              <a:buChar char="•"/>
              <a:defRPr/>
            </a:lvl7pPr>
            <a:lvl8pPr marL="3657430" lvl="7" indent="-342884" algn="l">
              <a:lnSpc>
                <a:spcPct val="90000"/>
              </a:lnSpc>
              <a:spcBef>
                <a:spcPts val="500"/>
              </a:spcBef>
              <a:spcAft>
                <a:spcPts val="0"/>
              </a:spcAft>
              <a:buClr>
                <a:schemeClr val="dk1"/>
              </a:buClr>
              <a:buSzPts val="1800"/>
              <a:buChar char="•"/>
              <a:defRPr/>
            </a:lvl8pPr>
            <a:lvl9pPr marL="4114609" lvl="8" indent="-342884" algn="l">
              <a:lnSpc>
                <a:spcPct val="90000"/>
              </a:lnSpc>
              <a:spcBef>
                <a:spcPts val="500"/>
              </a:spcBef>
              <a:spcAft>
                <a:spcPts val="0"/>
              </a:spcAft>
              <a:buClr>
                <a:schemeClr val="dk1"/>
              </a:buClr>
              <a:buSzPts val="1800"/>
              <a:buChar char="•"/>
              <a:defRPr/>
            </a:lvl9pPr>
          </a:lstStyle>
          <a:p>
            <a:endParaRPr/>
          </a:p>
        </p:txBody>
      </p:sp>
      <p:sp>
        <p:nvSpPr>
          <p:cNvPr id="21" name="Google Shape;21;p9"/>
          <p:cNvSpPr>
            <a:spLocks noGrp="1"/>
          </p:cNvSpPr>
          <p:nvPr>
            <p:ph type="pic" idx="6"/>
          </p:nvPr>
        </p:nvSpPr>
        <p:spPr>
          <a:xfrm>
            <a:off x="7460679" y="485184"/>
            <a:ext cx="4230495" cy="1112400"/>
          </a:xfrm>
          <a:prstGeom prst="rect">
            <a:avLst/>
          </a:prstGeom>
          <a:blipFill rotWithShape="1">
            <a:blip r:embed="rId2">
              <a:alphaModFix/>
              <a:extLst>
                <a:ext uri="{28A0092B-C50C-407E-A947-70E740481C1C}">
                  <a14:useLocalDpi xmlns:a14="http://schemas.microsoft.com/office/drawing/2010/main"/>
                </a:ext>
              </a:extLst>
            </a:blip>
            <a:stretch>
              <a:fillRect/>
            </a:stretch>
          </a:blipFill>
          <a:ln>
            <a:noFill/>
          </a:ln>
        </p:spPr>
        <p:txBody>
          <a:bodyPr spcFirstLastPara="1" wrap="square" lIns="18000" tIns="0" rIns="18000" bIns="0" anchor="t" anchorCtr="0">
            <a:noAutofit/>
          </a:bodyPr>
          <a:lstStyle>
            <a:lvl1pPr marR="0" lvl="0" algn="ctr" rtl="0">
              <a:lnSpc>
                <a:spcPct val="110000"/>
              </a:lnSpc>
              <a:spcBef>
                <a:spcPts val="1000"/>
              </a:spcBef>
              <a:spcAft>
                <a:spcPts val="0"/>
              </a:spcAft>
              <a:buClr>
                <a:schemeClr val="dk1"/>
              </a:buClr>
              <a:buSzPts val="1400"/>
              <a:buFont typeface="Arial"/>
              <a:buNone/>
              <a:defRPr sz="100" b="0" i="0" u="none" strike="noStrike" cap="none">
                <a:solidFill>
                  <a:schemeClr val="lt1"/>
                </a:solidFill>
                <a:latin typeface="Arial"/>
                <a:ea typeface="Arial"/>
                <a:cs typeface="Arial"/>
                <a:sym typeface="Arial"/>
              </a:defRPr>
            </a:lvl1pPr>
            <a:lvl2pPr marR="0" lvl="1"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3pPr>
            <a:lvl4pPr marR="0" lvl="3"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R="0" lvl="4"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R="0" lvl="5"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767554875"/>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title" preserve="1">
  <p:cSld name="2_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5"/>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52252607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2_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5"/>
          </a:xfrm>
          <a:prstGeom prst="rect">
            <a:avLst/>
          </a:prstGeom>
        </p:spPr>
      </p:pic>
    </p:spTree>
    <p:extLst>
      <p:ext uri="{BB962C8B-B14F-4D97-AF65-F5344CB8AC3E}">
        <p14:creationId xmlns:p14="http://schemas.microsoft.com/office/powerpoint/2010/main" val="715003252"/>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reserve="1">
  <p:cSld name="2_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1"/>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808520861"/>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3_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2601837261"/>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1_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1" y="1846372"/>
            <a:ext cx="9700351" cy="2743200"/>
          </a:xfrm>
        </p:spPr>
        <p:txBody>
          <a:bodyPr anchor="t" anchorCtr="0">
            <a:normAutofit/>
          </a:bodyPr>
          <a:lstStyle>
            <a:lvl1pPr marL="228589" indent="-228589">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4734773"/>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4020862522"/>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1_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1"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1574801"/>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15147021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9" y="2342856"/>
            <a:ext cx="11042887" cy="3007436"/>
          </a:xfrm>
        </p:spPr>
        <p:txBody>
          <a:bodyPr wrap="square" numCol="2" spcCol="756000">
            <a:noAutofit/>
          </a:bodyPr>
          <a:lstStyle>
            <a:lvl1pPr marL="311873" indent="-311873">
              <a:spcAft>
                <a:spcPts val="0"/>
              </a:spcAft>
              <a:buFont typeface="+mj-lt"/>
              <a:buAutoNum type="arabicPeriod"/>
              <a:defRPr sz="1940" b="0" i="0">
                <a:solidFill>
                  <a:schemeClr val="tx1"/>
                </a:solidFill>
                <a:latin typeface="Poppins Medium" pitchFamily="2" charset="77"/>
                <a:cs typeface="Poppins Medium" pitchFamily="2" charset="77"/>
              </a:defRPr>
            </a:lvl1pPr>
            <a:lvl2pPr marL="311873" indent="-311873">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2450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1_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2"/>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1" y="1551944"/>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sz="1400">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2"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833821823"/>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titleOnly" preserve="1">
  <p:cSld name="1_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1589506375"/>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obj" preserve="1">
  <p:cSld name="1_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404129"/>
            <a:ext cx="5154592" cy="320675"/>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249981163"/>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6"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a:xfrm>
            <a:off x="480485" y="1188011"/>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13" name="Text Placeholder 7"/>
          <p:cNvSpPr>
            <a:spLocks noGrp="1"/>
          </p:cNvSpPr>
          <p:nvPr>
            <p:ph type="body" sz="quarter" idx="21" hasCustomPrompt="1"/>
          </p:nvPr>
        </p:nvSpPr>
        <p:spPr>
          <a:xfrm>
            <a:off x="480001" y="6293658"/>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lvl1pPr>
              <a:defRPr>
                <a:latin typeface="Ebrima (Headings)"/>
              </a:defRPr>
            </a:lvl1pPr>
          </a:lstStyle>
          <a:p>
            <a:r>
              <a:rPr lang="en-GB" noProof="0"/>
              <a:t>Click to edit Master title style</a:t>
            </a:r>
          </a:p>
        </p:txBody>
      </p:sp>
      <p:sp>
        <p:nvSpPr>
          <p:cNvPr id="10" name="Slide Number Placeholder 9">
            <a:extLst>
              <a:ext uri="{FF2B5EF4-FFF2-40B4-BE49-F238E27FC236}">
                <a16:creationId xmlns:a16="http://schemas.microsoft.com/office/drawing/2014/main" id="{1AC1B66F-C1FE-4F18-8129-FE677489DF3F}"/>
              </a:ext>
            </a:extLst>
          </p:cNvPr>
          <p:cNvSpPr>
            <a:spLocks noGrp="1"/>
          </p:cNvSpPr>
          <p:nvPr>
            <p:ph type="sldNum" sz="quarter" idx="24"/>
          </p:nvPr>
        </p:nvSpPr>
        <p:spPr/>
        <p:txBody>
          <a:bodyPr/>
          <a:lstStyle/>
          <a:p>
            <a:fld id="{A74CE0EA-F3B5-4684-BA10-C594598FDB9C}" type="slidenum">
              <a:rPr lang="en-GB" noProof="0" smtClean="0"/>
              <a:pPr/>
              <a:t>‹#›</a:t>
            </a:fld>
            <a:endParaRPr lang="en-GB" noProof="0"/>
          </a:p>
        </p:txBody>
      </p:sp>
      <p:sp>
        <p:nvSpPr>
          <p:cNvPr id="11" name="Footer Placeholder 8">
            <a:extLst>
              <a:ext uri="{FF2B5EF4-FFF2-40B4-BE49-F238E27FC236}">
                <a16:creationId xmlns:a16="http://schemas.microsoft.com/office/drawing/2014/main" id="{241A784C-4A7E-4D21-88C3-3B5522164274}"/>
              </a:ext>
            </a:extLst>
          </p:cNvPr>
          <p:cNvSpPr>
            <a:spLocks noGrp="1"/>
          </p:cNvSpPr>
          <p:nvPr>
            <p:ph type="ftr" sz="quarter" idx="23"/>
          </p:nvPr>
        </p:nvSpPr>
        <p:spPr>
          <a:xfrm>
            <a:off x="480005" y="6559636"/>
            <a:ext cx="4823521" cy="298371"/>
          </a:xfrm>
          <a:prstGeom prst="rect">
            <a:avLst/>
          </a:prstGeom>
        </p:spPr>
        <p:txBody>
          <a:bodyPr/>
          <a:lstStyle>
            <a:lvl1pPr>
              <a:defRPr sz="900"/>
            </a:lvl1pPr>
          </a:lstStyle>
          <a:p>
            <a:endParaRPr lang="en-GB"/>
          </a:p>
        </p:txBody>
      </p:sp>
    </p:spTree>
    <p:extLst>
      <p:ext uri="{BB962C8B-B14F-4D97-AF65-F5344CB8AC3E}">
        <p14:creationId xmlns:p14="http://schemas.microsoft.com/office/powerpoint/2010/main" val="3415478934"/>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title" preserve="1">
  <p:cSld name="2_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6200173" y="6397385"/>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337741588"/>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title" preserve="1">
  <p:cSld name="3_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444324814"/>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title" preserve="1">
  <p:cSld name="3_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5852984"/>
            <a:ext cx="2314637" cy="704735"/>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458136797"/>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title" preserve="1">
  <p:cSld name="2_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169428471"/>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3_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5852984"/>
            <a:ext cx="2314637" cy="704735"/>
          </a:xfrm>
          <a:prstGeom prst="rect">
            <a:avLst/>
          </a:prstGeom>
        </p:spPr>
      </p:pic>
    </p:spTree>
    <p:extLst>
      <p:ext uri="{BB962C8B-B14F-4D97-AF65-F5344CB8AC3E}">
        <p14:creationId xmlns:p14="http://schemas.microsoft.com/office/powerpoint/2010/main" val="56462103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2_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F07AB91-D215-9B41-9808-46FFB4D2758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9993168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pic>
        <p:nvPicPr>
          <p:cNvPr id="4" name="Graphic 3">
            <a:extLst>
              <a:ext uri="{FF2B5EF4-FFF2-40B4-BE49-F238E27FC236}">
                <a16:creationId xmlns:a16="http://schemas.microsoft.com/office/drawing/2014/main" id="{2AFB3B89-1B9E-B928-529F-926C01426BF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3982" y="6256647"/>
            <a:ext cx="1928611" cy="412280"/>
          </a:xfrm>
          <a:prstGeom prst="rect">
            <a:avLst/>
          </a:prstGeom>
        </p:spPr>
      </p:pic>
    </p:spTree>
    <p:extLst>
      <p:ext uri="{BB962C8B-B14F-4D97-AF65-F5344CB8AC3E}">
        <p14:creationId xmlns:p14="http://schemas.microsoft.com/office/powerpoint/2010/main" val="3310137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0.xml><?xml version="1.0" encoding="utf-8"?>
<p:sldLayout xmlns:a="http://schemas.openxmlformats.org/drawingml/2006/main" xmlns:r="http://schemas.openxmlformats.org/officeDocument/2006/relationships" xmlns:p="http://schemas.openxmlformats.org/presentationml/2006/main" type="obj" preserve="1">
  <p:cSld name="3_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1"/>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1A501AEF-ABA1-5B46-9DF6-FA16A49F32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60882028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4_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D1B0992-9F08-4D46-9772-C6DCA591D5B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2418159901"/>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_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1" y="1846372"/>
            <a:ext cx="9700351" cy="2743200"/>
          </a:xfrm>
        </p:spPr>
        <p:txBody>
          <a:bodyPr anchor="t" anchorCtr="0">
            <a:normAutofit/>
          </a:bodyPr>
          <a:lstStyle>
            <a:lvl1pPr marL="228589" indent="-228589">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4734773"/>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4188317467"/>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2_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1"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1574801"/>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47550344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2_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2"/>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7"/>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1" y="1551944"/>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sz="1400">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2"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756441006"/>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1" y="1825626"/>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19232549"/>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1"/>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Tree>
    <p:extLst>
      <p:ext uri="{BB962C8B-B14F-4D97-AF65-F5344CB8AC3E}">
        <p14:creationId xmlns:p14="http://schemas.microsoft.com/office/powerpoint/2010/main" val="3594081521"/>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2_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179" indent="0">
              <a:buNone/>
              <a:defRPr sz="2000">
                <a:solidFill>
                  <a:srgbClr val="00205C"/>
                </a:solidFill>
              </a:defRPr>
            </a:lvl2pPr>
            <a:lvl3pPr marL="914358" indent="0">
              <a:buNone/>
              <a:defRPr sz="2000">
                <a:solidFill>
                  <a:srgbClr val="00205C"/>
                </a:solidFill>
              </a:defRPr>
            </a:lvl3pPr>
            <a:lvl4pPr marL="1371536" indent="0">
              <a:buNone/>
              <a:defRPr sz="2000">
                <a:solidFill>
                  <a:srgbClr val="00205C"/>
                </a:solidFill>
              </a:defRPr>
            </a:lvl4pPr>
            <a:lvl5pPr marL="1828715"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World Health Organization logo ">
            <a:extLst>
              <a:ext uri="{FF2B5EF4-FFF2-40B4-BE49-F238E27FC236}">
                <a16:creationId xmlns:a16="http://schemas.microsoft.com/office/drawing/2014/main" id="{0D77C92E-FD76-CA4F-9DDF-75EE90F0F37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833889698"/>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845400638"/>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titleOnly" preserve="1">
  <p:cSld name="2_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13397853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53715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type="obj" preserve="1">
  <p:cSld name="2_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404129"/>
            <a:ext cx="5154592" cy="320675"/>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B0D277E7-B8AB-6149-A9B0-222EC5A514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272163513"/>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2_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D6B883BC-ECF6-C547-8C20-CE0694CA25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1997961770"/>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_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900D91A6-1DEF-C742-BB2B-4F0CE8BD171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4229185571"/>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_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E1CFAF92-E612-AE40-ABFE-2A513B425F3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878124574"/>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2_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B61AF795-8C85-814F-914D-9EBE0519A18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988166065"/>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2_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3"/>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2998280"/>
            <a:ext cx="5486399"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A3318E81-63F9-2444-AF93-3EF243AFF18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3864724153"/>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2_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1"/>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2"/>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4" name="Picture 13" descr="World Health Organization logo ">
            <a:extLst>
              <a:ext uri="{FF2B5EF4-FFF2-40B4-BE49-F238E27FC236}">
                <a16:creationId xmlns:a16="http://schemas.microsoft.com/office/drawing/2014/main" id="{60CC6A7D-F186-344A-AFAE-1F4FB8A6C3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327354870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type="objTx" preserve="1">
  <p:cSld name="2_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1"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320530243"/>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picTx" preserve="1">
  <p:cSld name="5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179" indent="0">
              <a:buNone/>
              <a:defRPr sz="2800"/>
            </a:lvl2pPr>
            <a:lvl3pPr marL="914358" indent="0">
              <a:buNone/>
              <a:defRPr sz="2400"/>
            </a:lvl3pPr>
            <a:lvl4pPr marL="1371536" indent="0">
              <a:buNone/>
              <a:defRPr sz="2000"/>
            </a:lvl4pPr>
            <a:lvl5pPr marL="1828715" indent="0">
              <a:buNone/>
              <a:defRPr sz="2000"/>
            </a:lvl5pPr>
            <a:lvl6pPr marL="2285894" indent="0">
              <a:buNone/>
              <a:defRPr sz="2000"/>
            </a:lvl6pPr>
            <a:lvl7pPr marL="2743073" indent="0">
              <a:buNone/>
              <a:defRPr sz="2000"/>
            </a:lvl7pPr>
            <a:lvl8pPr marL="3200252" indent="0">
              <a:buNone/>
              <a:defRPr sz="2000"/>
            </a:lvl8pPr>
            <a:lvl9pPr marL="365743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37" indent="-285737">
              <a:spcBef>
                <a:spcPts val="1600"/>
              </a:spcBef>
              <a:buFont typeface="Arial" panose="020B0604020202020204" pitchFamily="34" charset="0"/>
              <a:buChar char="•"/>
              <a:defRPr sz="16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42992776-3670-F24B-B4C8-03460D5C00E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13447358"/>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4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1484C8C0-9FE5-7B48-A8C7-062291516AD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9798202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4" name="Graphic 3">
            <a:extLst>
              <a:ext uri="{FF2B5EF4-FFF2-40B4-BE49-F238E27FC236}">
                <a16:creationId xmlns:a16="http://schemas.microsoft.com/office/drawing/2014/main" id="{02662427-B2C8-CCC5-FF8B-ACFF946D010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3982" y="6256647"/>
            <a:ext cx="1928611" cy="412280"/>
          </a:xfrm>
          <a:prstGeom prst="rect">
            <a:avLst/>
          </a:prstGeom>
        </p:spPr>
      </p:pic>
    </p:spTree>
    <p:extLst>
      <p:ext uri="{BB962C8B-B14F-4D97-AF65-F5344CB8AC3E}">
        <p14:creationId xmlns:p14="http://schemas.microsoft.com/office/powerpoint/2010/main" val="3655240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type="title" preserve="1">
  <p:cSld name="2_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1"/>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14677563"/>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554736"/>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title" preserve="1">
  <p:cSld name="5_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885214633"/>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422299379"/>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3_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3" name="Google Shape;526;p1">
            <a:extLst>
              <a:ext uri="{FF2B5EF4-FFF2-40B4-BE49-F238E27FC236}">
                <a16:creationId xmlns:a16="http://schemas.microsoft.com/office/drawing/2014/main" id="{5F2CA40D-CBCA-9B53-5362-5D330F0123CD}"/>
              </a:ext>
            </a:extLst>
          </p:cNvPr>
          <p:cNvSpPr txBox="1"/>
          <p:nvPr userDrawn="1"/>
        </p:nvSpPr>
        <p:spPr>
          <a:xfrm>
            <a:off x="10016263" y="6135687"/>
            <a:ext cx="1338501" cy="250342"/>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686136748"/>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4"/>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4"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80000"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1"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407498128"/>
      </p:ext>
    </p:extLst>
  </p:cSld>
  <p:clrMapOvr>
    <a:overrideClrMapping bg1="lt1" tx1="dk1" bg2="lt2" tx2="dk2" accent1="accent1" accent2="accent2" accent3="accent3" accent4="accent4" accent5="accent5" accent6="accent6" hlink="hlink" folHlink="folHlink"/>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1" y="6293652"/>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1519570734"/>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matchingName="Title and Content white">
  <p:cSld name="1_Title and Content white">
    <p:spTree>
      <p:nvGrpSpPr>
        <p:cNvPr id="1" name="Shape 22"/>
        <p:cNvGrpSpPr/>
        <p:nvPr/>
      </p:nvGrpSpPr>
      <p:grpSpPr>
        <a:xfrm>
          <a:off x="0" y="0"/>
          <a:ext cx="0" cy="0"/>
          <a:chOff x="0" y="0"/>
          <a:chExt cx="0" cy="0"/>
        </a:xfrm>
      </p:grpSpPr>
      <p:sp>
        <p:nvSpPr>
          <p:cNvPr id="23" name="Google Shape;23;p10"/>
          <p:cNvSpPr txBox="1">
            <a:spLocks noGrp="1"/>
          </p:cNvSpPr>
          <p:nvPr>
            <p:ph type="body" idx="1"/>
          </p:nvPr>
        </p:nvSpPr>
        <p:spPr>
          <a:xfrm>
            <a:off x="480003" y="1800000"/>
            <a:ext cx="11232001" cy="4237200"/>
          </a:xfrm>
          <a:prstGeom prst="rect">
            <a:avLst/>
          </a:prstGeom>
          <a:noFill/>
          <a:ln>
            <a:noFill/>
          </a:ln>
        </p:spPr>
        <p:txBody>
          <a:bodyPr spcFirstLastPara="1" wrap="square" lIns="18000" tIns="0" rIns="18000" bIns="0" anchor="t" anchorCtr="0">
            <a:noAutofit/>
          </a:bodyPr>
          <a:lstStyle>
            <a:lvl1pPr marL="457179" lvl="0" indent="-228589" algn="l">
              <a:lnSpc>
                <a:spcPct val="110000"/>
              </a:lnSpc>
              <a:spcBef>
                <a:spcPts val="1000"/>
              </a:spcBef>
              <a:spcAft>
                <a:spcPts val="0"/>
              </a:spcAft>
              <a:buSzPts val="1440"/>
              <a:buNone/>
              <a:defRPr/>
            </a:lvl1pPr>
            <a:lvl2pPr marL="914358" lvl="1" indent="-342884" algn="l">
              <a:lnSpc>
                <a:spcPct val="110000"/>
              </a:lnSpc>
              <a:spcBef>
                <a:spcPts val="600"/>
              </a:spcBef>
              <a:spcAft>
                <a:spcPts val="0"/>
              </a:spcAft>
              <a:buSzPts val="1800"/>
              <a:buChar char="•"/>
              <a:defRPr/>
            </a:lvl2pPr>
            <a:lvl3pPr marL="1371536" lvl="2" indent="-342884" algn="l">
              <a:lnSpc>
                <a:spcPct val="110000"/>
              </a:lnSpc>
              <a:spcBef>
                <a:spcPts val="600"/>
              </a:spcBef>
              <a:spcAft>
                <a:spcPts val="0"/>
              </a:spcAft>
              <a:buSzPts val="1800"/>
              <a:buChar char="•"/>
              <a:defRPr/>
            </a:lvl3pPr>
            <a:lvl4pPr marL="1828715" lvl="3" indent="-342884" algn="l">
              <a:lnSpc>
                <a:spcPct val="110000"/>
              </a:lnSpc>
              <a:spcBef>
                <a:spcPts val="600"/>
              </a:spcBef>
              <a:spcAft>
                <a:spcPts val="0"/>
              </a:spcAft>
              <a:buSzPts val="1800"/>
              <a:buChar char="•"/>
              <a:defRPr/>
            </a:lvl4pPr>
            <a:lvl5pPr marL="2285894" lvl="4" indent="-342884" algn="l">
              <a:lnSpc>
                <a:spcPct val="110000"/>
              </a:lnSpc>
              <a:spcBef>
                <a:spcPts val="600"/>
              </a:spcBef>
              <a:spcAft>
                <a:spcPts val="0"/>
              </a:spcAft>
              <a:buSzPts val="1800"/>
              <a:buChar char="•"/>
              <a:defRPr/>
            </a:lvl5pPr>
            <a:lvl6pPr marL="2743073" lvl="5" indent="-342884" algn="l">
              <a:lnSpc>
                <a:spcPct val="90000"/>
              </a:lnSpc>
              <a:spcBef>
                <a:spcPts val="600"/>
              </a:spcBef>
              <a:spcAft>
                <a:spcPts val="0"/>
              </a:spcAft>
              <a:buClr>
                <a:schemeClr val="dk1"/>
              </a:buClr>
              <a:buSzPts val="1800"/>
              <a:buChar char="•"/>
              <a:defRPr/>
            </a:lvl6pPr>
            <a:lvl7pPr marL="3200252" lvl="6" indent="-342884" algn="l">
              <a:lnSpc>
                <a:spcPct val="90000"/>
              </a:lnSpc>
              <a:spcBef>
                <a:spcPts val="500"/>
              </a:spcBef>
              <a:spcAft>
                <a:spcPts val="0"/>
              </a:spcAft>
              <a:buClr>
                <a:schemeClr val="dk1"/>
              </a:buClr>
              <a:buSzPts val="1800"/>
              <a:buChar char="•"/>
              <a:defRPr/>
            </a:lvl7pPr>
            <a:lvl8pPr marL="3657430" lvl="7" indent="-342884" algn="l">
              <a:lnSpc>
                <a:spcPct val="90000"/>
              </a:lnSpc>
              <a:spcBef>
                <a:spcPts val="500"/>
              </a:spcBef>
              <a:spcAft>
                <a:spcPts val="0"/>
              </a:spcAft>
              <a:buClr>
                <a:schemeClr val="dk1"/>
              </a:buClr>
              <a:buSzPts val="1800"/>
              <a:buChar char="•"/>
              <a:defRPr/>
            </a:lvl8pPr>
            <a:lvl9pPr marL="4114609" lvl="8" indent="-342884" algn="l">
              <a:lnSpc>
                <a:spcPct val="90000"/>
              </a:lnSpc>
              <a:spcBef>
                <a:spcPts val="500"/>
              </a:spcBef>
              <a:spcAft>
                <a:spcPts val="0"/>
              </a:spcAft>
              <a:buClr>
                <a:schemeClr val="dk1"/>
              </a:buClr>
              <a:buSzPts val="1800"/>
              <a:buChar char="•"/>
              <a:defRPr/>
            </a:lvl9pPr>
          </a:lstStyle>
          <a:p>
            <a:endParaRPr/>
          </a:p>
        </p:txBody>
      </p:sp>
      <p:sp>
        <p:nvSpPr>
          <p:cNvPr id="24" name="Google Shape;24;p10"/>
          <p:cNvSpPr txBox="1">
            <a:spLocks noGrp="1"/>
          </p:cNvSpPr>
          <p:nvPr>
            <p:ph type="body" idx="2"/>
          </p:nvPr>
        </p:nvSpPr>
        <p:spPr>
          <a:xfrm>
            <a:off x="480485" y="1188008"/>
            <a:ext cx="8160000" cy="288925"/>
          </a:xfrm>
          <a:prstGeom prst="rect">
            <a:avLst/>
          </a:prstGeom>
          <a:noFill/>
          <a:ln>
            <a:noFill/>
          </a:ln>
        </p:spPr>
        <p:txBody>
          <a:bodyPr spcFirstLastPara="1" wrap="square" lIns="18000" tIns="0" rIns="18000" bIns="0" anchor="ctr" anchorCtr="0">
            <a:normAutofit/>
          </a:bodyPr>
          <a:lstStyle>
            <a:lvl1pPr marL="457179" lvl="0" indent="-228589" algn="l">
              <a:lnSpc>
                <a:spcPct val="110000"/>
              </a:lnSpc>
              <a:spcBef>
                <a:spcPts val="1000"/>
              </a:spcBef>
              <a:spcAft>
                <a:spcPts val="0"/>
              </a:spcAft>
              <a:buSzPts val="1280"/>
              <a:buFont typeface="Arial"/>
              <a:buNone/>
              <a:defRPr sz="1600" b="0">
                <a:solidFill>
                  <a:schemeClr val="dk1"/>
                </a:solidFill>
                <a:latin typeface="Arial"/>
                <a:ea typeface="Arial"/>
                <a:cs typeface="Arial"/>
                <a:sym typeface="Arial"/>
              </a:defRPr>
            </a:lvl1pPr>
            <a:lvl2pPr marL="914358" lvl="1" indent="-342884" algn="l">
              <a:lnSpc>
                <a:spcPct val="110000"/>
              </a:lnSpc>
              <a:spcBef>
                <a:spcPts val="600"/>
              </a:spcBef>
              <a:spcAft>
                <a:spcPts val="0"/>
              </a:spcAft>
              <a:buSzPts val="1800"/>
              <a:buChar char="•"/>
              <a:defRPr/>
            </a:lvl2pPr>
            <a:lvl3pPr marL="1371536" lvl="2" indent="-342884" algn="l">
              <a:lnSpc>
                <a:spcPct val="110000"/>
              </a:lnSpc>
              <a:spcBef>
                <a:spcPts val="600"/>
              </a:spcBef>
              <a:spcAft>
                <a:spcPts val="0"/>
              </a:spcAft>
              <a:buSzPts val="1800"/>
              <a:buChar char="•"/>
              <a:defRPr/>
            </a:lvl3pPr>
            <a:lvl4pPr marL="1828715" lvl="3" indent="-342884" algn="l">
              <a:lnSpc>
                <a:spcPct val="110000"/>
              </a:lnSpc>
              <a:spcBef>
                <a:spcPts val="600"/>
              </a:spcBef>
              <a:spcAft>
                <a:spcPts val="0"/>
              </a:spcAft>
              <a:buSzPts val="1800"/>
              <a:buChar char="•"/>
              <a:defRPr/>
            </a:lvl4pPr>
            <a:lvl5pPr marL="2285894" lvl="4" indent="-342884" algn="l">
              <a:lnSpc>
                <a:spcPct val="110000"/>
              </a:lnSpc>
              <a:spcBef>
                <a:spcPts val="600"/>
              </a:spcBef>
              <a:spcAft>
                <a:spcPts val="0"/>
              </a:spcAft>
              <a:buSzPts val="1800"/>
              <a:buChar char="•"/>
              <a:defRPr/>
            </a:lvl5pPr>
            <a:lvl6pPr marL="2743073" lvl="5" indent="-342884" algn="l">
              <a:lnSpc>
                <a:spcPct val="90000"/>
              </a:lnSpc>
              <a:spcBef>
                <a:spcPts val="600"/>
              </a:spcBef>
              <a:spcAft>
                <a:spcPts val="0"/>
              </a:spcAft>
              <a:buClr>
                <a:schemeClr val="dk1"/>
              </a:buClr>
              <a:buSzPts val="1800"/>
              <a:buChar char="•"/>
              <a:defRPr/>
            </a:lvl6pPr>
            <a:lvl7pPr marL="3200252" lvl="6" indent="-342884" algn="l">
              <a:lnSpc>
                <a:spcPct val="90000"/>
              </a:lnSpc>
              <a:spcBef>
                <a:spcPts val="500"/>
              </a:spcBef>
              <a:spcAft>
                <a:spcPts val="0"/>
              </a:spcAft>
              <a:buClr>
                <a:schemeClr val="dk1"/>
              </a:buClr>
              <a:buSzPts val="1800"/>
              <a:buChar char="•"/>
              <a:defRPr/>
            </a:lvl7pPr>
            <a:lvl8pPr marL="3657430" lvl="7" indent="-342884" algn="l">
              <a:lnSpc>
                <a:spcPct val="90000"/>
              </a:lnSpc>
              <a:spcBef>
                <a:spcPts val="500"/>
              </a:spcBef>
              <a:spcAft>
                <a:spcPts val="0"/>
              </a:spcAft>
              <a:buClr>
                <a:schemeClr val="dk1"/>
              </a:buClr>
              <a:buSzPts val="1800"/>
              <a:buChar char="•"/>
              <a:defRPr/>
            </a:lvl8pPr>
            <a:lvl9pPr marL="4114609" lvl="8" indent="-342884" algn="l">
              <a:lnSpc>
                <a:spcPct val="90000"/>
              </a:lnSpc>
              <a:spcBef>
                <a:spcPts val="500"/>
              </a:spcBef>
              <a:spcAft>
                <a:spcPts val="0"/>
              </a:spcAft>
              <a:buClr>
                <a:schemeClr val="dk1"/>
              </a:buClr>
              <a:buSzPts val="1800"/>
              <a:buChar char="•"/>
              <a:defRPr/>
            </a:lvl9pPr>
          </a:lstStyle>
          <a:p>
            <a:endParaRPr/>
          </a:p>
        </p:txBody>
      </p:sp>
      <p:sp>
        <p:nvSpPr>
          <p:cNvPr id="25" name="Google Shape;25;p10"/>
          <p:cNvSpPr txBox="1">
            <a:spLocks noGrp="1"/>
          </p:cNvSpPr>
          <p:nvPr>
            <p:ph type="body" idx="3"/>
          </p:nvPr>
        </p:nvSpPr>
        <p:spPr>
          <a:xfrm>
            <a:off x="480001" y="6293655"/>
            <a:ext cx="11226365" cy="208579"/>
          </a:xfrm>
          <a:prstGeom prst="rect">
            <a:avLst/>
          </a:prstGeom>
          <a:noFill/>
          <a:ln>
            <a:noFill/>
          </a:ln>
        </p:spPr>
        <p:txBody>
          <a:bodyPr spcFirstLastPara="1" wrap="square" lIns="18000" tIns="0" rIns="18000" bIns="0" anchor="t" anchorCtr="0">
            <a:normAutofit/>
          </a:bodyPr>
          <a:lstStyle>
            <a:lvl1pPr marL="457179" lvl="0" indent="-228589" algn="l">
              <a:lnSpc>
                <a:spcPct val="110000"/>
              </a:lnSpc>
              <a:spcBef>
                <a:spcPts val="1000"/>
              </a:spcBef>
              <a:spcAft>
                <a:spcPts val="0"/>
              </a:spcAft>
              <a:buSzPts val="640"/>
              <a:buFont typeface="Arial"/>
              <a:buNone/>
              <a:defRPr sz="800" b="0">
                <a:solidFill>
                  <a:schemeClr val="dk1"/>
                </a:solidFill>
                <a:latin typeface="Arial"/>
                <a:ea typeface="Arial"/>
                <a:cs typeface="Arial"/>
                <a:sym typeface="Arial"/>
              </a:defRPr>
            </a:lvl1pPr>
            <a:lvl2pPr marL="914358" lvl="1" indent="-342884" algn="l">
              <a:lnSpc>
                <a:spcPct val="110000"/>
              </a:lnSpc>
              <a:spcBef>
                <a:spcPts val="600"/>
              </a:spcBef>
              <a:spcAft>
                <a:spcPts val="0"/>
              </a:spcAft>
              <a:buSzPts val="1800"/>
              <a:buChar char="•"/>
              <a:defRPr/>
            </a:lvl2pPr>
            <a:lvl3pPr marL="1371536" lvl="2" indent="-342884" algn="l">
              <a:lnSpc>
                <a:spcPct val="110000"/>
              </a:lnSpc>
              <a:spcBef>
                <a:spcPts val="600"/>
              </a:spcBef>
              <a:spcAft>
                <a:spcPts val="0"/>
              </a:spcAft>
              <a:buSzPts val="1800"/>
              <a:buChar char="•"/>
              <a:defRPr/>
            </a:lvl3pPr>
            <a:lvl4pPr marL="1828715" lvl="3" indent="-342884" algn="l">
              <a:lnSpc>
                <a:spcPct val="110000"/>
              </a:lnSpc>
              <a:spcBef>
                <a:spcPts val="600"/>
              </a:spcBef>
              <a:spcAft>
                <a:spcPts val="0"/>
              </a:spcAft>
              <a:buSzPts val="1800"/>
              <a:buChar char="•"/>
              <a:defRPr/>
            </a:lvl4pPr>
            <a:lvl5pPr marL="2285894" lvl="4" indent="-342884" algn="l">
              <a:lnSpc>
                <a:spcPct val="110000"/>
              </a:lnSpc>
              <a:spcBef>
                <a:spcPts val="600"/>
              </a:spcBef>
              <a:spcAft>
                <a:spcPts val="0"/>
              </a:spcAft>
              <a:buSzPts val="1800"/>
              <a:buChar char="•"/>
              <a:defRPr/>
            </a:lvl5pPr>
            <a:lvl6pPr marL="2743073" lvl="5" indent="-342884" algn="l">
              <a:lnSpc>
                <a:spcPct val="90000"/>
              </a:lnSpc>
              <a:spcBef>
                <a:spcPts val="600"/>
              </a:spcBef>
              <a:spcAft>
                <a:spcPts val="0"/>
              </a:spcAft>
              <a:buClr>
                <a:schemeClr val="dk1"/>
              </a:buClr>
              <a:buSzPts val="1800"/>
              <a:buChar char="•"/>
              <a:defRPr/>
            </a:lvl6pPr>
            <a:lvl7pPr marL="3200252" lvl="6" indent="-342884" algn="l">
              <a:lnSpc>
                <a:spcPct val="90000"/>
              </a:lnSpc>
              <a:spcBef>
                <a:spcPts val="500"/>
              </a:spcBef>
              <a:spcAft>
                <a:spcPts val="0"/>
              </a:spcAft>
              <a:buClr>
                <a:schemeClr val="dk1"/>
              </a:buClr>
              <a:buSzPts val="1800"/>
              <a:buChar char="•"/>
              <a:defRPr/>
            </a:lvl7pPr>
            <a:lvl8pPr marL="3657430" lvl="7" indent="-342884" algn="l">
              <a:lnSpc>
                <a:spcPct val="90000"/>
              </a:lnSpc>
              <a:spcBef>
                <a:spcPts val="500"/>
              </a:spcBef>
              <a:spcAft>
                <a:spcPts val="0"/>
              </a:spcAft>
              <a:buClr>
                <a:schemeClr val="dk1"/>
              </a:buClr>
              <a:buSzPts val="1800"/>
              <a:buChar char="•"/>
              <a:defRPr/>
            </a:lvl8pPr>
            <a:lvl9pPr marL="4114609" lvl="8" indent="-342884" algn="l">
              <a:lnSpc>
                <a:spcPct val="90000"/>
              </a:lnSpc>
              <a:spcBef>
                <a:spcPts val="500"/>
              </a:spcBef>
              <a:spcAft>
                <a:spcPts val="0"/>
              </a:spcAft>
              <a:buClr>
                <a:schemeClr val="dk1"/>
              </a:buClr>
              <a:buSzPts val="1800"/>
              <a:buChar char="•"/>
              <a:defRPr/>
            </a:lvl9pPr>
          </a:lstStyle>
          <a:p>
            <a:endParaRPr/>
          </a:p>
        </p:txBody>
      </p:sp>
      <p:sp>
        <p:nvSpPr>
          <p:cNvPr id="26" name="Google Shape;26;p10"/>
          <p:cNvSpPr txBox="1">
            <a:spLocks noGrp="1"/>
          </p:cNvSpPr>
          <p:nvPr>
            <p:ph type="title"/>
          </p:nvPr>
        </p:nvSpPr>
        <p:spPr>
          <a:xfrm>
            <a:off x="479999" y="367619"/>
            <a:ext cx="8160000" cy="720000"/>
          </a:xfrm>
          <a:prstGeom prst="rect">
            <a:avLst/>
          </a:prstGeom>
          <a:noFill/>
          <a:ln>
            <a:noFill/>
          </a:ln>
        </p:spPr>
        <p:txBody>
          <a:bodyPr spcFirstLastPara="1" wrap="square" lIns="18000" tIns="0" rIns="360000" bIns="0" anchor="b" anchorCtr="0">
            <a:noAutofit/>
          </a:bodyPr>
          <a:lstStyle>
            <a:lvl1pPr lvl="0" algn="l">
              <a:lnSpc>
                <a:spcPct val="90000"/>
              </a:lnSpc>
              <a:spcBef>
                <a:spcPts val="0"/>
              </a:spcBef>
              <a:spcAft>
                <a:spcPts val="0"/>
              </a:spcAft>
              <a:buClr>
                <a:srgbClr val="0092CC"/>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10"/>
          <p:cNvSpPr txBox="1">
            <a:spLocks noGrp="1"/>
          </p:cNvSpPr>
          <p:nvPr>
            <p:ph type="ftr" idx="11"/>
          </p:nvPr>
        </p:nvSpPr>
        <p:spPr>
          <a:xfrm>
            <a:off x="479999" y="6559634"/>
            <a:ext cx="3177601" cy="208579"/>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6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8" name="Google Shape;28;p10"/>
          <p:cNvSpPr txBox="1">
            <a:spLocks noGrp="1"/>
          </p:cNvSpPr>
          <p:nvPr>
            <p:ph type="sldNum" idx="12"/>
          </p:nvPr>
        </p:nvSpPr>
        <p:spPr>
          <a:xfrm>
            <a:off x="11416433" y="6588208"/>
            <a:ext cx="289931" cy="18000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698354534"/>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a:xfrm>
            <a:off x="480001"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1" y="6293652"/>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71269712"/>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469EE-858D-088A-6BD7-C590D9DAC6C4}"/>
              </a:ext>
            </a:extLst>
          </p:cNvPr>
          <p:cNvSpPr>
            <a:spLocks noGrp="1"/>
          </p:cNvSpPr>
          <p:nvPr>
            <p:ph type="title" hasCustomPrompt="1"/>
          </p:nvPr>
        </p:nvSpPr>
        <p:spPr>
          <a:xfrm>
            <a:off x="544903" y="287489"/>
            <a:ext cx="5873151" cy="583780"/>
          </a:xfrm>
          <a:prstGeom prst="rect">
            <a:avLst/>
          </a:prstGeom>
        </p:spPr>
        <p:txBody>
          <a:bodyPr/>
          <a:lstStyle>
            <a:lvl1pPr algn="l">
              <a:defRPr sz="2800" b="1">
                <a:solidFill>
                  <a:srgbClr val="0F3E72"/>
                </a:solidFill>
              </a:defRPr>
            </a:lvl1pPr>
          </a:lstStyle>
          <a:p>
            <a:r>
              <a:rPr lang="en-US"/>
              <a:t>Title</a:t>
            </a:r>
            <a:endParaRPr lang="en-GB"/>
          </a:p>
        </p:txBody>
      </p:sp>
      <p:sp>
        <p:nvSpPr>
          <p:cNvPr id="3" name="Straight Connector 2">
            <a:extLst>
              <a:ext uri="{FF2B5EF4-FFF2-40B4-BE49-F238E27FC236}">
                <a16:creationId xmlns:a16="http://schemas.microsoft.com/office/drawing/2014/main" id="{59956A71-60EB-15CA-523F-5FC8310ABA64}"/>
              </a:ext>
            </a:extLst>
          </p:cNvPr>
          <p:cNvSpPr>
            <a:spLocks noChangeShapeType="1"/>
          </p:cNvSpPr>
          <p:nvPr userDrawn="1"/>
        </p:nvSpPr>
        <p:spPr bwMode="auto">
          <a:xfrm>
            <a:off x="387408" y="1071563"/>
            <a:ext cx="11373221" cy="0"/>
          </a:xfrm>
          <a:prstGeom prst="line">
            <a:avLst/>
          </a:prstGeom>
          <a:noFill/>
          <a:ln w="57150" cmpd="thinThick" algn="ctr">
            <a:solidFill>
              <a:srgbClr val="0F3E72"/>
            </a:solidFill>
            <a:round/>
            <a:headEnd/>
            <a:tailEnd/>
          </a:ln>
        </p:spPr>
        <p:txBody>
          <a:bodyPr/>
          <a:lstStyle/>
          <a:p>
            <a:pPr>
              <a:defRPr/>
            </a:pPr>
            <a:endParaRPr lang="en-GB" sz="1800" i="0">
              <a:solidFill>
                <a:srgbClr val="000000"/>
              </a:solidFill>
              <a:latin typeface="Arial"/>
              <a:cs typeface="Arial" charset="0"/>
            </a:endParaRPr>
          </a:p>
        </p:txBody>
      </p:sp>
      <p:sp>
        <p:nvSpPr>
          <p:cNvPr id="5" name="Text Placeholder 4">
            <a:extLst>
              <a:ext uri="{FF2B5EF4-FFF2-40B4-BE49-F238E27FC236}">
                <a16:creationId xmlns:a16="http://schemas.microsoft.com/office/drawing/2014/main" id="{7645098C-F5E0-9F55-A823-A002CECB07CF}"/>
              </a:ext>
            </a:extLst>
          </p:cNvPr>
          <p:cNvSpPr>
            <a:spLocks noGrp="1"/>
          </p:cNvSpPr>
          <p:nvPr>
            <p:ph type="body" sz="quarter" idx="10"/>
          </p:nvPr>
        </p:nvSpPr>
        <p:spPr>
          <a:xfrm>
            <a:off x="544513" y="1311755"/>
            <a:ext cx="11023600" cy="49085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046649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a:prstGeom prst="rect">
            <a:avLst/>
          </a:prstGeom>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1680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type="title" preserve="1">
  <p:cSld name="10_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extLst>
              <a:ext uri="{28A0092B-C50C-407E-A947-70E740481C1C}">
                <a14:useLocalDpi xmlns:a14="http://schemas.microsoft.com/office/drawing/2010/main"/>
              </a:ext>
            </a:extLst>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263900193"/>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1" y="1825626"/>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22344" y="6395895"/>
            <a:ext cx="1091315" cy="409095"/>
          </a:xfrm>
          <a:prstGeom prst="rect">
            <a:avLst/>
          </a:prstGeom>
        </p:spPr>
      </p:pic>
    </p:spTree>
    <p:extLst>
      <p:ext uri="{BB962C8B-B14F-4D97-AF65-F5344CB8AC3E}">
        <p14:creationId xmlns:p14="http://schemas.microsoft.com/office/powerpoint/2010/main" val="3355966757"/>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title" preserve="1">
  <p:cSld name="7_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3529301030"/>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objTx" preserve="1">
  <p:cSld name="6_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6314536" y="-4314"/>
            <a:ext cx="5877464"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5414154"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7013275" y="987426"/>
            <a:ext cx="43421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5486400" cy="3952232"/>
          </a:xfrm>
        </p:spPr>
        <p:txBody>
          <a:bodyPr anchor="t" anchorCtr="0">
            <a:normAutofit/>
          </a:bodyPr>
          <a:lstStyle>
            <a:lvl1pPr marL="0" indent="0">
              <a:spcBef>
                <a:spcPts val="0"/>
              </a:spcBef>
              <a:buFontTx/>
              <a:buNone/>
              <a:defRPr sz="14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1" y="457200"/>
            <a:ext cx="5417389"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706145374"/>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picTx" preserve="1">
  <p:cSld name="1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179" indent="0">
              <a:buNone/>
              <a:defRPr sz="2800"/>
            </a:lvl2pPr>
            <a:lvl3pPr marL="914358" indent="0">
              <a:buNone/>
              <a:defRPr sz="2400"/>
            </a:lvl3pPr>
            <a:lvl4pPr marL="1371536" indent="0">
              <a:buNone/>
              <a:defRPr sz="2000"/>
            </a:lvl4pPr>
            <a:lvl5pPr marL="1828715" indent="0">
              <a:buNone/>
              <a:defRPr sz="2000"/>
            </a:lvl5pPr>
            <a:lvl6pPr marL="2285894" indent="0">
              <a:buNone/>
              <a:defRPr sz="2000"/>
            </a:lvl6pPr>
            <a:lvl7pPr marL="2743073" indent="0">
              <a:buNone/>
              <a:defRPr sz="2000"/>
            </a:lvl7pPr>
            <a:lvl8pPr marL="3200252" indent="0">
              <a:buNone/>
              <a:defRPr sz="2000"/>
            </a:lvl8pPr>
            <a:lvl9pPr marL="365743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37" indent="-285737">
              <a:spcBef>
                <a:spcPts val="1600"/>
              </a:spcBef>
              <a:buFont typeface="Arial" panose="020B0604020202020204" pitchFamily="34" charset="0"/>
              <a:buChar char="•"/>
              <a:defRPr sz="16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843" y="6395745"/>
            <a:ext cx="1446385" cy="440380"/>
          </a:xfrm>
          <a:prstGeom prst="rect">
            <a:avLst/>
          </a:prstGeom>
        </p:spPr>
      </p:pic>
    </p:spTree>
    <p:extLst>
      <p:ext uri="{BB962C8B-B14F-4D97-AF65-F5344CB8AC3E}">
        <p14:creationId xmlns:p14="http://schemas.microsoft.com/office/powerpoint/2010/main" val="3639844270"/>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Image left / Text right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a:xfrm>
            <a:off x="479999" y="1800000"/>
            <a:ext cx="5472000" cy="4237200"/>
          </a:xfrm>
          <a:solidFill>
            <a:schemeClr val="bg1">
              <a:lumMod val="85000"/>
            </a:schemeClr>
          </a:solidFill>
        </p:spPr>
        <p:txBody>
          <a:bodyPr bIns="1980000" anchor="ctr"/>
          <a:lstStyle>
            <a:lvl1pPr marL="0" marR="0" indent="0" algn="ctr" defTabSz="914358" rtl="0" eaLnBrk="1" fontAlgn="auto" latinLnBrk="0" hangingPunct="1">
              <a:lnSpc>
                <a:spcPct val="110000"/>
              </a:lnSpc>
              <a:spcBef>
                <a:spcPts val="1000"/>
              </a:spcBef>
              <a:spcAft>
                <a:spcPts val="600"/>
              </a:spcAft>
              <a:buClr>
                <a:schemeClr val="tx1"/>
              </a:buClr>
              <a:buSzPct val="80000"/>
              <a:buFontTx/>
              <a:buNone/>
              <a:tabLst/>
              <a:defRPr sz="1400" baseline="0">
                <a:solidFill>
                  <a:schemeClr val="bg1"/>
                </a:solidFill>
              </a:defRPr>
            </a:lvl1pPr>
          </a:lstStyle>
          <a:p>
            <a:pPr marL="0" marR="0" lvl="0" indent="0" algn="ctr" defTabSz="914358"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10" name="Slide Number Placeholder 9"/>
          <p:cNvSpPr>
            <a:spLocks noGrp="1"/>
          </p:cNvSpPr>
          <p:nvPr>
            <p:ph type="sldNum" sz="quarter" idx="20"/>
          </p:nvPr>
        </p:nvSpPr>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a:xfrm>
            <a:off x="480001" y="6293652"/>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3" name="Footer Placeholder 8">
            <a:extLst>
              <a:ext uri="{FF2B5EF4-FFF2-40B4-BE49-F238E27FC236}">
                <a16:creationId xmlns:a16="http://schemas.microsoft.com/office/drawing/2014/main" id="{3B89876D-139D-4250-9B30-26F3FE811770}"/>
              </a:ext>
            </a:extLst>
          </p:cNvPr>
          <p:cNvSpPr>
            <a:spLocks noGrp="1"/>
          </p:cNvSpPr>
          <p:nvPr>
            <p:ph type="ftr" sz="quarter" idx="23"/>
          </p:nvPr>
        </p:nvSpPr>
        <p:spPr>
          <a:xfrm>
            <a:off x="479999" y="6588208"/>
            <a:ext cx="3177601" cy="180000"/>
          </a:xfrm>
          <a:prstGeom prst="rect">
            <a:avLst/>
          </a:prstGeom>
        </p:spPr>
        <p:txBody>
          <a:bodyPr/>
          <a:lstStyle>
            <a:lvl1pPr>
              <a:defRPr sz="600"/>
            </a:lvl1pPr>
          </a:lstStyle>
          <a:p>
            <a:endParaRPr lang="en-GB"/>
          </a:p>
        </p:txBody>
      </p:sp>
    </p:spTree>
    <p:extLst>
      <p:ext uri="{BB962C8B-B14F-4D97-AF65-F5344CB8AC3E}">
        <p14:creationId xmlns:p14="http://schemas.microsoft.com/office/powerpoint/2010/main" val="274259878"/>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title" preserve="1">
  <p:cSld name="4_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6200173" y="6397386"/>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11354764" y="6397386"/>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749044462"/>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title" preserve="1">
  <p:cSld name="6_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extLst>
              <a:ext uri="{28A0092B-C50C-407E-A947-70E740481C1C}">
                <a14:useLocalDpi xmlns:a14="http://schemas.microsoft.com/office/drawing/2010/main"/>
              </a:ext>
            </a:extLst>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6"/>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50444509"/>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title" preserve="1">
  <p:cSld name="4_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4" y="5852984"/>
            <a:ext cx="2314637" cy="704735"/>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11354764" y="6397386"/>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571921221"/>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 preserve="1">
  <p:cSld name="5_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4"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6"/>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1882916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a:prstGeom prst="rect">
            <a:avLst/>
          </a:prstGeom>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20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4_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6"/>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158" indent="0">
              <a:buNone/>
              <a:defRPr sz="2000">
                <a:solidFill>
                  <a:srgbClr val="00205C"/>
                </a:solidFill>
              </a:defRPr>
            </a:lvl2pPr>
            <a:lvl3pPr marL="914315" indent="0">
              <a:buNone/>
              <a:defRPr sz="2000">
                <a:solidFill>
                  <a:srgbClr val="00205C"/>
                </a:solidFill>
              </a:defRPr>
            </a:lvl3pPr>
            <a:lvl4pPr marL="1371472" indent="0">
              <a:buNone/>
              <a:defRPr sz="2000">
                <a:solidFill>
                  <a:srgbClr val="00205C"/>
                </a:solidFill>
              </a:defRPr>
            </a:lvl4pPr>
            <a:lvl5pPr marL="1828630"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World Health Organization logo ">
            <a:extLst>
              <a:ext uri="{FF2B5EF4-FFF2-40B4-BE49-F238E27FC236}">
                <a16:creationId xmlns:a16="http://schemas.microsoft.com/office/drawing/2014/main" id="{0D77C92E-FD76-CA4F-9DDF-75EE90F0F37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1290577210"/>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4_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2"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a:xfrm>
            <a:off x="6200173" y="6397386"/>
            <a:ext cx="5154592" cy="324091"/>
          </a:xfrm>
          <a:prstGeom prst="rect">
            <a:avLst/>
          </a:prstGeom>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2" y="1828801"/>
            <a:ext cx="5486399"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D6B883BC-ECF6-C547-8C20-CE0694CA25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755309894"/>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4_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2" y="685800"/>
            <a:ext cx="5486399" cy="1004888"/>
          </a:xfrm>
        </p:spPr>
        <p:txBody>
          <a:bodyPr/>
          <a:lstStyle>
            <a:lvl1pPr>
              <a:defRPr>
                <a:solidFill>
                  <a:srgbClr val="00205C"/>
                </a:solidFill>
              </a:defRPr>
            </a:lvl1pPr>
          </a:lstStyle>
          <a:p>
            <a:r>
              <a:rPr lang="en-US"/>
              <a:t>Click to edit Master title style</a:t>
            </a:r>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2" y="1828801"/>
            <a:ext cx="5486399"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900D91A6-1DEF-C742-BB2B-4F0CE8BD171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3245631670"/>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4_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2"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2"/>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2"/>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2"/>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E1CFAF92-E612-AE40-ABFE-2A513B425F3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3604029445"/>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4_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2"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2"/>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2"/>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2"/>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B61AF795-8C85-814F-914D-9EBE0519A18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2989880225"/>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4_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2"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4"/>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2" y="2998280"/>
            <a:ext cx="5486399" cy="823912"/>
          </a:xfrm>
        </p:spPr>
        <p:txBody>
          <a:bodyPr anchor="b">
            <a:normAutofit/>
          </a:bodyPr>
          <a:lstStyle>
            <a:lvl1pPr marL="0" indent="0">
              <a:buNone/>
              <a:defRPr sz="1800" b="1">
                <a:solidFill>
                  <a:srgbClr val="009ADE"/>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A3318E81-63F9-2444-AF93-3EF243AFF18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6" y="6000908"/>
            <a:ext cx="1828795" cy="556811"/>
          </a:xfrm>
          <a:prstGeom prst="rect">
            <a:avLst/>
          </a:prstGeom>
        </p:spPr>
      </p:pic>
    </p:spTree>
    <p:extLst>
      <p:ext uri="{BB962C8B-B14F-4D97-AF65-F5344CB8AC3E}">
        <p14:creationId xmlns:p14="http://schemas.microsoft.com/office/powerpoint/2010/main" val="3619211933"/>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4_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2"/>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3"/>
            <a:ext cx="3657600" cy="527289"/>
          </a:xfrm>
        </p:spPr>
        <p:txBody>
          <a:bodyPr anchor="b">
            <a:normAutofit/>
          </a:bodyPr>
          <a:lstStyle>
            <a:lvl1pPr marL="0" indent="0">
              <a:buNone/>
              <a:defRPr sz="1800" b="1">
                <a:solidFill>
                  <a:srgbClr val="009ADE"/>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8"/>
            <a:ext cx="3657600" cy="527289"/>
          </a:xfrm>
        </p:spPr>
        <p:txBody>
          <a:bodyPr anchor="b">
            <a:normAutofit/>
          </a:bodyPr>
          <a:lstStyle>
            <a:lvl1pPr marL="0" indent="0">
              <a:buNone/>
              <a:defRPr sz="1800" b="1">
                <a:solidFill>
                  <a:srgbClr val="009ADE"/>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8"/>
            <a:ext cx="3657600" cy="527289"/>
          </a:xfrm>
        </p:spPr>
        <p:txBody>
          <a:bodyPr anchor="b">
            <a:normAutofit/>
          </a:bodyPr>
          <a:lstStyle>
            <a:lvl1pPr marL="0" indent="0">
              <a:buNone/>
              <a:defRPr sz="1800" b="1">
                <a:solidFill>
                  <a:srgbClr val="009ADE"/>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pic>
        <p:nvPicPr>
          <p:cNvPr id="14" name="Picture 13" descr="World Health Organization logo ">
            <a:extLst>
              <a:ext uri="{FF2B5EF4-FFF2-40B4-BE49-F238E27FC236}">
                <a16:creationId xmlns:a16="http://schemas.microsoft.com/office/drawing/2014/main" id="{60CC6A7D-F186-344A-AFAE-1F4FB8A6C3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6" y="6000908"/>
            <a:ext cx="1828795" cy="556811"/>
          </a:xfrm>
          <a:prstGeom prst="rect">
            <a:avLst/>
          </a:prstGeom>
        </p:spPr>
      </p:pic>
    </p:spTree>
    <p:extLst>
      <p:ext uri="{BB962C8B-B14F-4D97-AF65-F5344CB8AC3E}">
        <p14:creationId xmlns:p14="http://schemas.microsoft.com/office/powerpoint/2010/main" val="2601547036"/>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type="objTx" preserve="1">
  <p:cSld name="5_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158" indent="0">
              <a:buNone/>
              <a:defRPr sz="1400"/>
            </a:lvl2pPr>
            <a:lvl3pPr marL="914315" indent="0">
              <a:buNone/>
              <a:defRPr sz="1200"/>
            </a:lvl3pPr>
            <a:lvl4pPr marL="1371472" indent="0">
              <a:buNone/>
              <a:defRPr sz="1000"/>
            </a:lvl4pPr>
            <a:lvl5pPr marL="1828630" indent="0">
              <a:buNone/>
              <a:defRPr sz="1000"/>
            </a:lvl5pPr>
            <a:lvl6pPr marL="2285788" indent="0">
              <a:buNone/>
              <a:defRPr sz="1000"/>
            </a:lvl6pPr>
            <a:lvl7pPr marL="2742945" indent="0">
              <a:buNone/>
              <a:defRPr sz="1000"/>
            </a:lvl7pPr>
            <a:lvl8pPr marL="3200104" indent="0">
              <a:buNone/>
              <a:defRPr sz="1000"/>
            </a:lvl8pPr>
            <a:lvl9pPr marL="365726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1"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1879313818"/>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type="picTx" preserve="1">
  <p:cSld name="9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158" indent="0">
              <a:buNone/>
              <a:defRPr sz="2800"/>
            </a:lvl2pPr>
            <a:lvl3pPr marL="914315" indent="0">
              <a:buNone/>
              <a:defRPr sz="2400"/>
            </a:lvl3pPr>
            <a:lvl4pPr marL="1371472" indent="0">
              <a:buNone/>
              <a:defRPr sz="2000"/>
            </a:lvl4pPr>
            <a:lvl5pPr marL="1828630" indent="0">
              <a:buNone/>
              <a:defRPr sz="2000"/>
            </a:lvl5pPr>
            <a:lvl6pPr marL="2285788" indent="0">
              <a:buNone/>
              <a:defRPr sz="2000"/>
            </a:lvl6pPr>
            <a:lvl7pPr marL="2742945" indent="0">
              <a:buNone/>
              <a:defRPr sz="2000"/>
            </a:lvl7pPr>
            <a:lvl8pPr marL="3200104" indent="0">
              <a:buNone/>
              <a:defRPr sz="2000"/>
            </a:lvl8pPr>
            <a:lvl9pPr marL="365726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24" indent="-285724">
              <a:spcBef>
                <a:spcPts val="1600"/>
              </a:spcBef>
              <a:buFont typeface="Arial" panose="020B0604020202020204" pitchFamily="34" charset="0"/>
              <a:buChar char="•"/>
              <a:defRPr sz="1600">
                <a:solidFill>
                  <a:schemeClr val="tx1"/>
                </a:solidFill>
              </a:defRPr>
            </a:lvl1pPr>
            <a:lvl2pPr marL="457158" indent="0">
              <a:buNone/>
              <a:defRPr sz="1400"/>
            </a:lvl2pPr>
            <a:lvl3pPr marL="914315" indent="0">
              <a:buNone/>
              <a:defRPr sz="1200"/>
            </a:lvl3pPr>
            <a:lvl4pPr marL="1371472" indent="0">
              <a:buNone/>
              <a:defRPr sz="1000"/>
            </a:lvl4pPr>
            <a:lvl5pPr marL="1828630" indent="0">
              <a:buNone/>
              <a:defRPr sz="1000"/>
            </a:lvl5pPr>
            <a:lvl6pPr marL="2285788" indent="0">
              <a:buNone/>
              <a:defRPr sz="1000"/>
            </a:lvl6pPr>
            <a:lvl7pPr marL="2742945" indent="0">
              <a:buNone/>
              <a:defRPr sz="1000"/>
            </a:lvl7pPr>
            <a:lvl8pPr marL="3200104" indent="0">
              <a:buNone/>
              <a:defRPr sz="1000"/>
            </a:lvl8pPr>
            <a:lvl9pPr marL="365726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42992776-3670-F24B-B4C8-03460D5C00E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2419019056"/>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8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158" indent="0">
              <a:buNone/>
              <a:defRPr sz="1400"/>
            </a:lvl2pPr>
            <a:lvl3pPr marL="914315" indent="0">
              <a:buNone/>
              <a:defRPr sz="1200"/>
            </a:lvl3pPr>
            <a:lvl4pPr marL="1371472" indent="0">
              <a:buNone/>
              <a:defRPr sz="1000"/>
            </a:lvl4pPr>
            <a:lvl5pPr marL="1828630" indent="0">
              <a:buNone/>
              <a:defRPr sz="1000"/>
            </a:lvl5pPr>
            <a:lvl6pPr marL="2285788" indent="0">
              <a:buNone/>
              <a:defRPr sz="1000"/>
            </a:lvl6pPr>
            <a:lvl7pPr marL="2742945" indent="0">
              <a:buNone/>
              <a:defRPr sz="1000"/>
            </a:lvl7pPr>
            <a:lvl8pPr marL="3200104" indent="0">
              <a:buNone/>
              <a:defRPr sz="1000"/>
            </a:lvl8pPr>
            <a:lvl9pPr marL="365726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1484C8C0-9FE5-7B48-A8C7-062291516AD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26483206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a:xfrm>
            <a:off x="577638" y="6482886"/>
            <a:ext cx="7575715" cy="111982"/>
          </a:xfrm>
          <a:prstGeom prst="rect">
            <a:avLst/>
          </a:prstGeom>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481270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0.xml><?xml version="1.0" encoding="utf-8"?>
<p:sldLayout xmlns:a="http://schemas.openxmlformats.org/drawingml/2006/main" xmlns:r="http://schemas.openxmlformats.org/officeDocument/2006/relationships" xmlns:p="http://schemas.openxmlformats.org/presentationml/2006/main" type="title" preserve="1">
  <p:cSld name="4_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1"/>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1526194976"/>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30_Section Header_photo">
    <p:bg>
      <p:bgPr>
        <a:solidFill>
          <a:srgbClr val="00205C"/>
        </a:solidFill>
        <a:effectLst/>
      </p:bgPr>
    </p:bg>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175393D5-558B-28D2-0F78-64E897CC0FF1}"/>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0" y="18732"/>
            <a:ext cx="12192000" cy="6839268"/>
          </a:xfrm>
          <a:prstGeom prst="rect">
            <a:avLst/>
          </a:prstGeom>
          <a:noFill/>
          <a:scene3d>
            <a:camera prst="orthographicFront">
              <a:rot lat="0" lon="10800000" rev="0"/>
            </a:camera>
            <a:lightRig rig="threePt" dir="t"/>
          </a:scene3d>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9460"/>
          </a:xfrm>
          <a:solidFill>
            <a:srgbClr val="C9DDF3">
              <a:alpha val="80000"/>
            </a:srgbClr>
          </a:solidFill>
        </p:spPr>
        <p:txBody>
          <a:bodyPr lIns="144000" anchor="t" anchorCtr="0">
            <a:spAutoFit/>
          </a:bodyPr>
          <a:lstStyle>
            <a:lvl1pPr>
              <a:defRPr sz="6000">
                <a:solidFill>
                  <a:schemeClr val="tx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9F263B6D-8996-474F-BAA8-575C05E6660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11" name="Google Shape;526;p1">
            <a:extLst>
              <a:ext uri="{FF2B5EF4-FFF2-40B4-BE49-F238E27FC236}">
                <a16:creationId xmlns:a16="http://schemas.microsoft.com/office/drawing/2014/main" id="{B3FD0AFD-5375-996E-1031-923EEBE49096}"/>
              </a:ext>
            </a:extLst>
          </p:cNvPr>
          <p:cNvSpPr txBox="1"/>
          <p:nvPr userDrawn="1"/>
        </p:nvSpPr>
        <p:spPr>
          <a:xfrm>
            <a:off x="9822085" y="6596850"/>
            <a:ext cx="1532681" cy="242418"/>
          </a:xfrm>
          <a:prstGeom prst="rect">
            <a:avLst/>
          </a:prstGeom>
          <a:noFill/>
          <a:ln>
            <a:noFill/>
          </a:ln>
        </p:spPr>
        <p:txBody>
          <a:bodyPr spcFirstLastPara="1" wrap="square" lIns="0" tIns="0" rIns="17998" bIns="0" anchor="t" anchorCtr="0">
            <a:noAutofit/>
          </a:bodyPr>
          <a:lstStyle/>
          <a:p>
            <a:pPr marL="0" marR="0" lvl="0" indent="0" algn="r" defTabSz="914315"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1824966251"/>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type="title" preserve="1">
  <p:cSld name="3_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6200173" y="6397386"/>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11354764" y="6397386"/>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315726154"/>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title" preserve="1">
  <p:cSld name="1_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6"/>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210699438"/>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title" preserve="1">
  <p:cSld name="1_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5852984"/>
            <a:ext cx="2314637" cy="704735"/>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11354764" y="6397386"/>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151734097"/>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title" preserve="1">
  <p:cSld name="4_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6"/>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216039728"/>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3_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2" y="1846372"/>
            <a:ext cx="9700351" cy="2743200"/>
          </a:xfrm>
        </p:spPr>
        <p:txBody>
          <a:bodyPr anchor="t" anchorCtr="0">
            <a:normAutofit/>
          </a:bodyPr>
          <a:lstStyle>
            <a:lvl1pPr marL="228578" indent="-228578">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6"/>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2" y="4734774"/>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158"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8"/>
            <a:ext cx="1828795" cy="556811"/>
          </a:xfrm>
          <a:prstGeom prst="rect">
            <a:avLst/>
          </a:prstGeom>
        </p:spPr>
      </p:pic>
    </p:spTree>
    <p:extLst>
      <p:ext uri="{BB962C8B-B14F-4D97-AF65-F5344CB8AC3E}">
        <p14:creationId xmlns:p14="http://schemas.microsoft.com/office/powerpoint/2010/main" val="2212866255"/>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3_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2"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6"/>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2" y="1574802"/>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158"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8"/>
            <a:ext cx="1828795" cy="556811"/>
          </a:xfrm>
          <a:prstGeom prst="rect">
            <a:avLst/>
          </a:prstGeom>
        </p:spPr>
      </p:pic>
    </p:spTree>
    <p:extLst>
      <p:ext uri="{BB962C8B-B14F-4D97-AF65-F5344CB8AC3E}">
        <p14:creationId xmlns:p14="http://schemas.microsoft.com/office/powerpoint/2010/main" val="4286175978"/>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3_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6"/>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3"/>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158"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8"/>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2" y="1551945"/>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sz="1400">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3"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158"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447959665"/>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3_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6"/>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158" indent="0">
              <a:buNone/>
              <a:defRPr sz="2000">
                <a:solidFill>
                  <a:srgbClr val="00205C"/>
                </a:solidFill>
              </a:defRPr>
            </a:lvl2pPr>
            <a:lvl3pPr marL="914315" indent="0">
              <a:buNone/>
              <a:defRPr sz="2000">
                <a:solidFill>
                  <a:srgbClr val="00205C"/>
                </a:solidFill>
              </a:defRPr>
            </a:lvl3pPr>
            <a:lvl4pPr marL="1371472" indent="0">
              <a:buNone/>
              <a:defRPr sz="2000">
                <a:solidFill>
                  <a:srgbClr val="00205C"/>
                </a:solidFill>
              </a:defRPr>
            </a:lvl4pPr>
            <a:lvl5pPr marL="1828630"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World Health Organization logo ">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395063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2478328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3_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2"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a:xfrm>
            <a:off x="6200173" y="6397386"/>
            <a:ext cx="5154592" cy="324091"/>
          </a:xfrm>
          <a:prstGeom prst="rect">
            <a:avLst/>
          </a:prstGeom>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2" y="1828801"/>
            <a:ext cx="5486399"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865474797"/>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3_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2" y="685800"/>
            <a:ext cx="5486399" cy="1004888"/>
          </a:xfrm>
        </p:spPr>
        <p:txBody>
          <a:bodyPr/>
          <a:lstStyle>
            <a:lvl1pPr>
              <a:defRPr>
                <a:solidFill>
                  <a:srgbClr val="00205C"/>
                </a:solidFill>
              </a:defRPr>
            </a:lvl1pPr>
          </a:lstStyle>
          <a:p>
            <a:r>
              <a:rPr lang="en-US"/>
              <a:t>Click to edit Master title style</a:t>
            </a:r>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2" y="1828801"/>
            <a:ext cx="5486399"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1033725468"/>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3_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2"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2"/>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2"/>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2"/>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2583418481"/>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3_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2"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2"/>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2"/>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2"/>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823632317"/>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3_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2"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4"/>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2" y="2998280"/>
            <a:ext cx="5486399" cy="823912"/>
          </a:xfrm>
        </p:spPr>
        <p:txBody>
          <a:bodyPr anchor="b">
            <a:normAutofit/>
          </a:bodyPr>
          <a:lstStyle>
            <a:lvl1pPr marL="0" indent="0">
              <a:buNone/>
              <a:defRPr sz="1800" b="1">
                <a:solidFill>
                  <a:srgbClr val="009ADE"/>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8"/>
            <a:ext cx="1828795" cy="556811"/>
          </a:xfrm>
          <a:prstGeom prst="rect">
            <a:avLst/>
          </a:prstGeom>
        </p:spPr>
      </p:pic>
    </p:spTree>
    <p:extLst>
      <p:ext uri="{BB962C8B-B14F-4D97-AF65-F5344CB8AC3E}">
        <p14:creationId xmlns:p14="http://schemas.microsoft.com/office/powerpoint/2010/main" val="1922781017"/>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3_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2"/>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3"/>
            <a:ext cx="3657600" cy="527289"/>
          </a:xfrm>
        </p:spPr>
        <p:txBody>
          <a:bodyPr anchor="b">
            <a:normAutofit/>
          </a:bodyPr>
          <a:lstStyle>
            <a:lvl1pPr marL="0" indent="0">
              <a:buNone/>
              <a:defRPr sz="1800" b="1">
                <a:solidFill>
                  <a:srgbClr val="009ADE"/>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8"/>
            <a:ext cx="3657600" cy="527289"/>
          </a:xfrm>
        </p:spPr>
        <p:txBody>
          <a:bodyPr anchor="b">
            <a:normAutofit/>
          </a:bodyPr>
          <a:lstStyle>
            <a:lvl1pPr marL="0" indent="0">
              <a:buNone/>
              <a:defRPr sz="1800" b="1">
                <a:solidFill>
                  <a:srgbClr val="009ADE"/>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8"/>
            <a:ext cx="3657600" cy="527289"/>
          </a:xfrm>
        </p:spPr>
        <p:txBody>
          <a:bodyPr anchor="b">
            <a:normAutofit/>
          </a:bodyPr>
          <a:lstStyle>
            <a:lvl1pPr marL="0" indent="0">
              <a:buNone/>
              <a:defRPr sz="1800" b="1">
                <a:solidFill>
                  <a:srgbClr val="009ADE"/>
                </a:solidFill>
              </a:defRPr>
            </a:lvl1pPr>
            <a:lvl2pPr marL="457158" indent="0">
              <a:buNone/>
              <a:defRPr sz="2000" b="1"/>
            </a:lvl2pPr>
            <a:lvl3pPr marL="914315" indent="0">
              <a:buNone/>
              <a:defRPr sz="1800" b="1"/>
            </a:lvl3pPr>
            <a:lvl4pPr marL="1371472" indent="0">
              <a:buNone/>
              <a:defRPr sz="1600" b="1"/>
            </a:lvl4pPr>
            <a:lvl5pPr marL="1828630" indent="0">
              <a:buNone/>
              <a:defRPr sz="1600" b="1"/>
            </a:lvl5pPr>
            <a:lvl6pPr marL="2285788" indent="0">
              <a:buNone/>
              <a:defRPr sz="1600" b="1"/>
            </a:lvl6pPr>
            <a:lvl7pPr marL="2742945" indent="0">
              <a:buNone/>
              <a:defRPr sz="1600" b="1"/>
            </a:lvl7pPr>
            <a:lvl8pPr marL="3200104" indent="0">
              <a:buNone/>
              <a:defRPr sz="1600" b="1"/>
            </a:lvl8pPr>
            <a:lvl9pPr marL="3657260" indent="0">
              <a:buNone/>
              <a:defRPr sz="1600" b="1"/>
            </a:lvl9pPr>
          </a:lstStyle>
          <a:p>
            <a:pPr lvl="0"/>
            <a:r>
              <a:rPr lang="en-US"/>
              <a:t>Click to edit Master text styles</a:t>
            </a:r>
          </a:p>
        </p:txBody>
      </p:sp>
      <p:pic>
        <p:nvPicPr>
          <p:cNvPr id="14" name="Picture 13" descr="World Health Organization logo ">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8"/>
            <a:ext cx="1828795" cy="556811"/>
          </a:xfrm>
          <a:prstGeom prst="rect">
            <a:avLst/>
          </a:prstGeom>
        </p:spPr>
      </p:pic>
    </p:spTree>
    <p:extLst>
      <p:ext uri="{BB962C8B-B14F-4D97-AF65-F5344CB8AC3E}">
        <p14:creationId xmlns:p14="http://schemas.microsoft.com/office/powerpoint/2010/main" val="2931716638"/>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type="objTx" preserve="1">
  <p:cSld name="4_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158" indent="0">
              <a:buNone/>
              <a:defRPr sz="1400"/>
            </a:lvl2pPr>
            <a:lvl3pPr marL="914315" indent="0">
              <a:buNone/>
              <a:defRPr sz="1200"/>
            </a:lvl3pPr>
            <a:lvl4pPr marL="1371472" indent="0">
              <a:buNone/>
              <a:defRPr sz="1000"/>
            </a:lvl4pPr>
            <a:lvl5pPr marL="1828630" indent="0">
              <a:buNone/>
              <a:defRPr sz="1000"/>
            </a:lvl5pPr>
            <a:lvl6pPr marL="2285788" indent="0">
              <a:buNone/>
              <a:defRPr sz="1000"/>
            </a:lvl6pPr>
            <a:lvl7pPr marL="2742945" indent="0">
              <a:buNone/>
              <a:defRPr sz="1000"/>
            </a:lvl7pPr>
            <a:lvl8pPr marL="3200104" indent="0">
              <a:buNone/>
              <a:defRPr sz="1000"/>
            </a:lvl8pPr>
            <a:lvl9pPr marL="365726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1"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2950903266"/>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type="objTx" preserve="1">
  <p:cSld name="3_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6314536" y="-4314"/>
            <a:ext cx="5877464"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5414154"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7013275" y="987427"/>
            <a:ext cx="43421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5486400" cy="3952232"/>
          </a:xfrm>
        </p:spPr>
        <p:txBody>
          <a:bodyPr anchor="t" anchorCtr="0">
            <a:normAutofit/>
          </a:bodyPr>
          <a:lstStyle>
            <a:lvl1pPr marL="0" indent="0">
              <a:spcBef>
                <a:spcPts val="0"/>
              </a:spcBef>
              <a:buFontTx/>
              <a:buNone/>
              <a:defRPr sz="1400"/>
            </a:lvl1pPr>
            <a:lvl2pPr marL="457158" indent="0">
              <a:buNone/>
              <a:defRPr sz="1400"/>
            </a:lvl2pPr>
            <a:lvl3pPr marL="914315" indent="0">
              <a:buNone/>
              <a:defRPr sz="1200"/>
            </a:lvl3pPr>
            <a:lvl4pPr marL="1371472" indent="0">
              <a:buNone/>
              <a:defRPr sz="1000"/>
            </a:lvl4pPr>
            <a:lvl5pPr marL="1828630" indent="0">
              <a:buNone/>
              <a:defRPr sz="1000"/>
            </a:lvl5pPr>
            <a:lvl6pPr marL="2285788" indent="0">
              <a:buNone/>
              <a:defRPr sz="1000"/>
            </a:lvl6pPr>
            <a:lvl7pPr marL="2742945" indent="0">
              <a:buNone/>
              <a:defRPr sz="1000"/>
            </a:lvl7pPr>
            <a:lvl8pPr marL="3200104" indent="0">
              <a:buNone/>
              <a:defRPr sz="1000"/>
            </a:lvl8pPr>
            <a:lvl9pPr marL="365726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2" y="457200"/>
            <a:ext cx="5417389"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292807682"/>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type="picTx" preserve="1">
  <p:cSld name="7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158" indent="0">
              <a:buNone/>
              <a:defRPr sz="2800"/>
            </a:lvl2pPr>
            <a:lvl3pPr marL="914315" indent="0">
              <a:buNone/>
              <a:defRPr sz="2400"/>
            </a:lvl3pPr>
            <a:lvl4pPr marL="1371472" indent="0">
              <a:buNone/>
              <a:defRPr sz="2000"/>
            </a:lvl4pPr>
            <a:lvl5pPr marL="1828630" indent="0">
              <a:buNone/>
              <a:defRPr sz="2000"/>
            </a:lvl5pPr>
            <a:lvl6pPr marL="2285788" indent="0">
              <a:buNone/>
              <a:defRPr sz="2000"/>
            </a:lvl6pPr>
            <a:lvl7pPr marL="2742945" indent="0">
              <a:buNone/>
              <a:defRPr sz="2000"/>
            </a:lvl7pPr>
            <a:lvl8pPr marL="3200104" indent="0">
              <a:buNone/>
              <a:defRPr sz="2000"/>
            </a:lvl8pPr>
            <a:lvl9pPr marL="365726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24" indent="-285724">
              <a:spcBef>
                <a:spcPts val="1600"/>
              </a:spcBef>
              <a:buFont typeface="Arial" panose="020B0604020202020204" pitchFamily="34" charset="0"/>
              <a:buChar char="•"/>
              <a:defRPr sz="1600">
                <a:solidFill>
                  <a:schemeClr val="tx1"/>
                </a:solidFill>
              </a:defRPr>
            </a:lvl1pPr>
            <a:lvl2pPr marL="457158" indent="0">
              <a:buNone/>
              <a:defRPr sz="1400"/>
            </a:lvl2pPr>
            <a:lvl3pPr marL="914315" indent="0">
              <a:buNone/>
              <a:defRPr sz="1200"/>
            </a:lvl3pPr>
            <a:lvl4pPr marL="1371472" indent="0">
              <a:buNone/>
              <a:defRPr sz="1000"/>
            </a:lvl4pPr>
            <a:lvl5pPr marL="1828630" indent="0">
              <a:buNone/>
              <a:defRPr sz="1000"/>
            </a:lvl5pPr>
            <a:lvl6pPr marL="2285788" indent="0">
              <a:buNone/>
              <a:defRPr sz="1000"/>
            </a:lvl6pPr>
            <a:lvl7pPr marL="2742945" indent="0">
              <a:buNone/>
              <a:defRPr sz="1000"/>
            </a:lvl7pPr>
            <a:lvl8pPr marL="3200104" indent="0">
              <a:buNone/>
              <a:defRPr sz="1000"/>
            </a:lvl8pPr>
            <a:lvl9pPr marL="365726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4242624022"/>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6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158" indent="0">
              <a:buNone/>
              <a:defRPr sz="1400"/>
            </a:lvl2pPr>
            <a:lvl3pPr marL="914315" indent="0">
              <a:buNone/>
              <a:defRPr sz="1200"/>
            </a:lvl3pPr>
            <a:lvl4pPr marL="1371472" indent="0">
              <a:buNone/>
              <a:defRPr sz="1000"/>
            </a:lvl4pPr>
            <a:lvl5pPr marL="1828630" indent="0">
              <a:buNone/>
              <a:defRPr sz="1000"/>
            </a:lvl5pPr>
            <a:lvl6pPr marL="2285788" indent="0">
              <a:buNone/>
              <a:defRPr sz="1000"/>
            </a:lvl6pPr>
            <a:lvl7pPr marL="2742945" indent="0">
              <a:buNone/>
              <a:defRPr sz="1000"/>
            </a:lvl7pPr>
            <a:lvl8pPr marL="3200104" indent="0">
              <a:buNone/>
              <a:defRPr sz="1000"/>
            </a:lvl8pPr>
            <a:lvl9pPr marL="365726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6" y="6000906"/>
            <a:ext cx="1828795" cy="556812"/>
          </a:xfrm>
          <a:prstGeom prst="rect">
            <a:avLst/>
          </a:prstGeom>
        </p:spPr>
      </p:pic>
    </p:spTree>
    <p:extLst>
      <p:ext uri="{BB962C8B-B14F-4D97-AF65-F5344CB8AC3E}">
        <p14:creationId xmlns:p14="http://schemas.microsoft.com/office/powerpoint/2010/main" val="14299440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2439555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a:prstGeom prst="rect">
            <a:avLst/>
          </a:prstGeom>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255045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00.xml><?xml version="1.0" encoding="utf-8"?>
<p:sldLayout xmlns:a="http://schemas.openxmlformats.org/drawingml/2006/main" xmlns:r="http://schemas.openxmlformats.org/officeDocument/2006/relationships" xmlns:p="http://schemas.openxmlformats.org/presentationml/2006/main" type="title" preserve="1">
  <p:cSld name="3_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1"/>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3764567802"/>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1_Image left / Text right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a:xfrm>
            <a:off x="479999" y="1800000"/>
            <a:ext cx="5472000" cy="4237200"/>
          </a:xfrm>
          <a:solidFill>
            <a:schemeClr val="bg1">
              <a:lumMod val="85000"/>
            </a:schemeClr>
          </a:solidFill>
        </p:spPr>
        <p:txBody>
          <a:bodyPr bIns="1980000" anchor="ctr"/>
          <a:lstStyle>
            <a:lvl1pPr marL="0" marR="0" indent="0" algn="ctr" defTabSz="914315" rtl="0" eaLnBrk="1" fontAlgn="auto" latinLnBrk="0" hangingPunct="1">
              <a:lnSpc>
                <a:spcPct val="110000"/>
              </a:lnSpc>
              <a:spcBef>
                <a:spcPts val="1000"/>
              </a:spcBef>
              <a:spcAft>
                <a:spcPts val="600"/>
              </a:spcAft>
              <a:buClr>
                <a:schemeClr val="tx1"/>
              </a:buClr>
              <a:buSzPct val="80000"/>
              <a:buFontTx/>
              <a:buNone/>
              <a:tabLst/>
              <a:defRPr sz="1400" baseline="0">
                <a:solidFill>
                  <a:schemeClr val="bg1"/>
                </a:solidFill>
              </a:defRPr>
            </a:lvl1pPr>
          </a:lstStyle>
          <a:p>
            <a:pPr marL="0" marR="0" lvl="0" indent="0" algn="ctr" defTabSz="914315"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10" name="Slide Number Placeholder 9"/>
          <p:cNvSpPr>
            <a:spLocks noGrp="1"/>
          </p:cNvSpPr>
          <p:nvPr>
            <p:ph type="sldNum" sz="quarter" idx="20"/>
          </p:nvPr>
        </p:nvSpPr>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a:xfrm>
            <a:off x="480002" y="6293652"/>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480485" y="118800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3" name="Footer Placeholder 8">
            <a:extLst>
              <a:ext uri="{FF2B5EF4-FFF2-40B4-BE49-F238E27FC236}">
                <a16:creationId xmlns:a16="http://schemas.microsoft.com/office/drawing/2014/main" id="{3B89876D-139D-4250-9B30-26F3FE811770}"/>
              </a:ext>
            </a:extLst>
          </p:cNvPr>
          <p:cNvSpPr>
            <a:spLocks noGrp="1"/>
          </p:cNvSpPr>
          <p:nvPr>
            <p:ph type="ftr" sz="quarter" idx="23"/>
          </p:nvPr>
        </p:nvSpPr>
        <p:spPr>
          <a:xfrm>
            <a:off x="479999" y="6588208"/>
            <a:ext cx="3177601" cy="180000"/>
          </a:xfrm>
          <a:prstGeom prst="rect">
            <a:avLst/>
          </a:prstGeom>
        </p:spPr>
        <p:txBody>
          <a:bodyPr/>
          <a:lstStyle>
            <a:lvl1pPr>
              <a:defRPr sz="600"/>
            </a:lvl1pPr>
          </a:lstStyle>
          <a:p>
            <a:endParaRPr lang="en-GB"/>
          </a:p>
        </p:txBody>
      </p:sp>
    </p:spTree>
    <p:extLst>
      <p:ext uri="{BB962C8B-B14F-4D97-AF65-F5344CB8AC3E}">
        <p14:creationId xmlns:p14="http://schemas.microsoft.com/office/powerpoint/2010/main" val="2243135974"/>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29_Section Header_photo">
    <p:bg>
      <p:bgPr>
        <a:solidFill>
          <a:srgbClr val="00205C"/>
        </a:solidFill>
        <a:effectLst/>
      </p:bgPr>
    </p:bg>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A8DE7688-6F3A-DE09-02B0-793F7FAC743E}"/>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 y="0"/>
            <a:ext cx="12192000" cy="6858000"/>
          </a:xfrm>
          <a:prstGeom prst="rect">
            <a:avLst/>
          </a:prstGeom>
          <a:noFill/>
          <a:scene3d>
            <a:camera prst="orthographicFront">
              <a:rot lat="0" lon="10800000" rev="0"/>
            </a:camera>
            <a:lightRig rig="threePt" dir="t"/>
          </a:scene3d>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7" name="Google Shape;526;p1">
            <a:extLst>
              <a:ext uri="{FF2B5EF4-FFF2-40B4-BE49-F238E27FC236}">
                <a16:creationId xmlns:a16="http://schemas.microsoft.com/office/drawing/2014/main" id="{3461D3A8-9710-2428-FC52-04367891711E}"/>
              </a:ext>
            </a:extLst>
          </p:cNvPr>
          <p:cNvSpPr txBox="1"/>
          <p:nvPr userDrawn="1"/>
        </p:nvSpPr>
        <p:spPr>
          <a:xfrm>
            <a:off x="9822085" y="6596850"/>
            <a:ext cx="1532681" cy="242418"/>
          </a:xfrm>
          <a:prstGeom prst="rect">
            <a:avLst/>
          </a:prstGeom>
          <a:noFill/>
          <a:ln>
            <a:noFill/>
          </a:ln>
        </p:spPr>
        <p:txBody>
          <a:bodyPr spcFirstLastPara="1" wrap="square" lIns="0" tIns="0" rIns="17998" bIns="0" anchor="t" anchorCtr="0">
            <a:noAutofit/>
          </a:bodyPr>
          <a:lstStyle/>
          <a:p>
            <a:pPr marL="0" marR="0" lvl="0" indent="0" algn="r" defTabSz="914315"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2116989393"/>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type="title" preserve="1">
  <p:cSld name="3_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6"/>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813080085"/>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type="title" preserve="1">
  <p:cSld name="4_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extLst>
              <a:ext uri="{28A0092B-C50C-407E-A947-70E740481C1C}">
                <a14:useLocalDpi xmlns:a14="http://schemas.microsoft.com/office/drawing/2010/main"/>
              </a:ext>
            </a:extLst>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6"/>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37556027"/>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4_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6"/>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5852984"/>
            <a:ext cx="2314637" cy="704735"/>
          </a:xfrm>
          <a:prstGeom prst="rect">
            <a:avLst/>
          </a:prstGeom>
        </p:spPr>
      </p:pic>
      <p:sp>
        <p:nvSpPr>
          <p:cNvPr id="4" name="Google Shape;526;p1">
            <a:extLst>
              <a:ext uri="{FF2B5EF4-FFF2-40B4-BE49-F238E27FC236}">
                <a16:creationId xmlns:a16="http://schemas.microsoft.com/office/drawing/2014/main" id="{7F09F528-5DF1-B779-F8D2-802189028C46}"/>
              </a:ext>
            </a:extLst>
          </p:cNvPr>
          <p:cNvSpPr txBox="1"/>
          <p:nvPr userDrawn="1"/>
        </p:nvSpPr>
        <p:spPr>
          <a:xfrm>
            <a:off x="10016263" y="6557719"/>
            <a:ext cx="1338501" cy="160340"/>
          </a:xfrm>
          <a:prstGeom prst="rect">
            <a:avLst/>
          </a:prstGeom>
          <a:noFill/>
          <a:ln>
            <a:noFill/>
          </a:ln>
        </p:spPr>
        <p:txBody>
          <a:bodyPr spcFirstLastPara="1" wrap="square" lIns="0" tIns="0" rIns="17998" bIns="0" anchor="ctr" anchorCtr="0">
            <a:noAutofit/>
          </a:bodyPr>
          <a:lstStyle/>
          <a:p>
            <a:pPr marL="0" marR="0" lvl="0" indent="0" algn="r" defTabSz="914315"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1322336718"/>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4_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6"/>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3" name="Google Shape;526;p1">
            <a:extLst>
              <a:ext uri="{FF2B5EF4-FFF2-40B4-BE49-F238E27FC236}">
                <a16:creationId xmlns:a16="http://schemas.microsoft.com/office/drawing/2014/main" id="{5F2CA40D-CBCA-9B53-5362-5D330F0123CD}"/>
              </a:ext>
            </a:extLst>
          </p:cNvPr>
          <p:cNvSpPr txBox="1"/>
          <p:nvPr userDrawn="1"/>
        </p:nvSpPr>
        <p:spPr>
          <a:xfrm>
            <a:off x="10016263" y="6135687"/>
            <a:ext cx="1338501" cy="250342"/>
          </a:xfrm>
          <a:prstGeom prst="rect">
            <a:avLst/>
          </a:prstGeom>
          <a:noFill/>
          <a:ln>
            <a:noFill/>
          </a:ln>
        </p:spPr>
        <p:txBody>
          <a:bodyPr spcFirstLastPara="1" wrap="square" lIns="0" tIns="0" rIns="17998" bIns="0" anchor="t" anchorCtr="0">
            <a:noAutofit/>
          </a:bodyPr>
          <a:lstStyle/>
          <a:p>
            <a:pPr marL="0" marR="0" lvl="0" indent="0" algn="r" defTabSz="914315"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588794291"/>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showMasterSp="0" userDrawn="1">
  <p:cSld name="1_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5"/>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158" indent="0" algn="ctr">
              <a:buNone/>
              <a:defRPr sz="2000"/>
            </a:lvl2pPr>
            <a:lvl3pPr marL="914315" indent="0" algn="ctr">
              <a:buNone/>
              <a:defRPr sz="1800"/>
            </a:lvl3pPr>
            <a:lvl4pPr marL="1371472" indent="0" algn="ctr">
              <a:buNone/>
              <a:defRPr sz="1600"/>
            </a:lvl4pPr>
            <a:lvl5pPr marL="1828630" indent="0" algn="ctr">
              <a:buNone/>
              <a:defRPr sz="1600"/>
            </a:lvl5pPr>
            <a:lvl6pPr marL="2285788" indent="0" algn="ctr">
              <a:buNone/>
              <a:defRPr sz="1600"/>
            </a:lvl6pPr>
            <a:lvl7pPr marL="2742945" indent="0" algn="ctr">
              <a:buNone/>
              <a:defRPr sz="1600"/>
            </a:lvl7pPr>
            <a:lvl8pPr marL="3200104" indent="0" algn="ctr">
              <a:buNone/>
              <a:defRPr sz="1600"/>
            </a:lvl8pPr>
            <a:lvl9pPr marL="365726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5"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80000"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1"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730821463"/>
      </p:ext>
    </p:extLst>
  </p:cSld>
  <p:clrMapOvr>
    <a:overrideClrMapping bg1="lt1" tx1="dk1" bg2="lt2" tx2="dk2" accent1="accent1" accent2="accent2" accent3="accent3" accent4="accent4" accent5="accent5" accent6="accent6" hlink="hlink" folHlink="folHlink"/>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showMasterSp="0" matchingName="Title slide white">
  <p:cSld name="1_Title slide white">
    <p:spTree>
      <p:nvGrpSpPr>
        <p:cNvPr id="1" name="Shape 14"/>
        <p:cNvGrpSpPr/>
        <p:nvPr/>
      </p:nvGrpSpPr>
      <p:grpSpPr>
        <a:xfrm>
          <a:off x="0" y="0"/>
          <a:ext cx="0" cy="0"/>
          <a:chOff x="0" y="0"/>
          <a:chExt cx="0" cy="0"/>
        </a:xfrm>
      </p:grpSpPr>
      <p:sp>
        <p:nvSpPr>
          <p:cNvPr id="15" name="Google Shape;15;p9"/>
          <p:cNvSpPr>
            <a:spLocks noGrp="1"/>
          </p:cNvSpPr>
          <p:nvPr>
            <p:ph type="pic" idx="2"/>
          </p:nvPr>
        </p:nvSpPr>
        <p:spPr>
          <a:xfrm>
            <a:off x="0" y="0"/>
            <a:ext cx="12192000" cy="6858000"/>
          </a:xfrm>
          <a:prstGeom prst="rect">
            <a:avLst/>
          </a:prstGeom>
          <a:solidFill>
            <a:schemeClr val="lt1"/>
          </a:solidFill>
          <a:ln>
            <a:noFill/>
          </a:ln>
        </p:spPr>
        <p:txBody>
          <a:bodyPr spcFirstLastPara="1" wrap="square" lIns="18000" tIns="0" rIns="18000" bIns="1224000" anchor="ctr" anchorCtr="0">
            <a:normAutofit/>
          </a:bodyPr>
          <a:lstStyle>
            <a:lvl1pPr marR="0" lvl="0" algn="ctr" rtl="0">
              <a:lnSpc>
                <a:spcPct val="110000"/>
              </a:lnSpc>
              <a:spcBef>
                <a:spcPts val="1000"/>
              </a:spcBef>
              <a:spcAft>
                <a:spcPts val="0"/>
              </a:spcAft>
              <a:buClr>
                <a:schemeClr val="dk1"/>
              </a:buClr>
              <a:buSzPts val="1120"/>
              <a:buFont typeface="Arial"/>
              <a:buNone/>
              <a:defRPr sz="1400" b="0" i="0" u="none" strike="noStrike" cap="none">
                <a:solidFill>
                  <a:schemeClr val="accent6"/>
                </a:solidFill>
                <a:latin typeface="Arial"/>
                <a:ea typeface="Arial"/>
                <a:cs typeface="Arial"/>
                <a:sym typeface="Arial"/>
              </a:defRPr>
            </a:lvl1pPr>
            <a:lvl2pPr marR="0" lvl="1"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3pPr>
            <a:lvl4pPr marR="0" lvl="3"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R="0" lvl="4"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R="0" lvl="5"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6" name="Google Shape;16;p9"/>
          <p:cNvSpPr txBox="1">
            <a:spLocks noGrp="1"/>
          </p:cNvSpPr>
          <p:nvPr>
            <p:ph type="ctrTitle"/>
          </p:nvPr>
        </p:nvSpPr>
        <p:spPr>
          <a:xfrm>
            <a:off x="0" y="485184"/>
            <a:ext cx="7344000" cy="1119158"/>
          </a:xfrm>
          <a:prstGeom prst="rect">
            <a:avLst/>
          </a:prstGeom>
          <a:noFill/>
          <a:ln>
            <a:noFill/>
          </a:ln>
        </p:spPr>
        <p:txBody>
          <a:bodyPr spcFirstLastPara="1" wrap="square" lIns="360000" tIns="72000" rIns="450000" bIns="180000" anchor="t" anchorCtr="0">
            <a:noAutofit/>
          </a:bodyPr>
          <a:lstStyle>
            <a:lvl1pPr lvl="0" algn="l">
              <a:lnSpc>
                <a:spcPct val="85000"/>
              </a:lnSpc>
              <a:spcBef>
                <a:spcPts val="0"/>
              </a:spcBef>
              <a:spcAft>
                <a:spcPts val="0"/>
              </a:spcAft>
              <a:buClr>
                <a:srgbClr val="0092CC"/>
              </a:buClr>
              <a:buSzPts val="4200"/>
              <a:buFont typeface="Arial"/>
              <a:buNone/>
              <a:defRPr sz="4200">
                <a:solidFill>
                  <a:srgbClr val="0092CC"/>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9"/>
          <p:cNvSpPr txBox="1">
            <a:spLocks noGrp="1"/>
          </p:cNvSpPr>
          <p:nvPr>
            <p:ph type="body" idx="1"/>
          </p:nvPr>
        </p:nvSpPr>
        <p:spPr>
          <a:xfrm>
            <a:off x="480000" y="6507006"/>
            <a:ext cx="5971600" cy="247650"/>
          </a:xfrm>
          <a:prstGeom prst="rect">
            <a:avLst/>
          </a:prstGeom>
          <a:noFill/>
          <a:ln>
            <a:noFill/>
          </a:ln>
        </p:spPr>
        <p:txBody>
          <a:bodyPr spcFirstLastPara="1" wrap="square" lIns="0" tIns="0" rIns="18000" bIns="0" anchor="ctr" anchorCtr="0">
            <a:noAutofit/>
          </a:bodyPr>
          <a:lstStyle>
            <a:lvl1pPr marL="457158" lvl="0" indent="-228578" algn="l">
              <a:lnSpc>
                <a:spcPct val="110000"/>
              </a:lnSpc>
              <a:spcBef>
                <a:spcPts val="1000"/>
              </a:spcBef>
              <a:spcAft>
                <a:spcPts val="0"/>
              </a:spcAft>
              <a:buSzPts val="800"/>
              <a:buFont typeface="Arial"/>
              <a:buNone/>
              <a:defRPr sz="1000" b="0">
                <a:solidFill>
                  <a:schemeClr val="dk1"/>
                </a:solidFill>
                <a:latin typeface="Arial"/>
                <a:ea typeface="Arial"/>
                <a:cs typeface="Arial"/>
                <a:sym typeface="Arial"/>
              </a:defRPr>
            </a:lvl1pPr>
            <a:lvl2pPr marL="914315" lvl="1" indent="-317471"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2pPr>
            <a:lvl3pPr marL="1371472" lvl="2" indent="-317471"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3pPr>
            <a:lvl4pPr marL="1828630" lvl="3" indent="-317471"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4pPr>
            <a:lvl5pPr marL="2285788" lvl="4" indent="-317471"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5pPr>
            <a:lvl6pPr marL="2742945" lvl="5" indent="-342868" algn="l">
              <a:lnSpc>
                <a:spcPct val="90000"/>
              </a:lnSpc>
              <a:spcBef>
                <a:spcPts val="600"/>
              </a:spcBef>
              <a:spcAft>
                <a:spcPts val="0"/>
              </a:spcAft>
              <a:buClr>
                <a:schemeClr val="dk1"/>
              </a:buClr>
              <a:buSzPts val="1800"/>
              <a:buChar char="•"/>
              <a:defRPr/>
            </a:lvl6pPr>
            <a:lvl7pPr marL="3200104" lvl="6" indent="-342868" algn="l">
              <a:lnSpc>
                <a:spcPct val="90000"/>
              </a:lnSpc>
              <a:spcBef>
                <a:spcPts val="500"/>
              </a:spcBef>
              <a:spcAft>
                <a:spcPts val="0"/>
              </a:spcAft>
              <a:buClr>
                <a:schemeClr val="dk1"/>
              </a:buClr>
              <a:buSzPts val="1800"/>
              <a:buChar char="•"/>
              <a:defRPr/>
            </a:lvl7pPr>
            <a:lvl8pPr marL="3657260" lvl="7" indent="-342868" algn="l">
              <a:lnSpc>
                <a:spcPct val="90000"/>
              </a:lnSpc>
              <a:spcBef>
                <a:spcPts val="500"/>
              </a:spcBef>
              <a:spcAft>
                <a:spcPts val="0"/>
              </a:spcAft>
              <a:buClr>
                <a:schemeClr val="dk1"/>
              </a:buClr>
              <a:buSzPts val="1800"/>
              <a:buChar char="•"/>
              <a:defRPr/>
            </a:lvl8pPr>
            <a:lvl9pPr marL="4114418" lvl="8" indent="-342868" algn="l">
              <a:lnSpc>
                <a:spcPct val="90000"/>
              </a:lnSpc>
              <a:spcBef>
                <a:spcPts val="500"/>
              </a:spcBef>
              <a:spcAft>
                <a:spcPts val="0"/>
              </a:spcAft>
              <a:buClr>
                <a:schemeClr val="dk1"/>
              </a:buClr>
              <a:buSzPts val="1800"/>
              <a:buChar char="•"/>
              <a:defRPr/>
            </a:lvl9pPr>
          </a:lstStyle>
          <a:p>
            <a:endParaRPr/>
          </a:p>
        </p:txBody>
      </p:sp>
      <p:sp>
        <p:nvSpPr>
          <p:cNvPr id="18" name="Google Shape;18;p9"/>
          <p:cNvSpPr txBox="1">
            <a:spLocks noGrp="1"/>
          </p:cNvSpPr>
          <p:nvPr>
            <p:ph type="body" idx="3"/>
          </p:nvPr>
        </p:nvSpPr>
        <p:spPr>
          <a:xfrm>
            <a:off x="9495915" y="6476048"/>
            <a:ext cx="2195259" cy="247650"/>
          </a:xfrm>
          <a:prstGeom prst="rect">
            <a:avLst/>
          </a:prstGeom>
          <a:noFill/>
          <a:ln>
            <a:noFill/>
          </a:ln>
        </p:spPr>
        <p:txBody>
          <a:bodyPr spcFirstLastPara="1" wrap="square" lIns="18000" tIns="0" rIns="0" bIns="0" anchor="ctr" anchorCtr="0">
            <a:noAutofit/>
          </a:bodyPr>
          <a:lstStyle>
            <a:lvl1pPr marL="457158" lvl="0" indent="-228578" algn="ctr">
              <a:lnSpc>
                <a:spcPct val="110000"/>
              </a:lnSpc>
              <a:spcBef>
                <a:spcPts val="1000"/>
              </a:spcBef>
              <a:spcAft>
                <a:spcPts val="0"/>
              </a:spcAft>
              <a:buSzPts val="1280"/>
              <a:buFont typeface="Arial"/>
              <a:buNone/>
              <a:defRPr sz="1600" b="1">
                <a:solidFill>
                  <a:schemeClr val="dk2"/>
                </a:solidFill>
                <a:latin typeface="Arial"/>
                <a:ea typeface="Arial"/>
                <a:cs typeface="Arial"/>
                <a:sym typeface="Arial"/>
              </a:defRPr>
            </a:lvl1pPr>
            <a:lvl2pPr marL="914315" lvl="1" indent="-317471"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2pPr>
            <a:lvl3pPr marL="1371472" lvl="2" indent="-317471"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3pPr>
            <a:lvl4pPr marL="1828630" lvl="3" indent="-317471"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4pPr>
            <a:lvl5pPr marL="2285788" lvl="4" indent="-317471"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5pPr>
            <a:lvl6pPr marL="2742945" lvl="5" indent="-342868" algn="l">
              <a:lnSpc>
                <a:spcPct val="90000"/>
              </a:lnSpc>
              <a:spcBef>
                <a:spcPts val="600"/>
              </a:spcBef>
              <a:spcAft>
                <a:spcPts val="0"/>
              </a:spcAft>
              <a:buClr>
                <a:schemeClr val="dk1"/>
              </a:buClr>
              <a:buSzPts val="1800"/>
              <a:buChar char="•"/>
              <a:defRPr/>
            </a:lvl6pPr>
            <a:lvl7pPr marL="3200104" lvl="6" indent="-342868" algn="l">
              <a:lnSpc>
                <a:spcPct val="90000"/>
              </a:lnSpc>
              <a:spcBef>
                <a:spcPts val="500"/>
              </a:spcBef>
              <a:spcAft>
                <a:spcPts val="0"/>
              </a:spcAft>
              <a:buClr>
                <a:schemeClr val="dk1"/>
              </a:buClr>
              <a:buSzPts val="1800"/>
              <a:buChar char="•"/>
              <a:defRPr/>
            </a:lvl7pPr>
            <a:lvl8pPr marL="3657260" lvl="7" indent="-342868" algn="l">
              <a:lnSpc>
                <a:spcPct val="90000"/>
              </a:lnSpc>
              <a:spcBef>
                <a:spcPts val="500"/>
              </a:spcBef>
              <a:spcAft>
                <a:spcPts val="0"/>
              </a:spcAft>
              <a:buClr>
                <a:schemeClr val="dk1"/>
              </a:buClr>
              <a:buSzPts val="1800"/>
              <a:buChar char="•"/>
              <a:defRPr/>
            </a:lvl8pPr>
            <a:lvl9pPr marL="4114418" lvl="8" indent="-342868" algn="l">
              <a:lnSpc>
                <a:spcPct val="90000"/>
              </a:lnSpc>
              <a:spcBef>
                <a:spcPts val="500"/>
              </a:spcBef>
              <a:spcAft>
                <a:spcPts val="0"/>
              </a:spcAft>
              <a:buClr>
                <a:schemeClr val="dk1"/>
              </a:buClr>
              <a:buSzPts val="1800"/>
              <a:buChar char="•"/>
              <a:defRPr/>
            </a:lvl9pPr>
          </a:lstStyle>
          <a:p>
            <a:endParaRPr/>
          </a:p>
        </p:txBody>
      </p:sp>
      <p:sp>
        <p:nvSpPr>
          <p:cNvPr id="19" name="Google Shape;19;p9"/>
          <p:cNvSpPr txBox="1">
            <a:spLocks noGrp="1"/>
          </p:cNvSpPr>
          <p:nvPr>
            <p:ph type="subTitle" idx="4"/>
          </p:nvPr>
        </p:nvSpPr>
        <p:spPr>
          <a:xfrm>
            <a:off x="2" y="4482001"/>
            <a:ext cx="12191999" cy="1656000"/>
          </a:xfrm>
          <a:prstGeom prst="rect">
            <a:avLst/>
          </a:prstGeom>
          <a:solidFill>
            <a:schemeClr val="dk2"/>
          </a:solidFill>
          <a:ln>
            <a:noFill/>
          </a:ln>
        </p:spPr>
        <p:txBody>
          <a:bodyPr spcFirstLastPara="1" wrap="square" lIns="360000" tIns="360000" rIns="360000" bIns="828000" anchor="b" anchorCtr="0">
            <a:noAutofit/>
          </a:bodyPr>
          <a:lstStyle>
            <a:lvl1pPr lvl="0" algn="l">
              <a:lnSpc>
                <a:spcPct val="90000"/>
              </a:lnSpc>
              <a:spcBef>
                <a:spcPts val="1000"/>
              </a:spcBef>
              <a:spcAft>
                <a:spcPts val="0"/>
              </a:spcAft>
              <a:buSzPts val="1920"/>
              <a:buFont typeface="Arial"/>
              <a:buNone/>
              <a:defRPr sz="2400" b="1">
                <a:solidFill>
                  <a:schemeClr val="lt1"/>
                </a:solidFill>
                <a:latin typeface="Arial"/>
                <a:ea typeface="Arial"/>
                <a:cs typeface="Arial"/>
                <a:sym typeface="Arial"/>
              </a:defRPr>
            </a:lvl1pPr>
            <a:lvl2pPr lvl="1" algn="ctr">
              <a:lnSpc>
                <a:spcPct val="110000"/>
              </a:lnSpc>
              <a:spcBef>
                <a:spcPts val="600"/>
              </a:spcBef>
              <a:spcAft>
                <a:spcPts val="0"/>
              </a:spcAft>
              <a:buSzPts val="2000"/>
              <a:buNone/>
              <a:defRPr sz="2000"/>
            </a:lvl2pPr>
            <a:lvl3pPr lvl="2" algn="ctr">
              <a:lnSpc>
                <a:spcPct val="110000"/>
              </a:lnSpc>
              <a:spcBef>
                <a:spcPts val="600"/>
              </a:spcBef>
              <a:spcAft>
                <a:spcPts val="0"/>
              </a:spcAft>
              <a:buSzPts val="1800"/>
              <a:buNone/>
              <a:defRPr sz="1800"/>
            </a:lvl3pPr>
            <a:lvl4pPr lvl="3" algn="ctr">
              <a:lnSpc>
                <a:spcPct val="110000"/>
              </a:lnSpc>
              <a:spcBef>
                <a:spcPts val="600"/>
              </a:spcBef>
              <a:spcAft>
                <a:spcPts val="0"/>
              </a:spcAft>
              <a:buSzPts val="1600"/>
              <a:buNone/>
              <a:defRPr sz="1600"/>
            </a:lvl4pPr>
            <a:lvl5pPr lvl="4" algn="ctr">
              <a:lnSpc>
                <a:spcPct val="11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 name="Google Shape;20;p9"/>
          <p:cNvSpPr txBox="1">
            <a:spLocks noGrp="1"/>
          </p:cNvSpPr>
          <p:nvPr>
            <p:ph type="body" idx="5"/>
          </p:nvPr>
        </p:nvSpPr>
        <p:spPr>
          <a:xfrm>
            <a:off x="480000" y="5440855"/>
            <a:ext cx="11211172" cy="288000"/>
          </a:xfrm>
          <a:prstGeom prst="rect">
            <a:avLst/>
          </a:prstGeom>
          <a:noFill/>
          <a:ln>
            <a:noFill/>
          </a:ln>
        </p:spPr>
        <p:txBody>
          <a:bodyPr spcFirstLastPara="1" wrap="square" lIns="0" tIns="0" rIns="90000" bIns="0" anchor="t" anchorCtr="0">
            <a:noAutofit/>
          </a:bodyPr>
          <a:lstStyle>
            <a:lvl1pPr marL="457158" lvl="0" indent="-228578" algn="l">
              <a:lnSpc>
                <a:spcPct val="110000"/>
              </a:lnSpc>
              <a:spcBef>
                <a:spcPts val="1000"/>
              </a:spcBef>
              <a:spcAft>
                <a:spcPts val="0"/>
              </a:spcAft>
              <a:buSzPts val="1280"/>
              <a:buFont typeface="Arial"/>
              <a:buNone/>
              <a:defRPr sz="1600" b="0">
                <a:solidFill>
                  <a:schemeClr val="lt1"/>
                </a:solidFill>
                <a:latin typeface="Arial"/>
                <a:ea typeface="Arial"/>
                <a:cs typeface="Arial"/>
                <a:sym typeface="Arial"/>
              </a:defRPr>
            </a:lvl1pPr>
            <a:lvl2pPr marL="914315" lvl="1" indent="-317471"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2pPr>
            <a:lvl3pPr marL="1371472" lvl="2" indent="-317471"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3pPr>
            <a:lvl4pPr marL="1828630" lvl="3" indent="-317471"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4pPr>
            <a:lvl5pPr marL="2285788" lvl="4" indent="-317471" algn="l">
              <a:lnSpc>
                <a:spcPct val="110000"/>
              </a:lnSpc>
              <a:spcBef>
                <a:spcPts val="600"/>
              </a:spcBef>
              <a:spcAft>
                <a:spcPts val="0"/>
              </a:spcAft>
              <a:buSzPts val="1400"/>
              <a:buChar char="•"/>
              <a:defRPr>
                <a:solidFill>
                  <a:schemeClr val="lt1"/>
                </a:solidFill>
                <a:latin typeface="Times New Roman"/>
                <a:ea typeface="Times New Roman"/>
                <a:cs typeface="Times New Roman"/>
                <a:sym typeface="Times New Roman"/>
              </a:defRPr>
            </a:lvl5pPr>
            <a:lvl6pPr marL="2742945" lvl="5" indent="-342868" algn="l">
              <a:lnSpc>
                <a:spcPct val="90000"/>
              </a:lnSpc>
              <a:spcBef>
                <a:spcPts val="600"/>
              </a:spcBef>
              <a:spcAft>
                <a:spcPts val="0"/>
              </a:spcAft>
              <a:buClr>
                <a:schemeClr val="dk1"/>
              </a:buClr>
              <a:buSzPts val="1800"/>
              <a:buChar char="•"/>
              <a:defRPr/>
            </a:lvl6pPr>
            <a:lvl7pPr marL="3200104" lvl="6" indent="-342868" algn="l">
              <a:lnSpc>
                <a:spcPct val="90000"/>
              </a:lnSpc>
              <a:spcBef>
                <a:spcPts val="500"/>
              </a:spcBef>
              <a:spcAft>
                <a:spcPts val="0"/>
              </a:spcAft>
              <a:buClr>
                <a:schemeClr val="dk1"/>
              </a:buClr>
              <a:buSzPts val="1800"/>
              <a:buChar char="•"/>
              <a:defRPr/>
            </a:lvl7pPr>
            <a:lvl8pPr marL="3657260" lvl="7" indent="-342868" algn="l">
              <a:lnSpc>
                <a:spcPct val="90000"/>
              </a:lnSpc>
              <a:spcBef>
                <a:spcPts val="500"/>
              </a:spcBef>
              <a:spcAft>
                <a:spcPts val="0"/>
              </a:spcAft>
              <a:buClr>
                <a:schemeClr val="dk1"/>
              </a:buClr>
              <a:buSzPts val="1800"/>
              <a:buChar char="•"/>
              <a:defRPr/>
            </a:lvl8pPr>
            <a:lvl9pPr marL="4114418" lvl="8" indent="-342868" algn="l">
              <a:lnSpc>
                <a:spcPct val="90000"/>
              </a:lnSpc>
              <a:spcBef>
                <a:spcPts val="500"/>
              </a:spcBef>
              <a:spcAft>
                <a:spcPts val="0"/>
              </a:spcAft>
              <a:buClr>
                <a:schemeClr val="dk1"/>
              </a:buClr>
              <a:buSzPts val="1800"/>
              <a:buChar char="•"/>
              <a:defRPr/>
            </a:lvl9pPr>
          </a:lstStyle>
          <a:p>
            <a:endParaRPr/>
          </a:p>
        </p:txBody>
      </p:sp>
      <p:sp>
        <p:nvSpPr>
          <p:cNvPr id="21" name="Google Shape;21;p9"/>
          <p:cNvSpPr>
            <a:spLocks noGrp="1"/>
          </p:cNvSpPr>
          <p:nvPr>
            <p:ph type="pic" idx="6"/>
          </p:nvPr>
        </p:nvSpPr>
        <p:spPr>
          <a:xfrm>
            <a:off x="7460680" y="485184"/>
            <a:ext cx="4230495" cy="1112400"/>
          </a:xfrm>
          <a:prstGeom prst="rect">
            <a:avLst/>
          </a:prstGeom>
          <a:blipFill rotWithShape="1">
            <a:blip r:embed="rId2">
              <a:alphaModFix/>
              <a:extLst>
                <a:ext uri="{28A0092B-C50C-407E-A947-70E740481C1C}">
                  <a14:useLocalDpi xmlns:a14="http://schemas.microsoft.com/office/drawing/2010/main"/>
                </a:ext>
              </a:extLst>
            </a:blip>
            <a:stretch>
              <a:fillRect/>
            </a:stretch>
          </a:blipFill>
          <a:ln>
            <a:noFill/>
          </a:ln>
        </p:spPr>
        <p:txBody>
          <a:bodyPr spcFirstLastPara="1" wrap="square" lIns="18000" tIns="0" rIns="18000" bIns="0" anchor="t" anchorCtr="0">
            <a:noAutofit/>
          </a:bodyPr>
          <a:lstStyle>
            <a:lvl1pPr marR="0" lvl="0" algn="ctr" rtl="0">
              <a:lnSpc>
                <a:spcPct val="110000"/>
              </a:lnSpc>
              <a:spcBef>
                <a:spcPts val="1000"/>
              </a:spcBef>
              <a:spcAft>
                <a:spcPts val="0"/>
              </a:spcAft>
              <a:buClr>
                <a:schemeClr val="dk1"/>
              </a:buClr>
              <a:buSzPts val="1400"/>
              <a:buFont typeface="Arial"/>
              <a:buNone/>
              <a:defRPr sz="100" b="0" i="0" u="none" strike="noStrike" cap="none">
                <a:solidFill>
                  <a:schemeClr val="lt1"/>
                </a:solidFill>
                <a:latin typeface="Arial"/>
                <a:ea typeface="Arial"/>
                <a:cs typeface="Arial"/>
                <a:sym typeface="Arial"/>
              </a:defRPr>
            </a:lvl1pPr>
            <a:lvl2pPr marR="0" lvl="1"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3pPr>
            <a:lvl4pPr marR="0" lvl="3"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R="0" lvl="4" algn="l" rtl="0">
              <a:lnSpc>
                <a:spcPct val="11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R="0" lvl="5"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704950444"/>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1" y="1825626"/>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4095" y="6461268"/>
            <a:ext cx="869514" cy="324091"/>
          </a:xfrm>
          <a:prstGeom prst="rect">
            <a:avLst/>
          </a:prstGeom>
        </p:spPr>
      </p:pic>
    </p:spTree>
    <p:extLst>
      <p:ext uri="{BB962C8B-B14F-4D97-AF65-F5344CB8AC3E}">
        <p14:creationId xmlns:p14="http://schemas.microsoft.com/office/powerpoint/2010/main" val="40408982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36416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type="title" preserve="1">
  <p:cSld name="12_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126780102"/>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39_Section Header_photo">
    <p:bg>
      <p:bgPr>
        <a:solidFill>
          <a:srgbClr val="00205C"/>
        </a:solidFill>
        <a:effectLst/>
      </p:bgPr>
    </p:bg>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175393D5-558B-28D2-0F78-64E897CC0FF1}"/>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18732"/>
            <a:ext cx="12192000" cy="6839268"/>
          </a:xfrm>
          <a:prstGeom prst="rect">
            <a:avLst/>
          </a:prstGeom>
          <a:noFill/>
          <a:scene3d>
            <a:camera prst="orthographicFront">
              <a:rot lat="0" lon="10800000" rev="0"/>
            </a:camera>
            <a:lightRig rig="threePt" dir="t"/>
          </a:scene3d>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9460"/>
          </a:xfrm>
          <a:solidFill>
            <a:srgbClr val="C9DDF3">
              <a:alpha val="80000"/>
            </a:srgbClr>
          </a:solidFill>
        </p:spPr>
        <p:txBody>
          <a:bodyPr lIns="144000" anchor="t" anchorCtr="0">
            <a:spAutoFit/>
          </a:bodyPr>
          <a:lstStyle>
            <a:lvl1pPr>
              <a:defRPr sz="6000">
                <a:solidFill>
                  <a:schemeClr val="tx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9F263B6D-8996-474F-BAA8-575C05E6660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11" name="Google Shape;526;p1">
            <a:extLst>
              <a:ext uri="{FF2B5EF4-FFF2-40B4-BE49-F238E27FC236}">
                <a16:creationId xmlns:a16="http://schemas.microsoft.com/office/drawing/2014/main" id="{B3FD0AFD-5375-996E-1031-923EEBE49096}"/>
              </a:ext>
            </a:extLst>
          </p:cNvPr>
          <p:cNvSpPr txBox="1"/>
          <p:nvPr userDrawn="1"/>
        </p:nvSpPr>
        <p:spPr>
          <a:xfrm>
            <a:off x="9822084" y="6596850"/>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2253212676"/>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showMasterSp="0" type="title" preserve="1">
  <p:cSld name="7_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6200173" y="6397385"/>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4155975280"/>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showMasterSp="0" type="title" preserve="1">
  <p:cSld name="12_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512745891"/>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showMasterSp="0" type="title" preserve="1">
  <p:cSld name="5_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5"/>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376679299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showMasterSp="0" type="title" preserve="1">
  <p:cSld name="9_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3175928370"/>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showMasterSp="0" preserve="1" userDrawn="1">
  <p:cSld name="8_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5"/>
          </a:xfrm>
          <a:prstGeom prst="rect">
            <a:avLst/>
          </a:prstGeom>
        </p:spPr>
      </p:pic>
    </p:spTree>
    <p:extLst>
      <p:ext uri="{BB962C8B-B14F-4D97-AF65-F5344CB8AC3E}">
        <p14:creationId xmlns:p14="http://schemas.microsoft.com/office/powerpoint/2010/main" val="626814340"/>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showMasterSp="0" preserve="1" userDrawn="1">
  <p:cSld name="8_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173377895"/>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showMasterSp="0" type="obj" preserve="1">
  <p:cSld name="4_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1"/>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67975740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showMasterSp="0" preserve="1" userDrawn="1">
  <p:cSld name="10_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24442331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2476863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0.xml><?xml version="1.0" encoding="utf-8"?>
<p:sldLayout xmlns:a="http://schemas.openxmlformats.org/drawingml/2006/main" xmlns:r="http://schemas.openxmlformats.org/officeDocument/2006/relationships" xmlns:p="http://schemas.openxmlformats.org/presentationml/2006/main" showMasterSp="0" preserve="1" userDrawn="1">
  <p:cSld name="5_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1" y="1846372"/>
            <a:ext cx="9700351" cy="2743200"/>
          </a:xfrm>
        </p:spPr>
        <p:txBody>
          <a:bodyPr anchor="t" anchorCtr="0">
            <a:normAutofit/>
          </a:bodyPr>
          <a:lstStyle>
            <a:lvl1pPr marL="228589" indent="-228589">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4734773"/>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946254029"/>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showMasterSp="0" preserve="1" userDrawn="1">
  <p:cSld name="5_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1"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1" y="1574801"/>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3033667021"/>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showMasterSp="0" preserve="1" userDrawn="1">
  <p:cSld name="5_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2"/>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1" y="1551944"/>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sz="1400">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2"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179"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4202934847"/>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showMasterSp="0" type="obj" preserve="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1" y="1825626"/>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1326369284"/>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showMasterSp="0" preserve="1" userDrawn="1">
  <p:cSld name="5_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1"/>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4"/>
            <a:ext cx="3657600" cy="882921"/>
          </a:xfrm>
        </p:spPr>
        <p:txBody>
          <a:bodyPr>
            <a:normAutofit/>
          </a:bodyPr>
          <a:lstStyle>
            <a:lvl1pPr marL="0" indent="0">
              <a:buNone/>
              <a:defRPr sz="1200" b="0">
                <a:latin typeface="+mj-lt"/>
              </a:defRPr>
            </a:lvl1pPr>
          </a:lstStyle>
          <a:p>
            <a:pPr lvl="0"/>
            <a:r>
              <a:rPr lang="en-US"/>
              <a:t>Click to edit Master text styles</a:t>
            </a:r>
          </a:p>
        </p:txBody>
      </p:sp>
    </p:spTree>
    <p:extLst>
      <p:ext uri="{BB962C8B-B14F-4D97-AF65-F5344CB8AC3E}">
        <p14:creationId xmlns:p14="http://schemas.microsoft.com/office/powerpoint/2010/main" val="3174498978"/>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showMasterSp="0" preserve="1" userDrawn="1">
  <p:cSld name="6_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179" indent="0">
              <a:buNone/>
              <a:defRPr sz="2000">
                <a:solidFill>
                  <a:srgbClr val="00205C"/>
                </a:solidFill>
              </a:defRPr>
            </a:lvl2pPr>
            <a:lvl3pPr marL="914358" indent="0">
              <a:buNone/>
              <a:defRPr sz="2000">
                <a:solidFill>
                  <a:srgbClr val="00205C"/>
                </a:solidFill>
              </a:defRPr>
            </a:lvl3pPr>
            <a:lvl4pPr marL="1371536" indent="0">
              <a:buNone/>
              <a:defRPr sz="2000">
                <a:solidFill>
                  <a:srgbClr val="00205C"/>
                </a:solidFill>
              </a:defRPr>
            </a:lvl4pPr>
            <a:lvl5pPr marL="1828715"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World Health Organization logo ">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219037472"/>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showMasterSp="0" type="titleOnly" preserve="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993249942"/>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showMasterSp="0" type="titleOnly" preserve="1">
  <p:cSld name="5_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407017773"/>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showMasterSp="0" type="obj" preserve="1">
  <p:cSld name="5_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6"/>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3" y="6404129"/>
            <a:ext cx="5154592" cy="320675"/>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1129982314"/>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showMasterSp="0" preserve="1" userDrawn="1">
  <p:cSld name="6_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7055673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577638" y="6482886"/>
            <a:ext cx="7575715" cy="111982"/>
          </a:xfrm>
          <a:prstGeom prst="rect">
            <a:avLst/>
          </a:prstGeom>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76664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30.xml><?xml version="1.0" encoding="utf-8"?>
<p:sldLayout xmlns:a="http://schemas.openxmlformats.org/drawingml/2006/main" xmlns:r="http://schemas.openxmlformats.org/officeDocument/2006/relationships" xmlns:p="http://schemas.openxmlformats.org/presentationml/2006/main" showMasterSp="0" preserve="1" userDrawn="1">
  <p:cSld name="6_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1828801"/>
            <a:ext cx="5486399"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1"/>
            <a:ext cx="5494112"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922265578"/>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showMasterSp="0" preserve="1" userDrawn="1">
  <p:cSld name="6_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250596868"/>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preserve="1" userDrawn="1">
  <p:cSld name="6_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1"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1"/>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1"/>
            <a:ext cx="3657600" cy="550839"/>
          </a:xfrm>
        </p:spPr>
        <p:txBody>
          <a:bodyPr anchor="t" anchorCtr="0">
            <a:normAutofit/>
          </a:bodyPr>
          <a:lstStyle>
            <a:lvl1pPr marL="0" indent="0">
              <a:buNone/>
              <a:defRPr sz="1800" b="1">
                <a:solidFill>
                  <a:srgbClr val="00205C"/>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656713262"/>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showMasterSp="0" preserve="1" userDrawn="1">
  <p:cSld name="6_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1"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3"/>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1" y="2998280"/>
            <a:ext cx="5486399"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3765828755"/>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showMasterSp="0" preserve="1" userDrawn="1">
  <p:cSld name="6_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1"/>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2"/>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7"/>
            <a:ext cx="3657600" cy="527289"/>
          </a:xfrm>
        </p:spPr>
        <p:txBody>
          <a:bodyPr anchor="b">
            <a:normAutofit/>
          </a:bodyPr>
          <a:lstStyle>
            <a:lvl1pPr marL="0" indent="0">
              <a:buNone/>
              <a:defRPr sz="1800" b="1">
                <a:solidFill>
                  <a:srgbClr val="009ADE"/>
                </a:solidFill>
              </a:defRPr>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pic>
        <p:nvPicPr>
          <p:cNvPr id="14" name="Picture 13" descr="World Health Organization logo ">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7"/>
            <a:ext cx="1828795" cy="556811"/>
          </a:xfrm>
          <a:prstGeom prst="rect">
            <a:avLst/>
          </a:prstGeom>
        </p:spPr>
      </p:pic>
    </p:spTree>
    <p:extLst>
      <p:ext uri="{BB962C8B-B14F-4D97-AF65-F5344CB8AC3E}">
        <p14:creationId xmlns:p14="http://schemas.microsoft.com/office/powerpoint/2010/main" val="2805617322"/>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showMasterSp="0" type="objTx" preserve="1">
  <p:cSld name="10_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1"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9221645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showMasterSp="0" type="objTx" preserve="1">
  <p:cSld name="9_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6314536" y="-4314"/>
            <a:ext cx="5877464"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5414154"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7013275" y="987426"/>
            <a:ext cx="43421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5486400" cy="3952232"/>
          </a:xfrm>
        </p:spPr>
        <p:txBody>
          <a:bodyPr anchor="t" anchorCtr="0">
            <a:normAutofit/>
          </a:bodyPr>
          <a:lstStyle>
            <a:lvl1pPr marL="0" indent="0">
              <a:spcBef>
                <a:spcPts val="0"/>
              </a:spcBef>
              <a:buFontTx/>
              <a:buNone/>
              <a:defRPr sz="14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1" y="457200"/>
            <a:ext cx="5417389"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670945767"/>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showMasterSp="0" type="picTx" preserve="1">
  <p:cSld name="15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179" indent="0">
              <a:buNone/>
              <a:defRPr sz="2800"/>
            </a:lvl2pPr>
            <a:lvl3pPr marL="914358" indent="0">
              <a:buNone/>
              <a:defRPr sz="2400"/>
            </a:lvl3pPr>
            <a:lvl4pPr marL="1371536" indent="0">
              <a:buNone/>
              <a:defRPr sz="2000"/>
            </a:lvl4pPr>
            <a:lvl5pPr marL="1828715" indent="0">
              <a:buNone/>
              <a:defRPr sz="2000"/>
            </a:lvl5pPr>
            <a:lvl6pPr marL="2285894" indent="0">
              <a:buNone/>
              <a:defRPr sz="2000"/>
            </a:lvl6pPr>
            <a:lvl7pPr marL="2743073" indent="0">
              <a:buNone/>
              <a:defRPr sz="2000"/>
            </a:lvl7pPr>
            <a:lvl8pPr marL="3200252" indent="0">
              <a:buNone/>
              <a:defRPr sz="2000"/>
            </a:lvl8pPr>
            <a:lvl9pPr marL="365743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37" indent="-285737">
              <a:spcBef>
                <a:spcPts val="1600"/>
              </a:spcBef>
              <a:buFont typeface="Arial" panose="020B0604020202020204" pitchFamily="34" charset="0"/>
              <a:buChar char="•"/>
              <a:defRPr sz="16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403842579"/>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showMasterSp="0" preserve="1" userDrawn="1">
  <p:cSld name="12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692924432"/>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showMasterSp="0" type="title" preserve="1">
  <p:cSld name="7_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1"/>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24847684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2412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40.xml><?xml version="1.0" encoding="utf-8"?>
<p:sldLayout xmlns:a="http://schemas.openxmlformats.org/drawingml/2006/main" xmlns:r="http://schemas.openxmlformats.org/officeDocument/2006/relationships" xmlns:p="http://schemas.openxmlformats.org/presentationml/2006/main" showMasterSp="0" preserve="1" userDrawn="1">
  <p:cSld name="3_Image left / Text right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a:xfrm>
            <a:off x="479999" y="1800000"/>
            <a:ext cx="5472000" cy="4237200"/>
          </a:xfrm>
          <a:solidFill>
            <a:schemeClr val="bg1">
              <a:lumMod val="85000"/>
            </a:schemeClr>
          </a:solidFill>
        </p:spPr>
        <p:txBody>
          <a:bodyPr bIns="1980000" anchor="ctr"/>
          <a:lstStyle>
            <a:lvl1pPr marL="0" marR="0" indent="0" algn="ctr" defTabSz="914358" rtl="0" eaLnBrk="1" fontAlgn="auto" latinLnBrk="0" hangingPunct="1">
              <a:lnSpc>
                <a:spcPct val="110000"/>
              </a:lnSpc>
              <a:spcBef>
                <a:spcPts val="1000"/>
              </a:spcBef>
              <a:spcAft>
                <a:spcPts val="600"/>
              </a:spcAft>
              <a:buClr>
                <a:schemeClr val="tx1"/>
              </a:buClr>
              <a:buSzPct val="80000"/>
              <a:buFontTx/>
              <a:buNone/>
              <a:tabLst/>
              <a:defRPr sz="1400" baseline="0">
                <a:solidFill>
                  <a:schemeClr val="bg1"/>
                </a:solidFill>
              </a:defRPr>
            </a:lvl1pPr>
          </a:lstStyle>
          <a:p>
            <a:pPr marL="0" marR="0" lvl="0" indent="0" algn="ctr" defTabSz="914358"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10" name="Slide Number Placeholder 9"/>
          <p:cNvSpPr>
            <a:spLocks noGrp="1"/>
          </p:cNvSpPr>
          <p:nvPr>
            <p:ph type="sldNum" sz="quarter" idx="20"/>
          </p:nvPr>
        </p:nvSpPr>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a:xfrm>
            <a:off x="480001" y="6293652"/>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3" name="Footer Placeholder 8">
            <a:extLst>
              <a:ext uri="{FF2B5EF4-FFF2-40B4-BE49-F238E27FC236}">
                <a16:creationId xmlns:a16="http://schemas.microsoft.com/office/drawing/2014/main" id="{3B89876D-139D-4250-9B30-26F3FE811770}"/>
              </a:ext>
            </a:extLst>
          </p:cNvPr>
          <p:cNvSpPr>
            <a:spLocks noGrp="1"/>
          </p:cNvSpPr>
          <p:nvPr>
            <p:ph type="ftr" sz="quarter" idx="23"/>
          </p:nvPr>
        </p:nvSpPr>
        <p:spPr>
          <a:xfrm>
            <a:off x="479999" y="6588208"/>
            <a:ext cx="3177601" cy="180000"/>
          </a:xfrm>
          <a:prstGeom prst="rect">
            <a:avLst/>
          </a:prstGeom>
        </p:spPr>
        <p:txBody>
          <a:bodyPr/>
          <a:lstStyle>
            <a:lvl1pPr>
              <a:defRPr sz="600"/>
            </a:lvl1pPr>
          </a:lstStyle>
          <a:p>
            <a:endParaRPr lang="en-GB"/>
          </a:p>
        </p:txBody>
      </p:sp>
    </p:spTree>
    <p:extLst>
      <p:ext uri="{BB962C8B-B14F-4D97-AF65-F5344CB8AC3E}">
        <p14:creationId xmlns:p14="http://schemas.microsoft.com/office/powerpoint/2010/main" val="3153326456"/>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5_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5852984"/>
            <a:ext cx="2314637" cy="704735"/>
          </a:xfrm>
          <a:prstGeom prst="rect">
            <a:avLst/>
          </a:prstGeom>
        </p:spPr>
      </p:pic>
      <p:sp>
        <p:nvSpPr>
          <p:cNvPr id="4" name="Google Shape;526;p1">
            <a:extLst>
              <a:ext uri="{FF2B5EF4-FFF2-40B4-BE49-F238E27FC236}">
                <a16:creationId xmlns:a16="http://schemas.microsoft.com/office/drawing/2014/main" id="{7F09F528-5DF1-B779-F8D2-802189028C46}"/>
              </a:ext>
            </a:extLst>
          </p:cNvPr>
          <p:cNvSpPr txBox="1"/>
          <p:nvPr userDrawn="1"/>
        </p:nvSpPr>
        <p:spPr>
          <a:xfrm>
            <a:off x="10016263" y="6557719"/>
            <a:ext cx="1338501" cy="160340"/>
          </a:xfrm>
          <a:prstGeom prst="rect">
            <a:avLst/>
          </a:prstGeom>
          <a:noFill/>
          <a:ln>
            <a:noFill/>
          </a:ln>
        </p:spPr>
        <p:txBody>
          <a:bodyPr spcFirstLastPara="1" wrap="square" lIns="0" tIns="0" rIns="17999" bIns="0" anchor="ctr"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105730945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5_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F07AB91-D215-9B41-9808-46FFB4D2758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3" name="Google Shape;526;p1">
            <a:extLst>
              <a:ext uri="{FF2B5EF4-FFF2-40B4-BE49-F238E27FC236}">
                <a16:creationId xmlns:a16="http://schemas.microsoft.com/office/drawing/2014/main" id="{5F2CA40D-CBCA-9B53-5362-5D330F0123CD}"/>
              </a:ext>
            </a:extLst>
          </p:cNvPr>
          <p:cNvSpPr txBox="1"/>
          <p:nvPr userDrawn="1"/>
        </p:nvSpPr>
        <p:spPr>
          <a:xfrm>
            <a:off x="10016263" y="6135687"/>
            <a:ext cx="1338501" cy="250342"/>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3447070649"/>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itle" preserve="1">
  <p:cSld name="5_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1" y="5852984"/>
            <a:ext cx="2314640" cy="704736"/>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6200173" y="6397385"/>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412200777"/>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 preserve="1">
  <p:cSld name="9_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extLst>
              <a:ext uri="{28A0092B-C50C-407E-A947-70E740481C1C}">
                <a14:useLocalDpi xmlns:a14="http://schemas.microsoft.com/office/drawing/2010/main" val="0"/>
              </a:ext>
            </a:extLst>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210431579"/>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title" preserve="1">
  <p:cSld name="6_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3" y="5852984"/>
            <a:ext cx="2314637" cy="704735"/>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302435456"/>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title" preserve="1">
  <p:cSld name="8_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3"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900271932"/>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7_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3" y="5852984"/>
            <a:ext cx="2314637" cy="704735"/>
          </a:xfrm>
          <a:prstGeom prst="rect">
            <a:avLst/>
          </a:prstGeom>
        </p:spPr>
      </p:pic>
    </p:spTree>
    <p:extLst>
      <p:ext uri="{BB962C8B-B14F-4D97-AF65-F5344CB8AC3E}">
        <p14:creationId xmlns:p14="http://schemas.microsoft.com/office/powerpoint/2010/main" val="1800051666"/>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title" preserve="1">
  <p:cSld name="5_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1"/>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1686932872"/>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7"/>
            <a:ext cx="1036776" cy="381653"/>
          </a:xfrm>
          <a:prstGeom prst="rect">
            <a:avLst/>
          </a:prstGeom>
        </p:spPr>
      </p:pic>
    </p:spTree>
    <p:extLst>
      <p:ext uri="{BB962C8B-B14F-4D97-AF65-F5344CB8AC3E}">
        <p14:creationId xmlns:p14="http://schemas.microsoft.com/office/powerpoint/2010/main" val="27453415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577638" y="6482886"/>
            <a:ext cx="7575715" cy="111982"/>
          </a:xfrm>
          <a:prstGeom prst="rect">
            <a:avLst/>
          </a:prstGeom>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886878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50.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7"/>
            <a:ext cx="1036776" cy="381653"/>
          </a:xfrm>
          <a:prstGeom prst="rect">
            <a:avLst/>
          </a:prstGeom>
        </p:spPr>
      </p:pic>
    </p:spTree>
    <p:extLst>
      <p:ext uri="{BB962C8B-B14F-4D97-AF65-F5344CB8AC3E}">
        <p14:creationId xmlns:p14="http://schemas.microsoft.com/office/powerpoint/2010/main" val="394632713"/>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25_Section Header_photo">
    <p:bg>
      <p:bgPr>
        <a:solidFill>
          <a:srgbClr val="00205C"/>
        </a:solidFill>
        <a:effectLst/>
      </p:bgPr>
    </p:bg>
    <p:spTree>
      <p:nvGrpSpPr>
        <p:cNvPr id="1" name=""/>
        <p:cNvGrpSpPr/>
        <p:nvPr/>
      </p:nvGrpSpPr>
      <p:grpSpPr>
        <a:xfrm>
          <a:off x="0" y="0"/>
          <a:ext cx="0" cy="0"/>
          <a:chOff x="0" y="0"/>
          <a:chExt cx="0" cy="0"/>
        </a:xfrm>
      </p:grpSpPr>
      <p:pic>
        <p:nvPicPr>
          <p:cNvPr id="7" name="Picture 6" descr="A person holding a swab&#10;&#10;Description automatically generated">
            <a:extLst>
              <a:ext uri="{FF2B5EF4-FFF2-40B4-BE49-F238E27FC236}">
                <a16:creationId xmlns:a16="http://schemas.microsoft.com/office/drawing/2014/main" id="{8156625D-DD0E-151B-AF6B-9F36826B4F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88682"/>
            <a:ext cx="12224656" cy="8149771"/>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11277599" cy="830997"/>
          </a:xfrm>
          <a:solidFill>
            <a:srgbClr val="DDEFF9">
              <a:alpha val="80000"/>
            </a:srgbClr>
          </a:solidFill>
        </p:spPr>
        <p:txBody>
          <a:bodyPr wrap="square"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3" name="Google Shape;526;p1">
            <a:extLst>
              <a:ext uri="{FF2B5EF4-FFF2-40B4-BE49-F238E27FC236}">
                <a16:creationId xmlns:a16="http://schemas.microsoft.com/office/drawing/2014/main" id="{E0DB2698-2A0A-4BD4-BF73-C4BA1F9CA4A4}"/>
              </a:ext>
            </a:extLst>
          </p:cNvPr>
          <p:cNvSpPr txBox="1"/>
          <p:nvPr userDrawn="1"/>
        </p:nvSpPr>
        <p:spPr>
          <a:xfrm>
            <a:off x="9822084" y="6596850"/>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194594307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userDrawn="1">
  <p:cSld name="37_Section Header_photo">
    <p:bg>
      <p:bgPr>
        <a:solidFill>
          <a:srgbClr val="00205C"/>
        </a:solidFill>
        <a:effectLst/>
      </p:bgPr>
    </p:bg>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A8DE7688-6F3A-DE09-02B0-793F7FAC743E}"/>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 y="0"/>
            <a:ext cx="12192000" cy="6858000"/>
          </a:xfrm>
          <a:prstGeom prst="rect">
            <a:avLst/>
          </a:prstGeom>
          <a:noFill/>
          <a:scene3d>
            <a:camera prst="orthographicFront">
              <a:rot lat="0" lon="10800000" rev="0"/>
            </a:camera>
            <a:lightRig rig="threePt" dir="t"/>
          </a:scene3d>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7" name="Google Shape;526;p1">
            <a:extLst>
              <a:ext uri="{FF2B5EF4-FFF2-40B4-BE49-F238E27FC236}">
                <a16:creationId xmlns:a16="http://schemas.microsoft.com/office/drawing/2014/main" id="{3461D3A8-9710-2428-FC52-04367891711E}"/>
              </a:ext>
            </a:extLst>
          </p:cNvPr>
          <p:cNvSpPr txBox="1"/>
          <p:nvPr userDrawn="1"/>
        </p:nvSpPr>
        <p:spPr>
          <a:xfrm>
            <a:off x="9822084" y="6596850"/>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1780862135"/>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22_Section Header_photo">
    <p:bg>
      <p:bgPr>
        <a:solidFill>
          <a:srgbClr val="00205C"/>
        </a:solidFill>
        <a:effectLst/>
      </p:bgPr>
    </p:bg>
    <p:spTree>
      <p:nvGrpSpPr>
        <p:cNvPr id="1" name=""/>
        <p:cNvGrpSpPr/>
        <p:nvPr/>
      </p:nvGrpSpPr>
      <p:grpSpPr>
        <a:xfrm>
          <a:off x="0" y="0"/>
          <a:ext cx="0" cy="0"/>
          <a:chOff x="0" y="0"/>
          <a:chExt cx="0" cy="0"/>
        </a:xfrm>
      </p:grpSpPr>
      <p:pic>
        <p:nvPicPr>
          <p:cNvPr id="7" name="Picture 6" descr="A baby in a sling&#10;&#10;Description automatically generated">
            <a:extLst>
              <a:ext uri="{FF2B5EF4-FFF2-40B4-BE49-F238E27FC236}">
                <a16:creationId xmlns:a16="http://schemas.microsoft.com/office/drawing/2014/main" id="{B8D682DD-CAC3-32E5-6428-3BCC23A97A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754429" cy="6858000"/>
          </a:xfrm>
          <a:prstGeom prst="rect">
            <a:avLst/>
          </a:prstGeom>
          <a:scene3d>
            <a:camera prst="orthographicFront">
              <a:rot lat="0" lon="10800000" rev="0"/>
            </a:camera>
            <a:lightRig rig="threePt" dir="t"/>
          </a:scene3d>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9460"/>
          </a:xfrm>
          <a:solidFill>
            <a:srgbClr val="C9DDF3">
              <a:alpha val="80000"/>
            </a:srgbClr>
          </a:solidFill>
        </p:spPr>
        <p:txBody>
          <a:bodyPr lIns="144000" anchor="t" anchorCtr="0">
            <a:spAutoFit/>
          </a:bodyPr>
          <a:lstStyle>
            <a:lvl1pPr>
              <a:defRPr sz="6000">
                <a:solidFill>
                  <a:schemeClr val="tx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9F263B6D-8996-474F-BAA8-575C05E6660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4" name="Google Shape;526;p1">
            <a:extLst>
              <a:ext uri="{FF2B5EF4-FFF2-40B4-BE49-F238E27FC236}">
                <a16:creationId xmlns:a16="http://schemas.microsoft.com/office/drawing/2014/main" id="{4B0F828B-77BB-BA90-D2B7-599AB6FF67B7}"/>
              </a:ext>
            </a:extLst>
          </p:cNvPr>
          <p:cNvSpPr txBox="1"/>
          <p:nvPr userDrawn="1"/>
        </p:nvSpPr>
        <p:spPr>
          <a:xfrm>
            <a:off x="10016263" y="6135687"/>
            <a:ext cx="1338501" cy="250342"/>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4108735262"/>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16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erson holding a baby&#10;&#10;Description automatically generated">
            <a:extLst>
              <a:ext uri="{FF2B5EF4-FFF2-40B4-BE49-F238E27FC236}">
                <a16:creationId xmlns:a16="http://schemas.microsoft.com/office/drawing/2014/main" id="{53C770BD-5DBF-4945-5812-A404898B99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70000"/>
            <a:ext cx="12192000" cy="812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429422153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type="title" preserve="1">
  <p:cSld name="10_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457203"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39071875"/>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Section Header_light blue+imag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person&#10;&#10;Description automatically generated">
            <a:extLst>
              <a:ext uri="{FF2B5EF4-FFF2-40B4-BE49-F238E27FC236}">
                <a16:creationId xmlns:a16="http://schemas.microsoft.com/office/drawing/2014/main" id="{358AE12E-C068-CD44-A709-794E11A2B708}"/>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089499" y="-51762"/>
            <a:ext cx="11102500" cy="6909762"/>
          </a:xfrm>
          <a:prstGeom prst="rect">
            <a:avLst/>
          </a:prstGeom>
        </p:spPr>
      </p:pic>
      <p:pic>
        <p:nvPicPr>
          <p:cNvPr id="9" name="Picture 8" descr="World Health Organization logo ">
            <a:extLst>
              <a:ext uri="{FF2B5EF4-FFF2-40B4-BE49-F238E27FC236}">
                <a16:creationId xmlns:a16="http://schemas.microsoft.com/office/drawing/2014/main" id="{185721B3-1393-424A-8F5B-131AC8625327}"/>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1286941257"/>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6_Section Header_photo">
    <p:bg>
      <p:bgPr>
        <a:solidFill>
          <a:srgbClr val="00205C"/>
        </a:solidFill>
        <a:effectLst/>
      </p:bgPr>
    </p:bg>
    <p:spTree>
      <p:nvGrpSpPr>
        <p:cNvPr id="1" name=""/>
        <p:cNvGrpSpPr/>
        <p:nvPr/>
      </p:nvGrpSpPr>
      <p:grpSpPr>
        <a:xfrm>
          <a:off x="0" y="0"/>
          <a:ext cx="0" cy="0"/>
          <a:chOff x="0" y="0"/>
          <a:chExt cx="0" cy="0"/>
        </a:xfrm>
      </p:grpSpPr>
      <p:pic>
        <p:nvPicPr>
          <p:cNvPr id="7" name="Picture 6" descr="A baby in a sling&#10;&#10;Description automatically generated">
            <a:extLst>
              <a:ext uri="{FF2B5EF4-FFF2-40B4-BE49-F238E27FC236}">
                <a16:creationId xmlns:a16="http://schemas.microsoft.com/office/drawing/2014/main" id="{B8D682DD-CAC3-32E5-6428-3BCC23A97A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12754429" cy="6858000"/>
          </a:xfrm>
          <a:prstGeom prst="rect">
            <a:avLst/>
          </a:prstGeom>
          <a:scene3d>
            <a:camera prst="orthographicFront">
              <a:rot lat="0" lon="10800000" rev="0"/>
            </a:camera>
            <a:lightRig rig="threePt" dir="t"/>
          </a:scene3d>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9460"/>
          </a:xfrm>
          <a:solidFill>
            <a:srgbClr val="C9DDF3">
              <a:alpha val="80000"/>
            </a:srgbClr>
          </a:solidFill>
        </p:spPr>
        <p:txBody>
          <a:bodyPr lIns="144000" anchor="t" anchorCtr="0">
            <a:spAutoFit/>
          </a:bodyPr>
          <a:lstStyle>
            <a:lvl1pPr>
              <a:defRPr sz="6000">
                <a:solidFill>
                  <a:schemeClr val="tx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9F263B6D-8996-474F-BAA8-575C05E6660E}"/>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623721477"/>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6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baby in a person's lap&#10;&#10;Description automatically generated">
            <a:extLst>
              <a:ext uri="{FF2B5EF4-FFF2-40B4-BE49-F238E27FC236}">
                <a16:creationId xmlns:a16="http://schemas.microsoft.com/office/drawing/2014/main" id="{F73FD628-13A6-97AD-F2E8-3C9FE0F1BCD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886" y="0"/>
            <a:ext cx="12181115" cy="6858000"/>
          </a:xfrm>
          <a:prstGeom prst="rect">
            <a:avLst/>
          </a:prstGeom>
          <a:scene3d>
            <a:camera prst="orthographicFront">
              <a:rot lat="0" lon="10800000" rev="0"/>
            </a:camera>
            <a:lightRig rig="threePt" dir="t"/>
          </a:scene3d>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9460"/>
          </a:xfrm>
          <a:solidFill>
            <a:srgbClr val="C9DDF3">
              <a:alpha val="80000"/>
            </a:srgbClr>
          </a:solidFill>
        </p:spPr>
        <p:txBody>
          <a:bodyPr lIns="144000" anchor="t" anchorCtr="0">
            <a:spAutoFit/>
          </a:bodyPr>
          <a:lstStyle>
            <a:lvl1pPr>
              <a:defRPr sz="6000">
                <a:solidFill>
                  <a:schemeClr val="tx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9F263B6D-8996-474F-BAA8-575C05E6660E}"/>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012782339"/>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35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group of young people in uniform sitting at a table&#10;&#10;Description automatically generated">
            <a:extLst>
              <a:ext uri="{FF2B5EF4-FFF2-40B4-BE49-F238E27FC236}">
                <a16:creationId xmlns:a16="http://schemas.microsoft.com/office/drawing/2014/main" id="{8A36E7A3-789D-8A78-BCEB-AF764E2C94E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a:scene3d>
            <a:camera prst="orthographicFront">
              <a:rot lat="0" lon="10800000" rev="0"/>
            </a:camera>
            <a:lightRig rig="threePt" dir="t"/>
          </a:scene3d>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9460"/>
          </a:xfrm>
          <a:solidFill>
            <a:srgbClr val="C9DDF3">
              <a:alpha val="80000"/>
            </a:srgbClr>
          </a:solidFill>
        </p:spPr>
        <p:txBody>
          <a:bodyPr lIns="144000" anchor="t" anchorCtr="0">
            <a:spAutoFit/>
          </a:bodyPr>
          <a:lstStyle>
            <a:lvl1pPr>
              <a:defRPr sz="6000">
                <a:solidFill>
                  <a:schemeClr val="tx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9F263B6D-8996-474F-BAA8-575C05E6660E}"/>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8136103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05820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21_Section Header_photo">
    <p:bg>
      <p:bgPr>
        <a:solidFill>
          <a:srgbClr val="00205C"/>
        </a:solidFill>
        <a:effectLst/>
      </p:bgPr>
    </p:bg>
    <p:spTree>
      <p:nvGrpSpPr>
        <p:cNvPr id="1" name=""/>
        <p:cNvGrpSpPr/>
        <p:nvPr/>
      </p:nvGrpSpPr>
      <p:grpSpPr>
        <a:xfrm>
          <a:off x="0" y="0"/>
          <a:ext cx="0" cy="0"/>
          <a:chOff x="0" y="0"/>
          <a:chExt cx="0" cy="0"/>
        </a:xfrm>
      </p:grpSpPr>
      <p:pic>
        <p:nvPicPr>
          <p:cNvPr id="7" name="Picture 6" descr="A person holding a child&#10;&#10;Description automatically generated">
            <a:extLst>
              <a:ext uri="{FF2B5EF4-FFF2-40B4-BE49-F238E27FC236}">
                <a16:creationId xmlns:a16="http://schemas.microsoft.com/office/drawing/2014/main" id="{35BF8996-0BEC-30AC-1882-BA0DC7E6C9D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3543"/>
            <a:ext cx="12230098" cy="6901543"/>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11277599" cy="830997"/>
          </a:xfrm>
          <a:solidFill>
            <a:srgbClr val="DDEFF9">
              <a:alpha val="80000"/>
            </a:srgbClr>
          </a:solidFill>
        </p:spPr>
        <p:txBody>
          <a:bodyPr wrap="square"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4069932220"/>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7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erson holding a baby&#10;&#10;Description automatically generated">
            <a:extLst>
              <a:ext uri="{FF2B5EF4-FFF2-40B4-BE49-F238E27FC236}">
                <a16:creationId xmlns:a16="http://schemas.microsoft.com/office/drawing/2014/main" id="{191C3965-655A-3B7C-9793-866C81C0D5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122" y="0"/>
            <a:ext cx="12230100" cy="81534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11277599" cy="830997"/>
          </a:xfrm>
          <a:solidFill>
            <a:srgbClr val="DDEFF9">
              <a:alpha val="80000"/>
            </a:srgbClr>
          </a:solidFill>
        </p:spPr>
        <p:txBody>
          <a:bodyPr wrap="square"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594458375"/>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9_Section Header_photo">
    <p:bg>
      <p:bgPr>
        <a:solidFill>
          <a:srgbClr val="00205C"/>
        </a:solidFill>
        <a:effectLst/>
      </p:bgPr>
    </p:bg>
    <p:spTree>
      <p:nvGrpSpPr>
        <p:cNvPr id="1" name=""/>
        <p:cNvGrpSpPr/>
        <p:nvPr/>
      </p:nvGrpSpPr>
      <p:grpSpPr>
        <a:xfrm>
          <a:off x="0" y="0"/>
          <a:ext cx="0" cy="0"/>
          <a:chOff x="0" y="0"/>
          <a:chExt cx="0" cy="0"/>
        </a:xfrm>
      </p:grpSpPr>
      <p:pic>
        <p:nvPicPr>
          <p:cNvPr id="7" name="Picture 6" descr="A person holding a swab&#10;&#10;Description automatically generated">
            <a:extLst>
              <a:ext uri="{FF2B5EF4-FFF2-40B4-BE49-F238E27FC236}">
                <a16:creationId xmlns:a16="http://schemas.microsoft.com/office/drawing/2014/main" id="{8156625D-DD0E-151B-AF6B-9F36826B4F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88682"/>
            <a:ext cx="12224656" cy="8149771"/>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11277599" cy="830997"/>
          </a:xfrm>
          <a:solidFill>
            <a:srgbClr val="DDEFF9">
              <a:alpha val="80000"/>
            </a:srgbClr>
          </a:solidFill>
        </p:spPr>
        <p:txBody>
          <a:bodyPr wrap="square"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098212573"/>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8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1"/>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D8591945-98AC-6ECD-0960-38810276F979}"/>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245668519"/>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10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erson holding a baby&#10;&#10;Description automatically generated">
            <a:extLst>
              <a:ext uri="{FF2B5EF4-FFF2-40B4-BE49-F238E27FC236}">
                <a16:creationId xmlns:a16="http://schemas.microsoft.com/office/drawing/2014/main" id="{798C6197-AABF-DFF7-783E-5597F96A188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50796"/>
            <a:ext cx="12192000" cy="6908796"/>
          </a:xfrm>
          <a:prstGeom prst="rect">
            <a:avLst/>
          </a:prstGeom>
          <a:scene3d>
            <a:camera prst="orthographicFront">
              <a:rot lat="0" lon="10800000" rev="0"/>
            </a:camera>
            <a:lightRig rig="threePt" dir="t"/>
          </a:scene3d>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0C9FB247-3197-0943-93E9-189420DEBDE5}"/>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755241570"/>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13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69980E6F-8A3C-16B6-F34B-10A38190A996}"/>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3804148686"/>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15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baby holding a toy&#10;&#10;Description automatically generated">
            <a:extLst>
              <a:ext uri="{FF2B5EF4-FFF2-40B4-BE49-F238E27FC236}">
                <a16:creationId xmlns:a16="http://schemas.microsoft.com/office/drawing/2014/main" id="{E882CBE8-29C1-369F-46AB-1BA790BDDA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2"/>
            <a:ext cx="12192004" cy="8128002"/>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6982691" cy="1669470"/>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851683820"/>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20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erson holding a baby&#10;&#10;Description automatically generated">
            <a:extLst>
              <a:ext uri="{FF2B5EF4-FFF2-40B4-BE49-F238E27FC236}">
                <a16:creationId xmlns:a16="http://schemas.microsoft.com/office/drawing/2014/main" id="{53C770BD-5DBF-4945-5812-A404898B99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70000"/>
            <a:ext cx="12192000" cy="812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678370607"/>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12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erson holding a baby&#10;&#10;Description automatically generated">
            <a:extLst>
              <a:ext uri="{FF2B5EF4-FFF2-40B4-BE49-F238E27FC236}">
                <a16:creationId xmlns:a16="http://schemas.microsoft.com/office/drawing/2014/main" id="{40DAEF88-6D5D-1D36-24B3-442C482C96A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3091" y="0"/>
            <a:ext cx="12182898"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652B58DC-A02B-F0B1-89A3-2012646CE314}"/>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4116489017"/>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11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61725774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11536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17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23453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2023805792"/>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18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erson carrying a baby&#10;&#10;Description automatically generated">
            <a:extLst>
              <a:ext uri="{FF2B5EF4-FFF2-40B4-BE49-F238E27FC236}">
                <a16:creationId xmlns:a16="http://schemas.microsoft.com/office/drawing/2014/main" id="{B81B3C39-7E80-8C3D-2774-BB690A49BC2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a:scene3d>
            <a:camera prst="orthographicFront">
              <a:rot lat="0" lon="10800000" rev="0"/>
            </a:camera>
            <a:lightRig rig="threePt" dir="t"/>
          </a:scene3d>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492990"/>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60547652"/>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19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743200"/>
          </a:xfrm>
          <a:solidFill>
            <a:srgbClr val="C9DDF3">
              <a:alpha val="80000"/>
            </a:srgbClr>
          </a:solidFill>
        </p:spPr>
        <p:txBody>
          <a:bodyPr lIns="144000"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5" y="6000906"/>
            <a:ext cx="1828795" cy="556812"/>
          </a:xfrm>
          <a:prstGeom prst="rect">
            <a:avLst/>
          </a:prstGeom>
        </p:spPr>
      </p:pic>
    </p:spTree>
    <p:extLst>
      <p:ext uri="{BB962C8B-B14F-4D97-AF65-F5344CB8AC3E}">
        <p14:creationId xmlns:p14="http://schemas.microsoft.com/office/powerpoint/2010/main" val="1877895508"/>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title" preserve="1">
  <p:cSld name="8_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extLst>
              <a:ext uri="{28A0092B-C50C-407E-A947-70E740481C1C}">
                <a14:useLocalDpi xmlns:a14="http://schemas.microsoft.com/office/drawing/2010/main"/>
              </a:ext>
            </a:extLst>
          </a:blip>
          <a:stretch>
            <a:fillRect/>
          </a:stretch>
        </p:blipFill>
        <p:spPr>
          <a:xfrm>
            <a:off x="0" y="63737"/>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pic>
        <p:nvPicPr>
          <p:cNvPr id="10" name="Picture 9" descr="A child holding a purse&#10;&#10;Description automatically generated">
            <a:extLst>
              <a:ext uri="{FF2B5EF4-FFF2-40B4-BE49-F238E27FC236}">
                <a16:creationId xmlns:a16="http://schemas.microsoft.com/office/drawing/2014/main" id="{55D1382C-C560-5F40-7271-92F6CB1AE73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403691" y="-901496"/>
            <a:ext cx="4788310" cy="8133663"/>
          </a:xfrm>
          <a:prstGeom prst="rect">
            <a:avLst/>
          </a:prstGeom>
        </p:spPr>
      </p:pic>
      <p:sp>
        <p:nvSpPr>
          <p:cNvPr id="11" name="Google Shape;526;p1">
            <a:extLst>
              <a:ext uri="{FF2B5EF4-FFF2-40B4-BE49-F238E27FC236}">
                <a16:creationId xmlns:a16="http://schemas.microsoft.com/office/drawing/2014/main" id="{51E0F840-DF28-BA13-F7C4-9F13626AD3F7}"/>
              </a:ext>
            </a:extLst>
          </p:cNvPr>
          <p:cNvSpPr txBox="1"/>
          <p:nvPr userDrawn="1"/>
        </p:nvSpPr>
        <p:spPr>
          <a:xfrm>
            <a:off x="10010775" y="6393969"/>
            <a:ext cx="1343990" cy="324091"/>
          </a:xfrm>
          <a:prstGeom prst="rect">
            <a:avLst/>
          </a:prstGeom>
          <a:noFill/>
          <a:ln>
            <a:noFill/>
          </a:ln>
        </p:spPr>
        <p:txBody>
          <a:bodyPr spcFirstLastPara="1" wrap="square" lIns="0" tIns="0" rIns="17999" bIns="0" anchor="t" anchorCtr="0">
            <a:noAutofit/>
          </a:bodyPr>
          <a:lstStyle/>
          <a:p>
            <a:pPr marL="0" marR="0" lvl="0" indent="0" algn="l"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3928261251"/>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title" preserve="1">
  <p:cSld name="7_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5852984"/>
            <a:ext cx="2314637" cy="704735"/>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pic>
        <p:nvPicPr>
          <p:cNvPr id="6" name="Picture 5" descr="A person holding a baby&#10;&#10;Description automatically generated">
            <a:extLst>
              <a:ext uri="{FF2B5EF4-FFF2-40B4-BE49-F238E27FC236}">
                <a16:creationId xmlns:a16="http://schemas.microsoft.com/office/drawing/2014/main" id="{9D0A83BF-A9CB-6FB8-4B45-B68E5D4D6126}"/>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924045" y="-1"/>
            <a:ext cx="10286998" cy="6857998"/>
          </a:xfrm>
          <a:prstGeom prst="rect">
            <a:avLst/>
          </a:prstGeom>
        </p:spPr>
      </p:pic>
      <p:sp>
        <p:nvSpPr>
          <p:cNvPr id="8" name="Google Shape;526;p1">
            <a:extLst>
              <a:ext uri="{FF2B5EF4-FFF2-40B4-BE49-F238E27FC236}">
                <a16:creationId xmlns:a16="http://schemas.microsoft.com/office/drawing/2014/main" id="{03E3CDFA-38B3-8A70-7134-D3AF15C85532}"/>
              </a:ext>
            </a:extLst>
          </p:cNvPr>
          <p:cNvSpPr txBox="1"/>
          <p:nvPr userDrawn="1"/>
        </p:nvSpPr>
        <p:spPr>
          <a:xfrm>
            <a:off x="10010775" y="6393969"/>
            <a:ext cx="1343990" cy="324091"/>
          </a:xfrm>
          <a:prstGeom prst="rect">
            <a:avLst/>
          </a:prstGeom>
          <a:noFill/>
          <a:ln>
            <a:noFill/>
          </a:ln>
        </p:spPr>
        <p:txBody>
          <a:bodyPr spcFirstLastPara="1" wrap="square" lIns="0" tIns="0" rIns="17999" bIns="0" anchor="t" anchorCtr="0">
            <a:noAutofit/>
          </a:bodyPr>
          <a:lstStyle/>
          <a:p>
            <a:pPr marL="0" marR="0" lvl="0" indent="0" algn="l"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3263687597"/>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6_Section Header_light blue">
    <p:bg>
      <p:bgPr>
        <a:solidFill>
          <a:srgbClr val="DDEFF9"/>
        </a:solidFill>
        <a:effectLst/>
      </p:bgPr>
    </p:bg>
    <p:spTree>
      <p:nvGrpSpPr>
        <p:cNvPr id="1" name=""/>
        <p:cNvGrpSpPr/>
        <p:nvPr/>
      </p:nvGrpSpPr>
      <p:grpSpPr>
        <a:xfrm>
          <a:off x="0" y="0"/>
          <a:ext cx="0" cy="0"/>
          <a:chOff x="0" y="0"/>
          <a:chExt cx="0" cy="0"/>
        </a:xfrm>
      </p:grpSpPr>
      <p:pic>
        <p:nvPicPr>
          <p:cNvPr id="13" name="Picture 12" descr="A young child with her hand on her chin&#10;&#10;Description automatically generated">
            <a:extLst>
              <a:ext uri="{FF2B5EF4-FFF2-40B4-BE49-F238E27FC236}">
                <a16:creationId xmlns:a16="http://schemas.microsoft.com/office/drawing/2014/main" id="{FBC864D8-893D-4898-3D2C-E3B4F88C7A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09442" y="-1228249"/>
            <a:ext cx="7482558" cy="893445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D1B0992-9F08-4D46-9772-C6DCA591D5B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
        <p:nvSpPr>
          <p:cNvPr id="11" name="Google Shape;526;p1">
            <a:extLst>
              <a:ext uri="{FF2B5EF4-FFF2-40B4-BE49-F238E27FC236}">
                <a16:creationId xmlns:a16="http://schemas.microsoft.com/office/drawing/2014/main" id="{040C3272-5E0E-14E5-4A47-96DC61286F37}"/>
              </a:ext>
            </a:extLst>
          </p:cNvPr>
          <p:cNvSpPr txBox="1"/>
          <p:nvPr userDrawn="1"/>
        </p:nvSpPr>
        <p:spPr>
          <a:xfrm>
            <a:off x="10202117" y="6146118"/>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schemeClr val="bg1">
                    <a:lumMod val="65000"/>
                  </a:schemeClr>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schemeClr val="bg1">
                    <a:lumMod val="65000"/>
                  </a:schemeClr>
                </a:solidFill>
                <a:effectLst/>
                <a:uLnTx/>
                <a:uFillTx/>
                <a:latin typeface="Arial"/>
                <a:ea typeface="Arial"/>
                <a:cs typeface="Arial"/>
                <a:sym typeface="Arial"/>
              </a:rPr>
              <a:t>F.</a:t>
            </a:r>
            <a:r>
              <a:rPr kumimoji="0" lang="en-US" sz="900" b="0" i="0" u="none" strike="noStrike" kern="1200" cap="none" spc="0" normalizeH="0" baseline="0" noProof="0" err="1">
                <a:ln>
                  <a:noFill/>
                </a:ln>
                <a:solidFill>
                  <a:schemeClr val="bg1">
                    <a:lumMod val="65000"/>
                  </a:schemeClr>
                </a:solidFill>
                <a:effectLst/>
                <a:uLnTx/>
                <a:uFillTx/>
                <a:latin typeface="+mn-lt"/>
                <a:ea typeface="Arial"/>
                <a:cs typeface="Arial"/>
                <a:sym typeface="Arial"/>
              </a:rPr>
              <a:t>Combrink</a:t>
            </a:r>
            <a:endParaRPr kumimoji="0" sz="800" b="0" i="0" u="none" strike="noStrike" kern="1200" cap="none" spc="0" normalizeH="0" baseline="0" noProof="0">
              <a:ln>
                <a:noFill/>
              </a:ln>
              <a:solidFill>
                <a:schemeClr val="bg1">
                  <a:lumMod val="65000"/>
                </a:schemeClr>
              </a:solidFill>
              <a:effectLst/>
              <a:uLnTx/>
              <a:uFillTx/>
              <a:latin typeface="+mn-lt"/>
              <a:ea typeface="Arial"/>
              <a:cs typeface="Arial"/>
              <a:sym typeface="Arial"/>
            </a:endParaRPr>
          </a:p>
        </p:txBody>
      </p:sp>
    </p:spTree>
    <p:extLst>
      <p:ext uri="{BB962C8B-B14F-4D97-AF65-F5344CB8AC3E}">
        <p14:creationId xmlns:p14="http://schemas.microsoft.com/office/powerpoint/2010/main" val="3590808781"/>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28_Section Header_photo">
    <p:bg>
      <p:bgPr>
        <a:solidFill>
          <a:srgbClr val="00205C"/>
        </a:solidFill>
        <a:effectLst/>
      </p:bgPr>
    </p:bg>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6FB2C270-C8D1-73A5-07D9-C3B5DF32384F}"/>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742973" cy="1661993"/>
          </a:xfrm>
          <a:solidFill>
            <a:srgbClr val="DDEFF9">
              <a:alpha val="80000"/>
            </a:srgbClr>
          </a:solidFill>
        </p:spPr>
        <p:txBody>
          <a:bodyPr wrap="square"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3" name="Google Shape;526;p1">
            <a:extLst>
              <a:ext uri="{FF2B5EF4-FFF2-40B4-BE49-F238E27FC236}">
                <a16:creationId xmlns:a16="http://schemas.microsoft.com/office/drawing/2014/main" id="{0CAAE586-5B1B-8248-5687-DE1CB89F988B}"/>
              </a:ext>
            </a:extLst>
          </p:cNvPr>
          <p:cNvSpPr txBox="1"/>
          <p:nvPr userDrawn="1"/>
        </p:nvSpPr>
        <p:spPr>
          <a:xfrm>
            <a:off x="9822084" y="6596850"/>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556429793"/>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userDrawn="1">
  <p:cSld name="33_Section Header_photo">
    <p:bg>
      <p:bgPr>
        <a:solidFill>
          <a:srgbClr val="00205C"/>
        </a:solidFill>
        <a:effectLst/>
      </p:bgPr>
    </p:bg>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A8DE7688-6F3A-DE09-02B0-793F7FAC743E}"/>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 y="0"/>
            <a:ext cx="12192000" cy="6858000"/>
          </a:xfrm>
          <a:prstGeom prst="rect">
            <a:avLst/>
          </a:prstGeom>
          <a:noFill/>
          <a:scene3d>
            <a:camera prst="orthographicFront">
              <a:rot lat="0" lon="10800000" rev="0"/>
            </a:camera>
            <a:lightRig rig="threePt" dir="t"/>
          </a:scene3d>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7" name="Google Shape;526;p1">
            <a:extLst>
              <a:ext uri="{FF2B5EF4-FFF2-40B4-BE49-F238E27FC236}">
                <a16:creationId xmlns:a16="http://schemas.microsoft.com/office/drawing/2014/main" id="{3461D3A8-9710-2428-FC52-04367891711E}"/>
              </a:ext>
            </a:extLst>
          </p:cNvPr>
          <p:cNvSpPr txBox="1"/>
          <p:nvPr userDrawn="1"/>
        </p:nvSpPr>
        <p:spPr>
          <a:xfrm>
            <a:off x="9822084" y="6596850"/>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1695334429"/>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userDrawn="1">
  <p:cSld name="38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erson holding a baby&#10;&#10;Description automatically generated">
            <a:extLst>
              <a:ext uri="{FF2B5EF4-FFF2-40B4-BE49-F238E27FC236}">
                <a16:creationId xmlns:a16="http://schemas.microsoft.com/office/drawing/2014/main" id="{B1DD345D-0316-3834-944A-1498196A370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199" y="685801"/>
            <a:ext cx="11277600" cy="830997"/>
          </a:xfrm>
          <a:solidFill>
            <a:srgbClr val="DDEFF9">
              <a:alpha val="80000"/>
            </a:srgbClr>
          </a:solidFill>
        </p:spPr>
        <p:txBody>
          <a:bodyPr wrap="square"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p:blipFill>
        <p:spPr>
          <a:xfrm>
            <a:off x="457203" y="6000906"/>
            <a:ext cx="1828798" cy="556812"/>
          </a:xfrm>
          <a:prstGeom prst="rect">
            <a:avLst/>
          </a:prstGeom>
        </p:spPr>
      </p:pic>
      <p:sp>
        <p:nvSpPr>
          <p:cNvPr id="3" name="Google Shape;526;p1">
            <a:extLst>
              <a:ext uri="{FF2B5EF4-FFF2-40B4-BE49-F238E27FC236}">
                <a16:creationId xmlns:a16="http://schemas.microsoft.com/office/drawing/2014/main" id="{0CAAE586-5B1B-8248-5687-DE1CB89F988B}"/>
              </a:ext>
            </a:extLst>
          </p:cNvPr>
          <p:cNvSpPr txBox="1"/>
          <p:nvPr userDrawn="1"/>
        </p:nvSpPr>
        <p:spPr>
          <a:xfrm>
            <a:off x="9822084" y="6596850"/>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Neil Thomas.</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3997594045"/>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31_Section Header_photo">
    <p:bg>
      <p:bgPr>
        <a:solidFill>
          <a:srgbClr val="00205C"/>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72CA3C-815F-5594-C8BC-F4CDAEAF4A62}"/>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7" name="Google Shape;526;p1">
            <a:extLst>
              <a:ext uri="{FF2B5EF4-FFF2-40B4-BE49-F238E27FC236}">
                <a16:creationId xmlns:a16="http://schemas.microsoft.com/office/drawing/2014/main" id="{3461D3A8-9710-2428-FC52-04367891711E}"/>
              </a:ext>
            </a:extLst>
          </p:cNvPr>
          <p:cNvSpPr txBox="1"/>
          <p:nvPr userDrawn="1"/>
        </p:nvSpPr>
        <p:spPr>
          <a:xfrm>
            <a:off x="9822084" y="6596850"/>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662368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
        <p:nvSpPr>
          <p:cNvPr id="2" name="Rectangle 1">
            <a:extLst>
              <a:ext uri="{FF2B5EF4-FFF2-40B4-BE49-F238E27FC236}">
                <a16:creationId xmlns:a16="http://schemas.microsoft.com/office/drawing/2014/main" id="{357D68A5-7178-5A19-A31E-F3E4672298C5}"/>
              </a:ext>
            </a:extLst>
          </p:cNvPr>
          <p:cNvSpPr/>
          <p:nvPr userDrawn="1"/>
        </p:nvSpPr>
        <p:spPr>
          <a:xfrm>
            <a:off x="288052" y="6005277"/>
            <a:ext cx="2489121" cy="698651"/>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Tree>
    <p:extLst>
      <p:ext uri="{BB962C8B-B14F-4D97-AF65-F5344CB8AC3E}">
        <p14:creationId xmlns:p14="http://schemas.microsoft.com/office/powerpoint/2010/main" val="3356436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780.xml><?xml version="1.0" encoding="utf-8"?>
<p:sldLayout xmlns:a="http://schemas.openxmlformats.org/drawingml/2006/main" xmlns:r="http://schemas.openxmlformats.org/officeDocument/2006/relationships" xmlns:p="http://schemas.openxmlformats.org/presentationml/2006/main" userDrawn="1">
  <p:cSld name="32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erson holding a baby&#10;&#10;Description automatically generated">
            <a:extLst>
              <a:ext uri="{FF2B5EF4-FFF2-40B4-BE49-F238E27FC236}">
                <a16:creationId xmlns:a16="http://schemas.microsoft.com/office/drawing/2014/main" id="{53C770BD-5DBF-4945-5812-A404898B998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00"/>
            <a:ext cx="12192000" cy="812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841256222"/>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27_Section Header_photo">
    <p:bg>
      <p:bgPr>
        <a:solidFill>
          <a:srgbClr val="00205C"/>
        </a:solidFill>
        <a:effectLst/>
      </p:bgPr>
    </p:bg>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79EA989D-8F26-F9AD-5178-23B9992AEFAF}"/>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228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199" y="685801"/>
            <a:ext cx="11277600" cy="830997"/>
          </a:xfrm>
          <a:solidFill>
            <a:srgbClr val="DDEFF9">
              <a:alpha val="80000"/>
            </a:srgbClr>
          </a:solidFill>
        </p:spPr>
        <p:txBody>
          <a:bodyPr wrap="square"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3" name="Google Shape;526;p1">
            <a:extLst>
              <a:ext uri="{FF2B5EF4-FFF2-40B4-BE49-F238E27FC236}">
                <a16:creationId xmlns:a16="http://schemas.microsoft.com/office/drawing/2014/main" id="{8D2ADF38-3C58-23AC-21DA-B2C0909750DB}"/>
              </a:ext>
            </a:extLst>
          </p:cNvPr>
          <p:cNvSpPr txBox="1"/>
          <p:nvPr userDrawn="1"/>
        </p:nvSpPr>
        <p:spPr>
          <a:xfrm>
            <a:off x="9822084" y="6596850"/>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1324842668"/>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26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erson holding a baby&#10;&#10;Description automatically generated">
            <a:extLst>
              <a:ext uri="{FF2B5EF4-FFF2-40B4-BE49-F238E27FC236}">
                <a16:creationId xmlns:a16="http://schemas.microsoft.com/office/drawing/2014/main" id="{53C770BD-5DBF-4945-5812-A404898B998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39268"/>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3" name="Google Shape;526;p1">
            <a:extLst>
              <a:ext uri="{FF2B5EF4-FFF2-40B4-BE49-F238E27FC236}">
                <a16:creationId xmlns:a16="http://schemas.microsoft.com/office/drawing/2014/main" id="{D04D7D92-ADD1-900B-24EF-9B8E0F052CF7}"/>
              </a:ext>
            </a:extLst>
          </p:cNvPr>
          <p:cNvSpPr txBox="1"/>
          <p:nvPr userDrawn="1"/>
        </p:nvSpPr>
        <p:spPr>
          <a:xfrm>
            <a:off x="9726834" y="6363802"/>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900" b="0" i="0" u="none" strike="noStrike" kern="1200" cap="none" spc="0" normalizeH="0" baseline="0" noProof="0">
                <a:ln>
                  <a:noFill/>
                </a:ln>
                <a:solidFill>
                  <a:prstClr val="white"/>
                </a:solidFill>
                <a:effectLst/>
                <a:uLnTx/>
                <a:uFillTx/>
                <a:latin typeface="+mn-lt"/>
                <a:ea typeface="Arial"/>
                <a:cs typeface="Arial"/>
                <a:sym typeface="Arial"/>
              </a:rPr>
              <a:t>Credit: WHO/</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F.Combrink</a:t>
            </a:r>
            <a:endParaRPr kumimoji="0" sz="9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2996749112"/>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24_Section Header_photo">
    <p:bg>
      <p:bgPr>
        <a:solidFill>
          <a:srgbClr val="00205C"/>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5BDAD5-8587-6D3B-F81B-ACA64B1057D1}"/>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l="-11343"/>
          <a:stretch/>
        </p:blipFill>
        <p:spPr bwMode="auto">
          <a:xfrm>
            <a:off x="-1409700" y="3704"/>
            <a:ext cx="13754100" cy="685429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11277599" cy="830997"/>
          </a:xfrm>
          <a:solidFill>
            <a:srgbClr val="C9DDF3">
              <a:alpha val="80000"/>
            </a:srgbClr>
          </a:solidFill>
        </p:spPr>
        <p:txBody>
          <a:bodyPr wrap="square"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3" y="6397385"/>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0C9FB247-3197-0943-93E9-189420DEBDE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7" name="Google Shape;526;p1">
            <a:extLst>
              <a:ext uri="{FF2B5EF4-FFF2-40B4-BE49-F238E27FC236}">
                <a16:creationId xmlns:a16="http://schemas.microsoft.com/office/drawing/2014/main" id="{FF7A7788-1A37-2F11-F6A2-38B102D41B32}"/>
              </a:ext>
            </a:extLst>
          </p:cNvPr>
          <p:cNvSpPr txBox="1"/>
          <p:nvPr userDrawn="1"/>
        </p:nvSpPr>
        <p:spPr>
          <a:xfrm>
            <a:off x="9822084" y="6596850"/>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2138745969"/>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23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erson holding a baby&#10;&#10;Description automatically generated">
            <a:extLst>
              <a:ext uri="{FF2B5EF4-FFF2-40B4-BE49-F238E27FC236}">
                <a16:creationId xmlns:a16="http://schemas.microsoft.com/office/drawing/2014/main" id="{53C770BD-5DBF-4945-5812-A404898B998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00"/>
            <a:ext cx="12192000" cy="812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3" name="Google Shape;526;p1">
            <a:extLst>
              <a:ext uri="{FF2B5EF4-FFF2-40B4-BE49-F238E27FC236}">
                <a16:creationId xmlns:a16="http://schemas.microsoft.com/office/drawing/2014/main" id="{D04D7D92-ADD1-900B-24EF-9B8E0F052CF7}"/>
              </a:ext>
            </a:extLst>
          </p:cNvPr>
          <p:cNvSpPr txBox="1"/>
          <p:nvPr userDrawn="1"/>
        </p:nvSpPr>
        <p:spPr>
          <a:xfrm>
            <a:off x="9822084" y="6596850"/>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3311135038"/>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userDrawn="1">
  <p:cSld name="34_Section Header_photo">
    <p:bg>
      <p:bgPr>
        <a:solidFill>
          <a:srgbClr val="00205C"/>
        </a:solidFill>
        <a:effectLst/>
      </p:bgPr>
    </p:bg>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175393D5-558B-28D2-0F78-64E897CC0FF1}"/>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0" y="18732"/>
            <a:ext cx="12192000" cy="6839268"/>
          </a:xfrm>
          <a:prstGeom prst="rect">
            <a:avLst/>
          </a:prstGeom>
          <a:noFill/>
          <a:scene3d>
            <a:camera prst="orthographicFront">
              <a:rot lat="0" lon="10800000" rev="0"/>
            </a:camera>
            <a:lightRig rig="threePt" dir="t"/>
          </a:scene3d>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9460"/>
          </a:xfrm>
          <a:solidFill>
            <a:srgbClr val="C9DDF3">
              <a:alpha val="80000"/>
            </a:srgbClr>
          </a:solidFill>
        </p:spPr>
        <p:txBody>
          <a:bodyPr lIns="144000" anchor="t" anchorCtr="0">
            <a:spAutoFit/>
          </a:bodyPr>
          <a:lstStyle>
            <a:lvl1pPr>
              <a:defRPr sz="6000">
                <a:solidFill>
                  <a:schemeClr val="tx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9F263B6D-8996-474F-BAA8-575C05E6660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57203" y="6000906"/>
            <a:ext cx="1828798" cy="556812"/>
          </a:xfrm>
          <a:prstGeom prst="rect">
            <a:avLst/>
          </a:prstGeom>
        </p:spPr>
      </p:pic>
      <p:sp>
        <p:nvSpPr>
          <p:cNvPr id="11" name="Google Shape;526;p1">
            <a:extLst>
              <a:ext uri="{FF2B5EF4-FFF2-40B4-BE49-F238E27FC236}">
                <a16:creationId xmlns:a16="http://schemas.microsoft.com/office/drawing/2014/main" id="{B3FD0AFD-5375-996E-1031-923EEBE49096}"/>
              </a:ext>
            </a:extLst>
          </p:cNvPr>
          <p:cNvSpPr txBox="1"/>
          <p:nvPr userDrawn="1"/>
        </p:nvSpPr>
        <p:spPr>
          <a:xfrm>
            <a:off x="9822084" y="6596850"/>
            <a:ext cx="1532681" cy="242418"/>
          </a:xfrm>
          <a:prstGeom prst="rect">
            <a:avLst/>
          </a:prstGeom>
          <a:noFill/>
          <a:ln>
            <a:noFill/>
          </a:ln>
        </p:spPr>
        <p:txBody>
          <a:bodyPr spcFirstLastPara="1" wrap="square" lIns="0" tIns="0" rIns="17999" bIns="0" anchor="t" anchorCtr="0">
            <a:noAutofit/>
          </a:bodyPr>
          <a:lstStyle/>
          <a:p>
            <a:pPr marL="0" marR="0" lvl="0" indent="0" algn="r" defTabSz="914358" rtl="0" eaLnBrk="1" fontAlgn="auto" latinLnBrk="0" hangingPunct="1">
              <a:lnSpc>
                <a:spcPct val="110000"/>
              </a:lnSpc>
              <a:spcBef>
                <a:spcPts val="0"/>
              </a:spcBef>
              <a:spcAft>
                <a:spcPts val="0"/>
              </a:spcAft>
              <a:buClr>
                <a:prstClr val="black"/>
              </a:buClr>
              <a:buSzPts val="800"/>
              <a:buFont typeface="Arial"/>
              <a:buNone/>
              <a:tabLst/>
              <a:defRPr/>
            </a:pPr>
            <a:r>
              <a:rPr kumimoji="0" lang="en-US" sz="800" b="0" i="0" u="none" strike="noStrike" kern="1200" cap="none" spc="0" normalizeH="0" baseline="0" noProof="0">
                <a:ln>
                  <a:noFill/>
                </a:ln>
                <a:solidFill>
                  <a:prstClr val="white"/>
                </a:solidFill>
                <a:effectLst/>
                <a:uLnTx/>
                <a:uFillTx/>
                <a:latin typeface="Arial"/>
                <a:ea typeface="Arial"/>
                <a:cs typeface="Arial"/>
                <a:sym typeface="Arial"/>
              </a:rPr>
              <a:t>Credit: WHO/</a:t>
            </a:r>
            <a:r>
              <a:rPr kumimoji="0" lang="en-US" sz="800" b="0" i="0" u="none" strike="noStrike" kern="1200" cap="none" spc="0" normalizeH="0" baseline="0" noProof="0" err="1">
                <a:ln>
                  <a:noFill/>
                </a:ln>
                <a:solidFill>
                  <a:prstClr val="white"/>
                </a:solidFill>
                <a:effectLst/>
                <a:uLnTx/>
                <a:uFillTx/>
                <a:latin typeface="Arial"/>
                <a:ea typeface="Arial"/>
                <a:cs typeface="Arial"/>
                <a:sym typeface="Arial"/>
              </a:rPr>
              <a:t>F.</a:t>
            </a:r>
            <a:r>
              <a:rPr kumimoji="0" lang="en-US" sz="900" b="0" i="0" u="none" strike="noStrike" kern="1200" cap="none" spc="0" normalizeH="0" baseline="0" noProof="0" err="1">
                <a:ln>
                  <a:noFill/>
                </a:ln>
                <a:solidFill>
                  <a:prstClr val="white"/>
                </a:solidFill>
                <a:effectLst/>
                <a:uLnTx/>
                <a:uFillTx/>
                <a:latin typeface="+mn-lt"/>
                <a:ea typeface="Arial"/>
                <a:cs typeface="Arial"/>
                <a:sym typeface="Arial"/>
              </a:rPr>
              <a:t>Combrink</a:t>
            </a:r>
            <a:endParaRPr kumimoji="0" sz="800" b="0" i="0" u="none" strike="noStrike" kern="1200" cap="none" spc="0" normalizeH="0" baseline="0" noProof="0">
              <a:ln>
                <a:noFill/>
              </a:ln>
              <a:solidFill>
                <a:prstClr val="white"/>
              </a:solidFill>
              <a:effectLst/>
              <a:uLnTx/>
              <a:uFillTx/>
              <a:latin typeface="+mn-lt"/>
              <a:ea typeface="Arial"/>
              <a:cs typeface="Arial"/>
              <a:sym typeface="Arial"/>
            </a:endParaRPr>
          </a:p>
        </p:txBody>
      </p:sp>
    </p:spTree>
    <p:extLst>
      <p:ext uri="{BB962C8B-B14F-4D97-AF65-F5344CB8AC3E}">
        <p14:creationId xmlns:p14="http://schemas.microsoft.com/office/powerpoint/2010/main" val="508027103"/>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E90FF-4B00-460D-9ABB-BF3078CB7E72}"/>
              </a:ext>
            </a:extLst>
          </p:cNvPr>
          <p:cNvSpPr>
            <a:spLocks noGrp="1"/>
          </p:cNvSpPr>
          <p:nvPr>
            <p:ph type="ctrTitle"/>
          </p:nvPr>
        </p:nvSpPr>
        <p:spPr>
          <a:xfrm>
            <a:off x="1524001"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7ED332A-F58A-46B5-A137-7E577E3702F2}"/>
              </a:ext>
            </a:extLst>
          </p:cNvPr>
          <p:cNvSpPr>
            <a:spLocks noGrp="1"/>
          </p:cNvSpPr>
          <p:nvPr>
            <p:ph type="subTitle" idx="1"/>
          </p:nvPr>
        </p:nvSpPr>
        <p:spPr>
          <a:xfrm>
            <a:off x="1524001" y="3602038"/>
            <a:ext cx="9144000" cy="1655762"/>
          </a:xfrm>
        </p:spPr>
        <p:txBody>
          <a:bodyPr/>
          <a:lstStyle>
            <a:lvl1pPr marL="0" indent="0" algn="ctr">
              <a:buNone/>
              <a:defRPr sz="2400"/>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306AD81-3794-4DFE-8641-23ED45032A72}"/>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D77FB749-4371-4025-B2FC-860CC10DF882}"/>
              </a:ext>
            </a:extLst>
          </p:cNvPr>
          <p:cNvSpPr>
            <a:spLocks noGrp="1"/>
          </p:cNvSpPr>
          <p:nvPr>
            <p:ph type="ftr" sz="quarter" idx="11"/>
          </p:nvPr>
        </p:nvSpPr>
        <p:spPr/>
        <p:txBody>
          <a:bodyPr/>
          <a:lstStyle/>
          <a:p>
            <a:r>
              <a:rPr lang="en-US"/>
              <a:t>Joint SAGE/MPAG session on malaria vaccines 3 vs 4 dose schedule, Sept 2025</a:t>
            </a:r>
            <a:endParaRPr lang="en-GB"/>
          </a:p>
        </p:txBody>
      </p:sp>
      <p:sp>
        <p:nvSpPr>
          <p:cNvPr id="6" name="Slide Number Placeholder 5">
            <a:extLst>
              <a:ext uri="{FF2B5EF4-FFF2-40B4-BE49-F238E27FC236}">
                <a16:creationId xmlns:a16="http://schemas.microsoft.com/office/drawing/2014/main" id="{79DB5BB1-AFA3-4748-A53A-D15D93DEEED9}"/>
              </a:ext>
            </a:extLst>
          </p:cNvPr>
          <p:cNvSpPr>
            <a:spLocks noGrp="1"/>
          </p:cNvSpPr>
          <p:nvPr>
            <p:ph type="sldNum" sz="quarter" idx="12"/>
          </p:nvPr>
        </p:nvSpPr>
        <p:spPr/>
        <p:txBody>
          <a:bodyPr/>
          <a:lstStyle/>
          <a:p>
            <a:fld id="{6F789369-E377-4DCE-A813-49D05CD88A1A}" type="slidenum">
              <a:rPr lang="en-GB" smtClean="0"/>
              <a:t>‹#›</a:t>
            </a:fld>
            <a:endParaRPr lang="en-GB"/>
          </a:p>
        </p:txBody>
      </p:sp>
    </p:spTree>
    <p:extLst>
      <p:ext uri="{BB962C8B-B14F-4D97-AF65-F5344CB8AC3E}">
        <p14:creationId xmlns:p14="http://schemas.microsoft.com/office/powerpoint/2010/main" val="3821397402"/>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E211F-8ED5-44B7-9B90-F27A51C3C76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B65DB07-4B7C-4A41-B1EF-1C0795210D2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2FDBF43-C57A-4F8D-9EC9-C10B1902BFAE}"/>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FAB4561A-D1E6-4FE8-B5B2-D4E44CF8F6A4}"/>
              </a:ext>
            </a:extLst>
          </p:cNvPr>
          <p:cNvSpPr>
            <a:spLocks noGrp="1"/>
          </p:cNvSpPr>
          <p:nvPr>
            <p:ph type="ftr" sz="quarter" idx="11"/>
          </p:nvPr>
        </p:nvSpPr>
        <p:spPr/>
        <p:txBody>
          <a:bodyPr/>
          <a:lstStyle/>
          <a:p>
            <a:r>
              <a:rPr lang="en-US"/>
              <a:t>Joint SAGE/MPAG session on malaria vaccines 3 vs 4 dose schedule, Sept 2025</a:t>
            </a:r>
            <a:endParaRPr lang="en-GB"/>
          </a:p>
        </p:txBody>
      </p:sp>
      <p:sp>
        <p:nvSpPr>
          <p:cNvPr id="6" name="Slide Number Placeholder 5">
            <a:extLst>
              <a:ext uri="{FF2B5EF4-FFF2-40B4-BE49-F238E27FC236}">
                <a16:creationId xmlns:a16="http://schemas.microsoft.com/office/drawing/2014/main" id="{322FEDB3-C9C9-4EB5-B751-F0885FA10A9F}"/>
              </a:ext>
            </a:extLst>
          </p:cNvPr>
          <p:cNvSpPr>
            <a:spLocks noGrp="1"/>
          </p:cNvSpPr>
          <p:nvPr>
            <p:ph type="sldNum" sz="quarter" idx="12"/>
          </p:nvPr>
        </p:nvSpPr>
        <p:spPr/>
        <p:txBody>
          <a:bodyPr/>
          <a:lstStyle/>
          <a:p>
            <a:fld id="{6F789369-E377-4DCE-A813-49D05CD88A1A}" type="slidenum">
              <a:rPr lang="en-GB" smtClean="0"/>
              <a:t>‹#›</a:t>
            </a:fld>
            <a:endParaRPr lang="en-GB"/>
          </a:p>
        </p:txBody>
      </p:sp>
    </p:spTree>
    <p:extLst>
      <p:ext uri="{BB962C8B-B14F-4D97-AF65-F5344CB8AC3E}">
        <p14:creationId xmlns:p14="http://schemas.microsoft.com/office/powerpoint/2010/main" val="1515936121"/>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C204F-C559-4D49-BE81-DFDC441065C0}"/>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8115AE8-6BDC-4A96-A64A-D083379F4B92}"/>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79" indent="0">
              <a:buNone/>
              <a:defRPr sz="2000">
                <a:solidFill>
                  <a:schemeClr val="tx1">
                    <a:tint val="75000"/>
                  </a:schemeClr>
                </a:solidFill>
              </a:defRPr>
            </a:lvl2pPr>
            <a:lvl3pPr marL="914358" indent="0">
              <a:buNone/>
              <a:defRPr sz="1800">
                <a:solidFill>
                  <a:schemeClr val="tx1">
                    <a:tint val="75000"/>
                  </a:schemeClr>
                </a:solidFill>
              </a:defRPr>
            </a:lvl3pPr>
            <a:lvl4pPr marL="1371536" indent="0">
              <a:buNone/>
              <a:defRPr sz="1600">
                <a:solidFill>
                  <a:schemeClr val="tx1">
                    <a:tint val="75000"/>
                  </a:schemeClr>
                </a:solidFill>
              </a:defRPr>
            </a:lvl4pPr>
            <a:lvl5pPr marL="1828715" indent="0">
              <a:buNone/>
              <a:defRPr sz="1600">
                <a:solidFill>
                  <a:schemeClr val="tx1">
                    <a:tint val="75000"/>
                  </a:schemeClr>
                </a:solidFill>
              </a:defRPr>
            </a:lvl5pPr>
            <a:lvl6pPr marL="2285894" indent="0">
              <a:buNone/>
              <a:defRPr sz="1600">
                <a:solidFill>
                  <a:schemeClr val="tx1">
                    <a:tint val="75000"/>
                  </a:schemeClr>
                </a:solidFill>
              </a:defRPr>
            </a:lvl6pPr>
            <a:lvl7pPr marL="2743073" indent="0">
              <a:buNone/>
              <a:defRPr sz="1600">
                <a:solidFill>
                  <a:schemeClr val="tx1">
                    <a:tint val="75000"/>
                  </a:schemeClr>
                </a:solidFill>
              </a:defRPr>
            </a:lvl7pPr>
            <a:lvl8pPr marL="3200252" indent="0">
              <a:buNone/>
              <a:defRPr sz="1600">
                <a:solidFill>
                  <a:schemeClr val="tx1">
                    <a:tint val="75000"/>
                  </a:schemeClr>
                </a:solidFill>
              </a:defRPr>
            </a:lvl8pPr>
            <a:lvl9pPr marL="365743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25E3A7-25AB-4BFE-BD67-060CDC94BBC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9F472A0-ABFB-48CE-BABE-340D1DC6F0E3}"/>
              </a:ext>
            </a:extLst>
          </p:cNvPr>
          <p:cNvSpPr>
            <a:spLocks noGrp="1"/>
          </p:cNvSpPr>
          <p:nvPr>
            <p:ph type="ftr" sz="quarter" idx="11"/>
          </p:nvPr>
        </p:nvSpPr>
        <p:spPr/>
        <p:txBody>
          <a:bodyPr/>
          <a:lstStyle/>
          <a:p>
            <a:r>
              <a:rPr lang="en-US"/>
              <a:t>Joint SAGE/MPAG session on malaria vaccines 3 vs 4 dose schedule, Sept 2025</a:t>
            </a:r>
            <a:endParaRPr lang="en-GB"/>
          </a:p>
        </p:txBody>
      </p:sp>
      <p:sp>
        <p:nvSpPr>
          <p:cNvPr id="6" name="Slide Number Placeholder 5">
            <a:extLst>
              <a:ext uri="{FF2B5EF4-FFF2-40B4-BE49-F238E27FC236}">
                <a16:creationId xmlns:a16="http://schemas.microsoft.com/office/drawing/2014/main" id="{321A813B-2AA5-4487-A96B-EF3BF97B8971}"/>
              </a:ext>
            </a:extLst>
          </p:cNvPr>
          <p:cNvSpPr>
            <a:spLocks noGrp="1"/>
          </p:cNvSpPr>
          <p:nvPr>
            <p:ph type="sldNum" sz="quarter" idx="12"/>
          </p:nvPr>
        </p:nvSpPr>
        <p:spPr/>
        <p:txBody>
          <a:bodyPr/>
          <a:lstStyle/>
          <a:p>
            <a:fld id="{6F789369-E377-4DCE-A813-49D05CD88A1A}" type="slidenum">
              <a:rPr lang="en-GB" smtClean="0"/>
              <a:t>‹#›</a:t>
            </a:fld>
            <a:endParaRPr lang="en-GB"/>
          </a:p>
        </p:txBody>
      </p:sp>
    </p:spTree>
    <p:extLst>
      <p:ext uri="{BB962C8B-B14F-4D97-AF65-F5344CB8AC3E}">
        <p14:creationId xmlns:p14="http://schemas.microsoft.com/office/powerpoint/2010/main" val="591969759"/>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E1547-F3EE-4A49-8F77-0F33D2C69C5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8F3D871-CC7F-4670-BB1D-4744AB636F1C}"/>
              </a:ext>
            </a:extLst>
          </p:cNvPr>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AE062F3-2F92-453B-A295-7BEB4046DCE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64166C3-9066-4E64-85A9-A8F37B45C2A0}"/>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C501323D-F09D-460E-B11A-3AB93852D65E}"/>
              </a:ext>
            </a:extLst>
          </p:cNvPr>
          <p:cNvSpPr>
            <a:spLocks noGrp="1"/>
          </p:cNvSpPr>
          <p:nvPr>
            <p:ph type="ftr" sz="quarter" idx="11"/>
          </p:nvPr>
        </p:nvSpPr>
        <p:spPr/>
        <p:txBody>
          <a:bodyPr/>
          <a:lstStyle/>
          <a:p>
            <a:r>
              <a:rPr lang="en-US"/>
              <a:t>Joint SAGE/MPAG session on malaria vaccines 3 vs 4 dose schedule, Sept 2025</a:t>
            </a:r>
            <a:endParaRPr lang="en-GB"/>
          </a:p>
        </p:txBody>
      </p:sp>
      <p:sp>
        <p:nvSpPr>
          <p:cNvPr id="7" name="Slide Number Placeholder 6">
            <a:extLst>
              <a:ext uri="{FF2B5EF4-FFF2-40B4-BE49-F238E27FC236}">
                <a16:creationId xmlns:a16="http://schemas.microsoft.com/office/drawing/2014/main" id="{2B37194A-E498-47C7-BC9D-23A2AE7DDE19}"/>
              </a:ext>
            </a:extLst>
          </p:cNvPr>
          <p:cNvSpPr>
            <a:spLocks noGrp="1"/>
          </p:cNvSpPr>
          <p:nvPr>
            <p:ph type="sldNum" sz="quarter" idx="12"/>
          </p:nvPr>
        </p:nvSpPr>
        <p:spPr/>
        <p:txBody>
          <a:bodyPr/>
          <a:lstStyle/>
          <a:p>
            <a:fld id="{6F789369-E377-4DCE-A813-49D05CD88A1A}" type="slidenum">
              <a:rPr lang="en-GB" smtClean="0"/>
              <a:t>‹#›</a:t>
            </a:fld>
            <a:endParaRPr lang="en-GB"/>
          </a:p>
        </p:txBody>
      </p:sp>
    </p:spTree>
    <p:extLst>
      <p:ext uri="{BB962C8B-B14F-4D97-AF65-F5344CB8AC3E}">
        <p14:creationId xmlns:p14="http://schemas.microsoft.com/office/powerpoint/2010/main" val="44643971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1DF7B41-F7DB-34D2-2141-1DFA3BD4E32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25" r="-1048"/>
          <a:stretch/>
        </p:blipFill>
        <p:spPr bwMode="auto">
          <a:xfrm>
            <a:off x="4781291" y="0"/>
            <a:ext cx="78994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eform: Shape 3">
            <a:extLst>
              <a:ext uri="{FF2B5EF4-FFF2-40B4-BE49-F238E27FC236}">
                <a16:creationId xmlns:a16="http://schemas.microsoft.com/office/drawing/2014/main" id="{D5F06F89-C2B0-38D1-B000-3DC76C079BEA}"/>
              </a:ext>
            </a:extLst>
          </p:cNvPr>
          <p:cNvSpPr/>
          <p:nvPr userDrawn="1"/>
        </p:nvSpPr>
        <p:spPr>
          <a:xfrm>
            <a:off x="0" y="0"/>
            <a:ext cx="5600700" cy="6857998"/>
          </a:xfrm>
          <a:custGeom>
            <a:avLst/>
            <a:gdLst>
              <a:gd name="connsiteX0" fmla="*/ 0 w 4864100"/>
              <a:gd name="connsiteY0" fmla="*/ 0 h 6857998"/>
              <a:gd name="connsiteX1" fmla="*/ 4420096 w 4864100"/>
              <a:gd name="connsiteY1" fmla="*/ 0 h 6857998"/>
              <a:gd name="connsiteX2" fmla="*/ 4864100 w 4864100"/>
              <a:gd name="connsiteY2" fmla="*/ 444004 h 6857998"/>
              <a:gd name="connsiteX3" fmla="*/ 4864100 w 4864100"/>
              <a:gd name="connsiteY3" fmla="*/ 6413994 h 6857998"/>
              <a:gd name="connsiteX4" fmla="*/ 4420096 w 4864100"/>
              <a:gd name="connsiteY4" fmla="*/ 6857998 h 6857998"/>
              <a:gd name="connsiteX5" fmla="*/ 0 w 4864100"/>
              <a:gd name="connsiteY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4100" h="6857998">
                <a:moveTo>
                  <a:pt x="0" y="0"/>
                </a:moveTo>
                <a:lnTo>
                  <a:pt x="4420096" y="0"/>
                </a:lnTo>
                <a:cubicBezTo>
                  <a:pt x="4665313" y="0"/>
                  <a:pt x="4864100" y="198787"/>
                  <a:pt x="4864100" y="444004"/>
                </a:cubicBezTo>
                <a:lnTo>
                  <a:pt x="4864100" y="6413994"/>
                </a:lnTo>
                <a:cubicBezTo>
                  <a:pt x="4864100" y="6659211"/>
                  <a:pt x="4665313" y="6857998"/>
                  <a:pt x="4420096" y="6857998"/>
                </a:cubicBezTo>
                <a:lnTo>
                  <a:pt x="0" y="685799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50"/>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2"/>
            <a:ext cx="4164766" cy="1780039"/>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343695"/>
            <a:ext cx="4164766" cy="430695"/>
          </a:xfrm>
          <a:prstGeom prst="rect">
            <a:avLst/>
          </a:prstGeom>
        </p:spPr>
        <p:txBody>
          <a:bodyPr wrap="square" anchor="b" anchorCtr="0">
            <a:spAutoFit/>
          </a:bodyPr>
          <a:lstStyle>
            <a:lvl1pPr marL="0" indent="0" algn="l">
              <a:buNone/>
              <a:defRPr sz="1940">
                <a:solidFill>
                  <a:schemeClr val="accent1"/>
                </a:solidFill>
              </a:defRPr>
            </a:lvl1pPr>
            <a:lvl2pPr marL="277220" indent="0" algn="ctr">
              <a:buNone/>
              <a:defRPr sz="1213"/>
            </a:lvl2pPr>
            <a:lvl3pPr marL="554440" indent="0" algn="ctr">
              <a:buNone/>
              <a:defRPr sz="1092"/>
            </a:lvl3pPr>
            <a:lvl4pPr marL="831661" indent="0" algn="ctr">
              <a:buNone/>
              <a:defRPr sz="970"/>
            </a:lvl4pPr>
            <a:lvl5pPr marL="1108882" indent="0" algn="ctr">
              <a:buNone/>
              <a:defRPr sz="970"/>
            </a:lvl5pPr>
            <a:lvl6pPr marL="1386102" indent="0" algn="ctr">
              <a:buNone/>
              <a:defRPr sz="970"/>
            </a:lvl6pPr>
            <a:lvl7pPr marL="1663322" indent="0" algn="ctr">
              <a:buNone/>
              <a:defRPr sz="970"/>
            </a:lvl7pPr>
            <a:lvl8pPr marL="1940543" indent="0" algn="ctr">
              <a:buNone/>
              <a:defRPr sz="970"/>
            </a:lvl8pPr>
            <a:lvl9pPr marL="2217763"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21077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7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598B0-F997-455D-99C4-6D3323394AC3}"/>
              </a:ext>
            </a:extLst>
          </p:cNvPr>
          <p:cNvSpPr>
            <a:spLocks noGrp="1"/>
          </p:cNvSpPr>
          <p:nvPr>
            <p:ph type="title"/>
          </p:nvPr>
        </p:nvSpPr>
        <p:spPr>
          <a:xfrm>
            <a:off x="839788" y="365126"/>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E5F65D8-5C88-40E2-B396-497FB1A85F7D}"/>
              </a:ext>
            </a:extLst>
          </p:cNvPr>
          <p:cNvSpPr>
            <a:spLocks noGrp="1"/>
          </p:cNvSpPr>
          <p:nvPr>
            <p:ph type="body" idx="1"/>
          </p:nvPr>
        </p:nvSpPr>
        <p:spPr>
          <a:xfrm>
            <a:off x="839788" y="1681163"/>
            <a:ext cx="5157787" cy="823912"/>
          </a:xfrm>
        </p:spPr>
        <p:txBody>
          <a:bodyPr anchor="b"/>
          <a:lstStyle>
            <a:lvl1pPr marL="0" indent="0">
              <a:buNone/>
              <a:defRPr sz="2400" b="1"/>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D803FFF-3B31-403B-B5B1-AD4E6DDF6CA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E308E37-1F7D-4BC6-98EB-7442CD789910}"/>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79" indent="0">
              <a:buNone/>
              <a:defRPr sz="2000" b="1"/>
            </a:lvl2pPr>
            <a:lvl3pPr marL="914358" indent="0">
              <a:buNone/>
              <a:defRPr sz="1800" b="1"/>
            </a:lvl3pPr>
            <a:lvl4pPr marL="1371536" indent="0">
              <a:buNone/>
              <a:defRPr sz="1600" b="1"/>
            </a:lvl4pPr>
            <a:lvl5pPr marL="1828715" indent="0">
              <a:buNone/>
              <a:defRPr sz="1600" b="1"/>
            </a:lvl5pPr>
            <a:lvl6pPr marL="2285894" indent="0">
              <a:buNone/>
              <a:defRPr sz="1600" b="1"/>
            </a:lvl6pPr>
            <a:lvl7pPr marL="2743073" indent="0">
              <a:buNone/>
              <a:defRPr sz="1600" b="1"/>
            </a:lvl7pPr>
            <a:lvl8pPr marL="3200252" indent="0">
              <a:buNone/>
              <a:defRPr sz="1600" b="1"/>
            </a:lvl8pPr>
            <a:lvl9pPr marL="365743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7C88D8B-8CEB-48FF-9B62-7E47BE2034A8}"/>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DA2F5CDB-7242-4A58-B80B-13D694084733}"/>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A83F9D05-087C-4601-A4F6-70CE0E83A827}"/>
              </a:ext>
            </a:extLst>
          </p:cNvPr>
          <p:cNvSpPr>
            <a:spLocks noGrp="1"/>
          </p:cNvSpPr>
          <p:nvPr>
            <p:ph type="ftr" sz="quarter" idx="11"/>
          </p:nvPr>
        </p:nvSpPr>
        <p:spPr/>
        <p:txBody>
          <a:bodyPr/>
          <a:lstStyle/>
          <a:p>
            <a:r>
              <a:rPr lang="en-US"/>
              <a:t>Joint SAGE/MPAG session on malaria vaccines 3 vs 4 dose schedule, Sept 2025</a:t>
            </a:r>
            <a:endParaRPr lang="en-GB"/>
          </a:p>
        </p:txBody>
      </p:sp>
      <p:sp>
        <p:nvSpPr>
          <p:cNvPr id="9" name="Slide Number Placeholder 8">
            <a:extLst>
              <a:ext uri="{FF2B5EF4-FFF2-40B4-BE49-F238E27FC236}">
                <a16:creationId xmlns:a16="http://schemas.microsoft.com/office/drawing/2014/main" id="{F6D35423-FA83-4B7B-AB07-BB84C132EB04}"/>
              </a:ext>
            </a:extLst>
          </p:cNvPr>
          <p:cNvSpPr>
            <a:spLocks noGrp="1"/>
          </p:cNvSpPr>
          <p:nvPr>
            <p:ph type="sldNum" sz="quarter" idx="12"/>
          </p:nvPr>
        </p:nvSpPr>
        <p:spPr/>
        <p:txBody>
          <a:bodyPr/>
          <a:lstStyle/>
          <a:p>
            <a:fld id="{6F789369-E377-4DCE-A813-49D05CD88A1A}" type="slidenum">
              <a:rPr lang="en-GB" smtClean="0"/>
              <a:t>‹#›</a:t>
            </a:fld>
            <a:endParaRPr lang="en-GB"/>
          </a:p>
        </p:txBody>
      </p:sp>
    </p:spTree>
    <p:extLst>
      <p:ext uri="{BB962C8B-B14F-4D97-AF65-F5344CB8AC3E}">
        <p14:creationId xmlns:p14="http://schemas.microsoft.com/office/powerpoint/2010/main" val="4148274134"/>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E2E08-2AD8-4C70-AD89-A7A0B12A714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94FDB7E-A26F-4A16-9A65-86EBFD120428}"/>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9FBC93DE-4173-42BC-907D-6AB5EB29D390}"/>
              </a:ext>
            </a:extLst>
          </p:cNvPr>
          <p:cNvSpPr>
            <a:spLocks noGrp="1"/>
          </p:cNvSpPr>
          <p:nvPr>
            <p:ph type="ftr" sz="quarter" idx="11"/>
          </p:nvPr>
        </p:nvSpPr>
        <p:spPr/>
        <p:txBody>
          <a:bodyPr/>
          <a:lstStyle/>
          <a:p>
            <a:r>
              <a:rPr lang="en-US"/>
              <a:t>Joint SAGE/MPAG session on malaria vaccines 3 vs 4 dose schedule, Sept 2025</a:t>
            </a:r>
            <a:endParaRPr lang="en-GB"/>
          </a:p>
        </p:txBody>
      </p:sp>
      <p:sp>
        <p:nvSpPr>
          <p:cNvPr id="5" name="Slide Number Placeholder 4">
            <a:extLst>
              <a:ext uri="{FF2B5EF4-FFF2-40B4-BE49-F238E27FC236}">
                <a16:creationId xmlns:a16="http://schemas.microsoft.com/office/drawing/2014/main" id="{B54D9B15-4CE8-440C-9BF8-D4441972D9B7}"/>
              </a:ext>
            </a:extLst>
          </p:cNvPr>
          <p:cNvSpPr>
            <a:spLocks noGrp="1"/>
          </p:cNvSpPr>
          <p:nvPr>
            <p:ph type="sldNum" sz="quarter" idx="12"/>
          </p:nvPr>
        </p:nvSpPr>
        <p:spPr/>
        <p:txBody>
          <a:bodyPr/>
          <a:lstStyle/>
          <a:p>
            <a:fld id="{6F789369-E377-4DCE-A813-49D05CD88A1A}" type="slidenum">
              <a:rPr lang="en-GB" smtClean="0"/>
              <a:t>‹#›</a:t>
            </a:fld>
            <a:endParaRPr lang="en-GB"/>
          </a:p>
        </p:txBody>
      </p:sp>
    </p:spTree>
    <p:extLst>
      <p:ext uri="{BB962C8B-B14F-4D97-AF65-F5344CB8AC3E}">
        <p14:creationId xmlns:p14="http://schemas.microsoft.com/office/powerpoint/2010/main" val="4276058730"/>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EA1913-E49F-40DE-8E3A-A4FE84305E58}"/>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1CA665F3-A984-4655-94B6-E54A9EB14852}"/>
              </a:ext>
            </a:extLst>
          </p:cNvPr>
          <p:cNvSpPr>
            <a:spLocks noGrp="1"/>
          </p:cNvSpPr>
          <p:nvPr>
            <p:ph type="ftr" sz="quarter" idx="11"/>
          </p:nvPr>
        </p:nvSpPr>
        <p:spPr/>
        <p:txBody>
          <a:bodyPr/>
          <a:lstStyle/>
          <a:p>
            <a:r>
              <a:rPr lang="en-US"/>
              <a:t>Joint SAGE/MPAG session on malaria vaccines 3 vs 4 dose schedule, Sept 2025</a:t>
            </a:r>
            <a:endParaRPr lang="en-GB"/>
          </a:p>
        </p:txBody>
      </p:sp>
      <p:sp>
        <p:nvSpPr>
          <p:cNvPr id="4" name="Slide Number Placeholder 3">
            <a:extLst>
              <a:ext uri="{FF2B5EF4-FFF2-40B4-BE49-F238E27FC236}">
                <a16:creationId xmlns:a16="http://schemas.microsoft.com/office/drawing/2014/main" id="{04E09DCC-DA27-433E-A9A3-6B45A1E97B6F}"/>
              </a:ext>
            </a:extLst>
          </p:cNvPr>
          <p:cNvSpPr>
            <a:spLocks noGrp="1"/>
          </p:cNvSpPr>
          <p:nvPr>
            <p:ph type="sldNum" sz="quarter" idx="12"/>
          </p:nvPr>
        </p:nvSpPr>
        <p:spPr/>
        <p:txBody>
          <a:bodyPr/>
          <a:lstStyle/>
          <a:p>
            <a:fld id="{6F789369-E377-4DCE-A813-49D05CD88A1A}" type="slidenum">
              <a:rPr lang="en-GB" smtClean="0"/>
              <a:t>‹#›</a:t>
            </a:fld>
            <a:endParaRPr lang="en-GB"/>
          </a:p>
        </p:txBody>
      </p:sp>
    </p:spTree>
    <p:extLst>
      <p:ext uri="{BB962C8B-B14F-4D97-AF65-F5344CB8AC3E}">
        <p14:creationId xmlns:p14="http://schemas.microsoft.com/office/powerpoint/2010/main" val="2600278440"/>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E4021-29D0-437F-AFA4-1C925CD9DA4C}"/>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97CC47B-230E-4FAE-8EEB-A16465DD0396}"/>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2021F2B-2B9C-4466-A2D6-D5990D2C5E9B}"/>
              </a:ext>
            </a:extLst>
          </p:cNvPr>
          <p:cNvSpPr>
            <a:spLocks noGrp="1"/>
          </p:cNvSpPr>
          <p:nvPr>
            <p:ph type="body" sz="half" idx="2"/>
          </p:nvPr>
        </p:nvSpPr>
        <p:spPr>
          <a:xfrm>
            <a:off x="839789" y="2057400"/>
            <a:ext cx="3932237" cy="3811588"/>
          </a:xfrm>
        </p:spPr>
        <p:txBody>
          <a:bodyPr/>
          <a:lstStyle>
            <a:lvl1pPr marL="0" indent="0">
              <a:buNone/>
              <a:defRPr sz="16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15CD996-6671-47F2-A467-32771F07404F}"/>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F02F37D3-5D5A-4DC2-B92F-5AA542CB9803}"/>
              </a:ext>
            </a:extLst>
          </p:cNvPr>
          <p:cNvSpPr>
            <a:spLocks noGrp="1"/>
          </p:cNvSpPr>
          <p:nvPr>
            <p:ph type="ftr" sz="quarter" idx="11"/>
          </p:nvPr>
        </p:nvSpPr>
        <p:spPr/>
        <p:txBody>
          <a:bodyPr/>
          <a:lstStyle/>
          <a:p>
            <a:r>
              <a:rPr lang="en-US"/>
              <a:t>Joint SAGE/MPAG session on malaria vaccines 3 vs 4 dose schedule, Sept 2025</a:t>
            </a:r>
            <a:endParaRPr lang="en-GB"/>
          </a:p>
        </p:txBody>
      </p:sp>
      <p:sp>
        <p:nvSpPr>
          <p:cNvPr id="7" name="Slide Number Placeholder 6">
            <a:extLst>
              <a:ext uri="{FF2B5EF4-FFF2-40B4-BE49-F238E27FC236}">
                <a16:creationId xmlns:a16="http://schemas.microsoft.com/office/drawing/2014/main" id="{80B5120D-AC05-4C77-A77B-690B874BF303}"/>
              </a:ext>
            </a:extLst>
          </p:cNvPr>
          <p:cNvSpPr>
            <a:spLocks noGrp="1"/>
          </p:cNvSpPr>
          <p:nvPr>
            <p:ph type="sldNum" sz="quarter" idx="12"/>
          </p:nvPr>
        </p:nvSpPr>
        <p:spPr/>
        <p:txBody>
          <a:bodyPr/>
          <a:lstStyle/>
          <a:p>
            <a:fld id="{6F789369-E377-4DCE-A813-49D05CD88A1A}" type="slidenum">
              <a:rPr lang="en-GB" smtClean="0"/>
              <a:t>‹#›</a:t>
            </a:fld>
            <a:endParaRPr lang="en-GB"/>
          </a:p>
        </p:txBody>
      </p:sp>
    </p:spTree>
    <p:extLst>
      <p:ext uri="{BB962C8B-B14F-4D97-AF65-F5344CB8AC3E}">
        <p14:creationId xmlns:p14="http://schemas.microsoft.com/office/powerpoint/2010/main" val="175332382"/>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7BCEA-21FF-4E38-8789-3D7C87DE202E}"/>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0D9C5DD-939E-4B17-B52F-9BBFE081F3B5}"/>
              </a:ext>
            </a:extLst>
          </p:cNvPr>
          <p:cNvSpPr>
            <a:spLocks noGrp="1"/>
          </p:cNvSpPr>
          <p:nvPr>
            <p:ph type="pic" idx="1"/>
          </p:nvPr>
        </p:nvSpPr>
        <p:spPr>
          <a:xfrm>
            <a:off x="5183188" y="987426"/>
            <a:ext cx="6172200" cy="4873625"/>
          </a:xfrm>
        </p:spPr>
        <p:txBody>
          <a:bodyPr/>
          <a:lstStyle>
            <a:lvl1pPr marL="0" indent="0">
              <a:buNone/>
              <a:defRPr sz="3200"/>
            </a:lvl1pPr>
            <a:lvl2pPr marL="457179" indent="0">
              <a:buNone/>
              <a:defRPr sz="2800"/>
            </a:lvl2pPr>
            <a:lvl3pPr marL="914358" indent="0">
              <a:buNone/>
              <a:defRPr sz="2400"/>
            </a:lvl3pPr>
            <a:lvl4pPr marL="1371536" indent="0">
              <a:buNone/>
              <a:defRPr sz="2000"/>
            </a:lvl4pPr>
            <a:lvl5pPr marL="1828715" indent="0">
              <a:buNone/>
              <a:defRPr sz="2000"/>
            </a:lvl5pPr>
            <a:lvl6pPr marL="2285894" indent="0">
              <a:buNone/>
              <a:defRPr sz="2000"/>
            </a:lvl6pPr>
            <a:lvl7pPr marL="2743073" indent="0">
              <a:buNone/>
              <a:defRPr sz="2000"/>
            </a:lvl7pPr>
            <a:lvl8pPr marL="3200252" indent="0">
              <a:buNone/>
              <a:defRPr sz="2000"/>
            </a:lvl8pPr>
            <a:lvl9pPr marL="3657430" indent="0">
              <a:buNone/>
              <a:defRPr sz="2000"/>
            </a:lvl9pPr>
          </a:lstStyle>
          <a:p>
            <a:endParaRPr lang="en-GB"/>
          </a:p>
        </p:txBody>
      </p:sp>
      <p:sp>
        <p:nvSpPr>
          <p:cNvPr id="4" name="Text Placeholder 3">
            <a:extLst>
              <a:ext uri="{FF2B5EF4-FFF2-40B4-BE49-F238E27FC236}">
                <a16:creationId xmlns:a16="http://schemas.microsoft.com/office/drawing/2014/main" id="{28068547-064F-47EE-A190-5771A6AA5F71}"/>
              </a:ext>
            </a:extLst>
          </p:cNvPr>
          <p:cNvSpPr>
            <a:spLocks noGrp="1"/>
          </p:cNvSpPr>
          <p:nvPr>
            <p:ph type="body" sz="half" idx="2"/>
          </p:nvPr>
        </p:nvSpPr>
        <p:spPr>
          <a:xfrm>
            <a:off x="839789" y="2057400"/>
            <a:ext cx="3932237" cy="3811588"/>
          </a:xfrm>
        </p:spPr>
        <p:txBody>
          <a:bodyPr/>
          <a:lstStyle>
            <a:lvl1pPr marL="0" indent="0">
              <a:buNone/>
              <a:defRPr sz="1600"/>
            </a:lvl1pPr>
            <a:lvl2pPr marL="457179" indent="0">
              <a:buNone/>
              <a:defRPr sz="1400"/>
            </a:lvl2pPr>
            <a:lvl3pPr marL="914358" indent="0">
              <a:buNone/>
              <a:defRPr sz="1200"/>
            </a:lvl3pPr>
            <a:lvl4pPr marL="1371536" indent="0">
              <a:buNone/>
              <a:defRPr sz="1000"/>
            </a:lvl4pPr>
            <a:lvl5pPr marL="1828715" indent="0">
              <a:buNone/>
              <a:defRPr sz="1000"/>
            </a:lvl5pPr>
            <a:lvl6pPr marL="2285894" indent="0">
              <a:buNone/>
              <a:defRPr sz="1000"/>
            </a:lvl6pPr>
            <a:lvl7pPr marL="2743073" indent="0">
              <a:buNone/>
              <a:defRPr sz="1000"/>
            </a:lvl7pPr>
            <a:lvl8pPr marL="3200252" indent="0">
              <a:buNone/>
              <a:defRPr sz="1000"/>
            </a:lvl8pPr>
            <a:lvl9pPr marL="365743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FAC6C6-6AB1-4AF3-8A27-B659D8C03358}"/>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9245FDC8-9207-458E-8AE2-D330A7901753}"/>
              </a:ext>
            </a:extLst>
          </p:cNvPr>
          <p:cNvSpPr>
            <a:spLocks noGrp="1"/>
          </p:cNvSpPr>
          <p:nvPr>
            <p:ph type="ftr" sz="quarter" idx="11"/>
          </p:nvPr>
        </p:nvSpPr>
        <p:spPr/>
        <p:txBody>
          <a:bodyPr/>
          <a:lstStyle/>
          <a:p>
            <a:r>
              <a:rPr lang="en-US"/>
              <a:t>Joint SAGE/MPAG session on malaria vaccines 3 vs 4 dose schedule, Sept 2025</a:t>
            </a:r>
            <a:endParaRPr lang="en-GB"/>
          </a:p>
        </p:txBody>
      </p:sp>
      <p:sp>
        <p:nvSpPr>
          <p:cNvPr id="7" name="Slide Number Placeholder 6">
            <a:extLst>
              <a:ext uri="{FF2B5EF4-FFF2-40B4-BE49-F238E27FC236}">
                <a16:creationId xmlns:a16="http://schemas.microsoft.com/office/drawing/2014/main" id="{85A0EEAB-04B9-4388-828D-1D5CF0C41D94}"/>
              </a:ext>
            </a:extLst>
          </p:cNvPr>
          <p:cNvSpPr>
            <a:spLocks noGrp="1"/>
          </p:cNvSpPr>
          <p:nvPr>
            <p:ph type="sldNum" sz="quarter" idx="12"/>
          </p:nvPr>
        </p:nvSpPr>
        <p:spPr/>
        <p:txBody>
          <a:bodyPr/>
          <a:lstStyle/>
          <a:p>
            <a:fld id="{6F789369-E377-4DCE-A813-49D05CD88A1A}" type="slidenum">
              <a:rPr lang="en-GB" smtClean="0"/>
              <a:t>‹#›</a:t>
            </a:fld>
            <a:endParaRPr lang="en-GB"/>
          </a:p>
        </p:txBody>
      </p:sp>
    </p:spTree>
    <p:extLst>
      <p:ext uri="{BB962C8B-B14F-4D97-AF65-F5344CB8AC3E}">
        <p14:creationId xmlns:p14="http://schemas.microsoft.com/office/powerpoint/2010/main" val="2564596177"/>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6AA22-B3AC-4346-9C2B-7673226F574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A276585-DB0C-4EE1-AF79-E0D6E2883DC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8B5B3CA-5F5A-40DF-AE09-80B8AE82E214}"/>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75A244E0-400E-4381-B953-1A0883817EB1}"/>
              </a:ext>
            </a:extLst>
          </p:cNvPr>
          <p:cNvSpPr>
            <a:spLocks noGrp="1"/>
          </p:cNvSpPr>
          <p:nvPr>
            <p:ph type="ftr" sz="quarter" idx="11"/>
          </p:nvPr>
        </p:nvSpPr>
        <p:spPr/>
        <p:txBody>
          <a:bodyPr/>
          <a:lstStyle/>
          <a:p>
            <a:r>
              <a:rPr lang="en-US"/>
              <a:t>Joint SAGE/MPAG session on malaria vaccines 3 vs 4 dose schedule, Sept 2025</a:t>
            </a:r>
            <a:endParaRPr lang="en-GB"/>
          </a:p>
        </p:txBody>
      </p:sp>
      <p:sp>
        <p:nvSpPr>
          <p:cNvPr id="6" name="Slide Number Placeholder 5">
            <a:extLst>
              <a:ext uri="{FF2B5EF4-FFF2-40B4-BE49-F238E27FC236}">
                <a16:creationId xmlns:a16="http://schemas.microsoft.com/office/drawing/2014/main" id="{8D1FB675-4DB5-4672-A023-C856BC94BB4D}"/>
              </a:ext>
            </a:extLst>
          </p:cNvPr>
          <p:cNvSpPr>
            <a:spLocks noGrp="1"/>
          </p:cNvSpPr>
          <p:nvPr>
            <p:ph type="sldNum" sz="quarter" idx="12"/>
          </p:nvPr>
        </p:nvSpPr>
        <p:spPr/>
        <p:txBody>
          <a:bodyPr/>
          <a:lstStyle/>
          <a:p>
            <a:fld id="{6F789369-E377-4DCE-A813-49D05CD88A1A}" type="slidenum">
              <a:rPr lang="en-GB" smtClean="0"/>
              <a:t>‹#›</a:t>
            </a:fld>
            <a:endParaRPr lang="en-GB"/>
          </a:p>
        </p:txBody>
      </p:sp>
    </p:spTree>
    <p:extLst>
      <p:ext uri="{BB962C8B-B14F-4D97-AF65-F5344CB8AC3E}">
        <p14:creationId xmlns:p14="http://schemas.microsoft.com/office/powerpoint/2010/main" val="340903806"/>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8D94D6A-BE83-4538-BAA2-0088E0FAF0D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5DCDD7C-203E-488F-921F-90615F55682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5C4AA2C-52CE-4AA3-92C2-5D76D314F61C}"/>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A66F984-1886-4504-9D81-6C077A0829CC}"/>
              </a:ext>
            </a:extLst>
          </p:cNvPr>
          <p:cNvSpPr>
            <a:spLocks noGrp="1"/>
          </p:cNvSpPr>
          <p:nvPr>
            <p:ph type="ftr" sz="quarter" idx="11"/>
          </p:nvPr>
        </p:nvSpPr>
        <p:spPr/>
        <p:txBody>
          <a:bodyPr/>
          <a:lstStyle/>
          <a:p>
            <a:r>
              <a:rPr lang="en-US"/>
              <a:t>Joint SAGE/MPAG session on malaria vaccines 3 vs 4 dose schedule, Sept 2025</a:t>
            </a:r>
            <a:endParaRPr lang="en-GB"/>
          </a:p>
        </p:txBody>
      </p:sp>
      <p:sp>
        <p:nvSpPr>
          <p:cNvPr id="6" name="Slide Number Placeholder 5">
            <a:extLst>
              <a:ext uri="{FF2B5EF4-FFF2-40B4-BE49-F238E27FC236}">
                <a16:creationId xmlns:a16="http://schemas.microsoft.com/office/drawing/2014/main" id="{0E3D92E9-4A6B-4354-8435-D4E207C6BF34}"/>
              </a:ext>
            </a:extLst>
          </p:cNvPr>
          <p:cNvSpPr>
            <a:spLocks noGrp="1"/>
          </p:cNvSpPr>
          <p:nvPr>
            <p:ph type="sldNum" sz="quarter" idx="12"/>
          </p:nvPr>
        </p:nvSpPr>
        <p:spPr/>
        <p:txBody>
          <a:bodyPr/>
          <a:lstStyle/>
          <a:p>
            <a:fld id="{6F789369-E377-4DCE-A813-49D05CD88A1A}" type="slidenum">
              <a:rPr lang="en-GB" smtClean="0"/>
              <a:t>‹#›</a:t>
            </a:fld>
            <a:endParaRPr lang="en-GB"/>
          </a:p>
        </p:txBody>
      </p:sp>
    </p:spTree>
    <p:extLst>
      <p:ext uri="{BB962C8B-B14F-4D97-AF65-F5344CB8AC3E}">
        <p14:creationId xmlns:p14="http://schemas.microsoft.com/office/powerpoint/2010/main" val="1120525440"/>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52659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0783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6"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697418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4031568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419FE-805A-B002-0843-821BB7AE1B8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06EDD9B-7E45-4CF7-DC5C-4418F1576050}"/>
              </a:ext>
            </a:extLst>
          </p:cNvPr>
          <p:cNvSpPr>
            <a:spLocks noGrp="1"/>
          </p:cNvSpPr>
          <p:nvPr>
            <p:ph type="ftr" sz="quarter" idx="10"/>
          </p:nvPr>
        </p:nvSpPr>
        <p:spPr/>
        <p:txBody>
          <a:bodyPr/>
          <a:lstStyle/>
          <a:p>
            <a:r>
              <a:rPr lang="en-GB"/>
              <a:t>IVB Director’s Report to SAGE</a:t>
            </a:r>
          </a:p>
        </p:txBody>
      </p:sp>
      <p:sp>
        <p:nvSpPr>
          <p:cNvPr id="4" name="Slide Number Placeholder 3">
            <a:extLst>
              <a:ext uri="{FF2B5EF4-FFF2-40B4-BE49-F238E27FC236}">
                <a16:creationId xmlns:a16="http://schemas.microsoft.com/office/drawing/2014/main" id="{357A6284-DF0B-C21C-BE5F-57A823B3B747}"/>
              </a:ext>
            </a:extLst>
          </p:cNvPr>
          <p:cNvSpPr>
            <a:spLocks noGrp="1"/>
          </p:cNvSpPr>
          <p:nvPr>
            <p:ph type="sldNum" sz="quarter" idx="11"/>
          </p:nvPr>
        </p:nvSpPr>
        <p:spPr/>
        <p:txBody>
          <a:bodyPr/>
          <a:lstStyle/>
          <a:p>
            <a:fld id="{E2E31AFC-DF42-41A5-B57C-06A83BBA6616}" type="slidenum">
              <a:rPr lang="en-GB" smtClean="0"/>
              <a:pPr/>
              <a:t>‹#›</a:t>
            </a:fld>
            <a:endParaRPr lang="en-GB"/>
          </a:p>
        </p:txBody>
      </p:sp>
    </p:spTree>
    <p:extLst>
      <p:ext uri="{BB962C8B-B14F-4D97-AF65-F5344CB8AC3E}">
        <p14:creationId xmlns:p14="http://schemas.microsoft.com/office/powerpoint/2010/main" val="1236052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1"/>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2"/>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2"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7" y="2773429"/>
            <a:ext cx="3471601" cy="1311145"/>
          </a:xfrm>
          <a:prstGeom prst="rect">
            <a:avLst/>
          </a:prstGeom>
        </p:spPr>
      </p:pic>
    </p:spTree>
    <p:extLst>
      <p:ext uri="{BB962C8B-B14F-4D97-AF65-F5344CB8AC3E}">
        <p14:creationId xmlns:p14="http://schemas.microsoft.com/office/powerpoint/2010/main" val="39924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1"/>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2"/>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2"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90752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1"/>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2"/>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2"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8" y="2220890"/>
            <a:ext cx="2454959" cy="1819430"/>
          </a:xfrm>
          <a:prstGeom prst="rect">
            <a:avLst/>
          </a:prstGeom>
        </p:spPr>
      </p:pic>
    </p:spTree>
    <p:extLst>
      <p:ext uri="{BB962C8B-B14F-4D97-AF65-F5344CB8AC3E}">
        <p14:creationId xmlns:p14="http://schemas.microsoft.com/office/powerpoint/2010/main" val="376230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325154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8"/>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4"/>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6" y="5756444"/>
            <a:ext cx="750929" cy="554493"/>
          </a:xfrm>
          <a:prstGeom prst="rect">
            <a:avLst/>
          </a:prstGeom>
        </p:spPr>
      </p:pic>
    </p:spTree>
    <p:extLst>
      <p:ext uri="{BB962C8B-B14F-4D97-AF65-F5344CB8AC3E}">
        <p14:creationId xmlns:p14="http://schemas.microsoft.com/office/powerpoint/2010/main" val="2244939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9"/>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33" indent="0" algn="ctr">
              <a:buNone/>
              <a:defRPr sz="1213"/>
            </a:lvl2pPr>
            <a:lvl3pPr marL="554466" indent="0" algn="ctr">
              <a:buNone/>
              <a:defRPr sz="1092"/>
            </a:lvl3pPr>
            <a:lvl4pPr marL="831699" indent="0" algn="ctr">
              <a:buNone/>
              <a:defRPr sz="970"/>
            </a:lvl4pPr>
            <a:lvl5pPr marL="1108933" indent="0" algn="ctr">
              <a:buNone/>
              <a:defRPr sz="970"/>
            </a:lvl5pPr>
            <a:lvl6pPr marL="1386166" indent="0" algn="ctr">
              <a:buNone/>
              <a:defRPr sz="970"/>
            </a:lvl6pPr>
            <a:lvl7pPr marL="1663399" indent="0" algn="ctr">
              <a:buNone/>
              <a:defRPr sz="970"/>
            </a:lvl7pPr>
            <a:lvl8pPr marL="1940633" indent="0" algn="ctr">
              <a:buNone/>
              <a:defRPr sz="970"/>
            </a:lvl8pPr>
            <a:lvl9pPr marL="2217866"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2264788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887" indent="-311887">
              <a:spcAft>
                <a:spcPts val="0"/>
              </a:spcAft>
              <a:buFont typeface="+mj-lt"/>
              <a:buAutoNum type="arabicPeriod"/>
              <a:defRPr sz="1940" b="0" i="0">
                <a:solidFill>
                  <a:schemeClr val="tx1"/>
                </a:solidFill>
                <a:latin typeface="Poppins Medium" pitchFamily="2" charset="77"/>
                <a:cs typeface="Poppins Medium" pitchFamily="2" charset="77"/>
              </a:defRPr>
            </a:lvl1pPr>
            <a:lvl2pPr marL="311887" indent="-311887">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5" y="2299041"/>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92356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8" y="2342856"/>
            <a:ext cx="11042887" cy="3007436"/>
          </a:xfrm>
        </p:spPr>
        <p:txBody>
          <a:bodyPr wrap="square" numCol="2" spcCol="756000">
            <a:noAutofit/>
          </a:bodyPr>
          <a:lstStyle>
            <a:lvl1pPr marL="311887" indent="-311887">
              <a:spcAft>
                <a:spcPts val="0"/>
              </a:spcAft>
              <a:buFont typeface="+mj-lt"/>
              <a:buAutoNum type="arabicPeriod"/>
              <a:defRPr sz="1940" b="0" i="0">
                <a:solidFill>
                  <a:schemeClr val="tx1"/>
                </a:solidFill>
                <a:latin typeface="Poppins Medium" pitchFamily="2" charset="77"/>
                <a:cs typeface="Poppins Medium" pitchFamily="2" charset="77"/>
              </a:defRPr>
            </a:lvl1pPr>
            <a:lvl2pPr marL="311887" indent="-311887">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335860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93306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5" y="2299041"/>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18740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F38F23-3328-E74A-BBB1-BBDAD3C6ECD7}"/>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https://climate.nasa.gov/</a:t>
            </a:r>
            <a:endParaRPr lang="en-CH" sz="1800"/>
          </a:p>
        </p:txBody>
      </p:sp>
      <p:sp>
        <p:nvSpPr>
          <p:cNvPr id="2" name="Rectangle: Rounded Corners 1">
            <a:extLst>
              <a:ext uri="{FF2B5EF4-FFF2-40B4-BE49-F238E27FC236}">
                <a16:creationId xmlns:a16="http://schemas.microsoft.com/office/drawing/2014/main" id="{1A755422-4593-A434-1861-B832192A0F28}"/>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40" y="537198"/>
            <a:ext cx="11013551" cy="414281"/>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2" y="1567752"/>
            <a:ext cx="2276275" cy="642355"/>
          </a:xfrm>
          <a:prstGeom prst="rect">
            <a:avLst/>
          </a:prstGeo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5" y="1567752"/>
            <a:ext cx="2276275" cy="642355"/>
          </a:xfrm>
          <a:prstGeom prst="rect">
            <a:avLst/>
          </a:prstGeo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8" y="1567752"/>
            <a:ext cx="2276275" cy="642355"/>
          </a:xfrm>
          <a:prstGeom prst="rect">
            <a:avLst/>
          </a:prstGeo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80"/>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80"/>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80"/>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3"/>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3"/>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3"/>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6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6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6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2" y="2777334"/>
            <a:ext cx="2276275" cy="642355"/>
          </a:xfrm>
          <a:prstGeom prst="rect">
            <a:avLst/>
          </a:prstGeo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5" y="2777335"/>
            <a:ext cx="2276275" cy="642355"/>
          </a:xfrm>
          <a:prstGeom prst="rect">
            <a:avLst/>
          </a:prstGeo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8" y="2777335"/>
            <a:ext cx="2276275" cy="642355"/>
          </a:xfrm>
          <a:prstGeom prst="rect">
            <a:avLst/>
          </a:prstGeo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2" y="3986916"/>
            <a:ext cx="2276275" cy="642355"/>
          </a:xfrm>
          <a:prstGeom prst="rect">
            <a:avLst/>
          </a:prstGeo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5" y="3986915"/>
            <a:ext cx="2276275" cy="642355"/>
          </a:xfrm>
          <a:prstGeom prst="rect">
            <a:avLst/>
          </a:prstGeo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8" y="3986915"/>
            <a:ext cx="2276275" cy="642355"/>
          </a:xfrm>
          <a:prstGeom prst="rect">
            <a:avLst/>
          </a:prstGeo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2" y="5196497"/>
            <a:ext cx="2276275" cy="642355"/>
          </a:xfrm>
          <a:prstGeom prst="rect">
            <a:avLst/>
          </a:prstGeo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5" y="5196498"/>
            <a:ext cx="2276275" cy="642355"/>
          </a:xfrm>
          <a:prstGeom prst="rect">
            <a:avLst/>
          </a:prstGeo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8" y="5196498"/>
            <a:ext cx="2276275" cy="642355"/>
          </a:xfrm>
          <a:prstGeom prst="rect">
            <a:avLst/>
          </a:prstGeo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535634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54878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7"/>
            <a:ext cx="5081284" cy="1571475"/>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49545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9"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9"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9"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2094066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1" y="1612707"/>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7"/>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4" y="1613917"/>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7"/>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7" y="1613917"/>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7"/>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2"/>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2"/>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2"/>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60"/>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60"/>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60"/>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1" y="2822289"/>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4" y="2823499"/>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7" y="2823499"/>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1" y="403187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4"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7"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1" y="5241452"/>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4" y="5242662"/>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7" y="5242662"/>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66"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2245472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2905315"/>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864881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981949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1682567"/>
            <a:ext cx="11036725" cy="1674747"/>
          </a:xfrm>
        </p:spPr>
        <p:txBody>
          <a:bodyPr numCol="2" spcCol="1440000"/>
          <a:lstStyle>
            <a:lvl1pPr marL="207925" indent="-20792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5150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1682567"/>
            <a:ext cx="11036725" cy="1674747"/>
          </a:xfrm>
        </p:spPr>
        <p:txBody>
          <a:bodyPr numCol="2" spcCol="1440000"/>
          <a:lstStyle>
            <a:lvl1pPr marL="277233" indent="-277233">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09309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3"/>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37733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80" y="2"/>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3"/>
            <a:ext cx="5081284" cy="1571475"/>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4"/>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1"/>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40600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BDE2289-A8DD-BDCE-7964-4B6DA3EA2BC4}"/>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740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54465" y="1950878"/>
            <a:ext cx="11036725" cy="1658869"/>
          </a:xfrm>
          <a:prstGeom prst="rect">
            <a:avLst/>
          </a:prstGeo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6630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5081284" cy="1571475"/>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3" y="644598"/>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3" y="3509479"/>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164068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5081284" cy="1571475"/>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3"/>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9"/>
            <a:ext cx="474911" cy="401189"/>
          </a:xfrm>
          <a:prstGeom prst="rect">
            <a:avLst/>
          </a:prstGeom>
        </p:spPr>
      </p:pic>
    </p:spTree>
    <p:extLst>
      <p:ext uri="{BB962C8B-B14F-4D97-AF65-F5344CB8AC3E}">
        <p14:creationId xmlns:p14="http://schemas.microsoft.com/office/powerpoint/2010/main" val="171293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9" y="1245960"/>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40"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48792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0847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50956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5" y="1996560"/>
            <a:ext cx="5335021" cy="1268809"/>
          </a:xfrm>
        </p:spPr>
        <p:txBody>
          <a:bodyPr/>
          <a:lstStyle>
            <a:lvl1pPr marL="207925" indent="-20792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6" y="1996560"/>
            <a:ext cx="5335021" cy="1268809"/>
          </a:xfrm>
        </p:spPr>
        <p:txBody>
          <a:bodyPr/>
          <a:lstStyle>
            <a:lvl1pPr marL="207925" indent="-20792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5"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6" y="1529132"/>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66"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244669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2"/>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66"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2"/>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66"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25" indent="-20792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25" indent="-20792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25" indent="-20792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36300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2739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2"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4"/>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4"/>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4"/>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61569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5"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6"/>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8" y="2350102"/>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66"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66"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90285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CA986B-631B-FDB6-16A9-CD70E8D6F960}"/>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3" name="Rectangle: Rounded Corners 2">
            <a:extLst>
              <a:ext uri="{FF2B5EF4-FFF2-40B4-BE49-F238E27FC236}">
                <a16:creationId xmlns:a16="http://schemas.microsoft.com/office/drawing/2014/main" id="{5F1B8FB0-86D3-307A-9D4B-765A250E8AE3}"/>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740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1682567"/>
            <a:ext cx="11036725" cy="1674747"/>
          </a:xfrm>
          <a:prstGeom prst="rect">
            <a:avLst/>
          </a:prstGeo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624794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8"/>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1"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3"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3" y="3035787"/>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8" y="3035787"/>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7" y="3035787"/>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7"/>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5840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8"/>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1"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3" y="2276560"/>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66"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3"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3"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3562564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8"/>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1"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60"/>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66"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5625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3" y="2730108"/>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1"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60"/>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66"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66"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237334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1"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60"/>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60"/>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7"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60552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5474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3" y="1487596"/>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3" y="1904146"/>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89" indent="-216589">
              <a:defRPr/>
            </a:lvl2pPr>
            <a:lvl3pPr marL="381195" indent="-174234">
              <a:defRPr/>
            </a:lvl3pPr>
            <a:lvl4pPr marL="926036" indent="-183859">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60615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3" y="1487596"/>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3" y="1904146"/>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9"/>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9"/>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89" indent="-216589">
              <a:defRPr/>
            </a:lvl2pPr>
            <a:lvl3pPr marL="381195" indent="-174234">
              <a:defRPr/>
            </a:lvl3pPr>
            <a:lvl4pPr marL="926036" indent="-183859">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8766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5"/>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197595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359239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BC6697-7549-860A-0DA4-D28BE0D2DA24}"/>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3" name="Rectangle: Rounded Corners 2">
            <a:extLst>
              <a:ext uri="{FF2B5EF4-FFF2-40B4-BE49-F238E27FC236}">
                <a16:creationId xmlns:a16="http://schemas.microsoft.com/office/drawing/2014/main" id="{4C941A8C-2C69-BEDD-FB34-11EC05D7B78D}"/>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740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1682567"/>
            <a:ext cx="11036725" cy="1674747"/>
          </a:xfrm>
          <a:prstGeom prst="rect">
            <a:avLst/>
          </a:prstGeom>
        </p:spPr>
        <p:txBody>
          <a:bodyPr numCol="2" spcCol="1440000"/>
          <a:lstStyle>
            <a:lvl1pPr marL="207915" indent="-20791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488951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5"/>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5"/>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5"/>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5"/>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5"/>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796623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1"/>
            <a:ext cx="11049048" cy="406867"/>
          </a:xfrm>
        </p:spPr>
        <p:txBody>
          <a:bodyPr numCol="6" spcCol="360000" anchor="b" anchorCtr="0"/>
          <a:lstStyle>
            <a:lvl1pPr marL="0" indent="21755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9" y="4145141"/>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70550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2"/>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2"/>
            <a:ext cx="11049048" cy="406867"/>
          </a:xfrm>
        </p:spPr>
        <p:txBody>
          <a:bodyPr numCol="3" spcCol="720000" anchor="t" anchorCtr="0"/>
          <a:lstStyle>
            <a:lvl1pPr marL="0" indent="21755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2"/>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2"/>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056162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1"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5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8"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9"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51" indent="-217551">
              <a:defRPr lang="en-GB" sz="1092" kern="1200" dirty="0">
                <a:solidFill>
                  <a:schemeClr val="tx1"/>
                </a:solidFill>
                <a:latin typeface="+mn-lt"/>
                <a:ea typeface="+mn-ea"/>
                <a:cs typeface="+mn-cs"/>
              </a:defRPr>
            </a:lvl3pPr>
          </a:lstStyle>
          <a:p>
            <a:pPr marL="0" marR="0" lvl="0" indent="-217551" algn="l" defTabSz="554466"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3"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51" indent="-217551">
              <a:defRPr lang="en-GB" sz="1092" kern="1200" dirty="0">
                <a:solidFill>
                  <a:schemeClr val="tx1"/>
                </a:solidFill>
                <a:latin typeface="+mn-lt"/>
                <a:ea typeface="+mn-ea"/>
                <a:cs typeface="+mn-cs"/>
              </a:defRPr>
            </a:lvl3pPr>
          </a:lstStyle>
          <a:p>
            <a:pPr marL="0" marR="0" lvl="0" indent="-217551" algn="l" defTabSz="554466"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1"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51" indent="-217551">
              <a:defRPr lang="en-GB" sz="1092" kern="1200" dirty="0">
                <a:solidFill>
                  <a:schemeClr val="tx1"/>
                </a:solidFill>
                <a:latin typeface="+mn-lt"/>
                <a:ea typeface="+mn-ea"/>
                <a:cs typeface="+mn-cs"/>
              </a:defRPr>
            </a:lvl3pPr>
          </a:lstStyle>
          <a:p>
            <a:pPr marL="0" marR="0" lvl="0" indent="-217551" algn="l" defTabSz="554466"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132408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51" indent="-21755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51" indent="-21755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51" indent="-21755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51" indent="-21755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51" indent="-21755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74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6"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6"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59090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40"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9"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5"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5"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5"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127139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40"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3"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7"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0236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7"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9" y="3480496"/>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58039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9" y="1509772"/>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9"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51" indent="-21755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51" indent="-21755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3"/>
            <a:ext cx="2314188" cy="171705"/>
          </a:xfrm>
        </p:spPr>
        <p:txBody>
          <a:bodyPr wrap="square" tIns="0" bIns="0" anchor="t" anchorCtr="0">
            <a:spAutoFit/>
          </a:bodyPr>
          <a:lstStyle>
            <a:lvl1pPr marL="217551" indent="-21755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3"/>
            <a:ext cx="2314188" cy="171705"/>
          </a:xfrm>
        </p:spPr>
        <p:txBody>
          <a:bodyPr wrap="square" tIns="0" bIns="0" anchor="t" anchorCtr="0">
            <a:spAutoFit/>
          </a:bodyPr>
          <a:lstStyle>
            <a:lvl1pPr marL="217551" indent="-21755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02311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3A470E-E0FA-202B-3129-A45CD2529A5A}"/>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3" name="Rectangle: Rounded Corners 2">
            <a:extLst>
              <a:ext uri="{FF2B5EF4-FFF2-40B4-BE49-F238E27FC236}">
                <a16:creationId xmlns:a16="http://schemas.microsoft.com/office/drawing/2014/main" id="{A3DD1671-6802-0BA4-11D3-6D9EF196F320}"/>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740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1682567"/>
            <a:ext cx="11036725" cy="1674747"/>
          </a:xfrm>
          <a:prstGeom prst="rect">
            <a:avLst/>
          </a:prstGeom>
        </p:spPr>
        <p:txBody>
          <a:bodyPr numCol="2" spcCol="1440000"/>
          <a:lstStyle>
            <a:lvl1pPr marL="277220" indent="-277220">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16166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8"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6"/>
            <a:ext cx="1696672"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6"/>
            <a:ext cx="1743798"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6" y="5241915"/>
            <a:ext cx="1743797"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152422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6"/>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6"/>
            <a:ext cx="1880668"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4" y="5241915"/>
            <a:ext cx="2180486"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6" y="5241915"/>
            <a:ext cx="1459271"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1"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669053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8" y="2863650"/>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8039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5" y="3681456"/>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232398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1"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919250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5.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418648"/>
          </a:xfrm>
        </p:spPr>
        <p:txBody>
          <a:bodyPr/>
          <a:lstStyle>
            <a:lvl1pPr marL="0" indent="0" algn="l">
              <a:buNone/>
              <a:defRPr sz="2400">
                <a:solidFill>
                  <a:schemeClr val="bg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6200173" y="6397384"/>
            <a:ext cx="5154592" cy="138500"/>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11354764" y="6397384"/>
            <a:ext cx="380035" cy="138500"/>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705742894"/>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1" y="685800"/>
            <a:ext cx="11277600" cy="406867"/>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3" y="6397384"/>
            <a:ext cx="5154592" cy="111982"/>
          </a:xfrm>
          <a:prstGeom prst="rect">
            <a:avLst/>
          </a:prstGeom>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1"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5" cy="556812"/>
          </a:xfrm>
          <a:prstGeom prst="rect">
            <a:avLst/>
          </a:prstGeom>
        </p:spPr>
      </p:pic>
      <p:grpSp>
        <p:nvGrpSpPr>
          <p:cNvPr id="3" name="Group 2">
            <a:extLst>
              <a:ext uri="{FF2B5EF4-FFF2-40B4-BE49-F238E27FC236}">
                <a16:creationId xmlns:a16="http://schemas.microsoft.com/office/drawing/2014/main" id="{94CAD921-B62B-B3CE-B992-C1A001AF2E71}"/>
              </a:ext>
            </a:extLst>
          </p:cNvPr>
          <p:cNvGrpSpPr/>
          <p:nvPr userDrawn="1"/>
        </p:nvGrpSpPr>
        <p:grpSpPr bwMode="gray">
          <a:xfrm>
            <a:off x="9066230" y="6150622"/>
            <a:ext cx="2515543" cy="569706"/>
            <a:chOff x="5525840" y="3530278"/>
            <a:chExt cx="1886657" cy="569706"/>
          </a:xfrm>
        </p:grpSpPr>
        <p:sp>
          <p:nvSpPr>
            <p:cNvPr id="8" name="TextBox 7">
              <a:extLst>
                <a:ext uri="{FF2B5EF4-FFF2-40B4-BE49-F238E27FC236}">
                  <a16:creationId xmlns:a16="http://schemas.microsoft.com/office/drawing/2014/main" id="{EBDDF05E-EFF5-0CC0-B4B6-A7314B891D9C}"/>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9" name="Group 8">
              <a:extLst>
                <a:ext uri="{FF2B5EF4-FFF2-40B4-BE49-F238E27FC236}">
                  <a16:creationId xmlns:a16="http://schemas.microsoft.com/office/drawing/2014/main" id="{B8E9038E-D2E7-31C9-A3B3-0A843F5B5831}"/>
                </a:ext>
              </a:extLst>
            </p:cNvPr>
            <p:cNvGrpSpPr/>
            <p:nvPr/>
          </p:nvGrpSpPr>
          <p:grpSpPr bwMode="gray">
            <a:xfrm>
              <a:off x="5525840" y="3618320"/>
              <a:ext cx="1879457" cy="481664"/>
              <a:chOff x="5525840" y="3618320"/>
              <a:chExt cx="1879457" cy="481664"/>
            </a:xfrm>
          </p:grpSpPr>
          <p:sp>
            <p:nvSpPr>
              <p:cNvPr id="10" name="TextBox 9">
                <a:extLst>
                  <a:ext uri="{FF2B5EF4-FFF2-40B4-BE49-F238E27FC236}">
                    <a16:creationId xmlns:a16="http://schemas.microsoft.com/office/drawing/2014/main" id="{7C425B1E-A301-AD63-854F-5B2AC5093A53}"/>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1" name="TextBox 10">
                <a:extLst>
                  <a:ext uri="{FF2B5EF4-FFF2-40B4-BE49-F238E27FC236}">
                    <a16:creationId xmlns:a16="http://schemas.microsoft.com/office/drawing/2014/main" id="{E6014833-B067-1FEE-7E67-CE904B7E1A1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3900279587"/>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userDrawn="1">
  <p:cSld name="1_Two Content">
    <p:bg>
      <p:bgPr>
        <a:solidFill>
          <a:schemeClr val="bg1"/>
        </a:solidFill>
        <a:effectLst/>
      </p:bgPr>
    </p:bg>
    <p:spTree>
      <p:nvGrpSpPr>
        <p:cNvPr id="1" name=""/>
        <p:cNvGrpSpPr/>
        <p:nvPr/>
      </p:nvGrpSpPr>
      <p:grpSpPr>
        <a:xfrm>
          <a:off x="0" y="0"/>
          <a:ext cx="0" cy="0"/>
          <a:chOff x="0" y="0"/>
          <a:chExt cx="0" cy="0"/>
        </a:xfrm>
      </p:grpSpPr>
      <p:cxnSp>
        <p:nvCxnSpPr>
          <p:cNvPr id="17" name="Straight Connector 16"/>
          <p:cNvCxnSpPr/>
          <p:nvPr userDrawn="1"/>
        </p:nvCxnSpPr>
        <p:spPr>
          <a:xfrm>
            <a:off x="913775" y="1258438"/>
            <a:ext cx="1036445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6115049" y="1495545"/>
            <a:ext cx="0" cy="4205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7BDFE71F-A177-234A-9C0F-C1A5B2888A90}"/>
              </a:ext>
            </a:extLst>
          </p:cNvPr>
          <p:cNvSpPr>
            <a:spLocks noGrp="1"/>
          </p:cNvSpPr>
          <p:nvPr>
            <p:ph type="title" hasCustomPrompt="1"/>
          </p:nvPr>
        </p:nvSpPr>
        <p:spPr>
          <a:xfrm>
            <a:off x="913776" y="432774"/>
            <a:ext cx="10364450" cy="873952"/>
          </a:xfrm>
          <a:noFill/>
          <a:ln>
            <a:noFill/>
          </a:ln>
        </p:spPr>
        <p:txBody>
          <a:bodyPr>
            <a:normAutofit/>
          </a:bodyPr>
          <a:lstStyle>
            <a:lvl1pPr algn="l">
              <a:defRPr sz="3446" b="1" i="0" cap="none" spc="-123" baseline="0">
                <a:solidFill>
                  <a:srgbClr val="636DA6"/>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32" name="Rectangle 31">
            <a:extLst>
              <a:ext uri="{FF2B5EF4-FFF2-40B4-BE49-F238E27FC236}">
                <a16:creationId xmlns:a16="http://schemas.microsoft.com/office/drawing/2014/main" id="{DE0D3614-278A-284C-BF62-AF9B6515EE16}"/>
              </a:ext>
            </a:extLst>
          </p:cNvPr>
          <p:cNvSpPr/>
          <p:nvPr userDrawn="1"/>
        </p:nvSpPr>
        <p:spPr>
          <a:xfrm>
            <a:off x="1" y="6355494"/>
            <a:ext cx="12214585" cy="502505"/>
          </a:xfrm>
          <a:prstGeom prst="rect">
            <a:avLst/>
          </a:prstGeom>
          <a:gradFill>
            <a:gsLst>
              <a:gs pos="0">
                <a:schemeClr val="tx1">
                  <a:lumMod val="65000"/>
                  <a:lumOff val="35000"/>
                </a:schemeClr>
              </a:gs>
              <a:gs pos="100000">
                <a:schemeClr val="tx1">
                  <a:lumMod val="75000"/>
                  <a:lumOff val="2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7"/>
          </a:p>
        </p:txBody>
      </p:sp>
      <p:sp>
        <p:nvSpPr>
          <p:cNvPr id="33" name="Slide Number Placeholder 5">
            <a:extLst>
              <a:ext uri="{FF2B5EF4-FFF2-40B4-BE49-F238E27FC236}">
                <a16:creationId xmlns:a16="http://schemas.microsoft.com/office/drawing/2014/main" id="{2F826752-8C0B-7A4E-856C-0F32523DEB9D}"/>
              </a:ext>
            </a:extLst>
          </p:cNvPr>
          <p:cNvSpPr>
            <a:spLocks noGrp="1"/>
          </p:cNvSpPr>
          <p:nvPr>
            <p:ph type="sldNum" sz="quarter" idx="12"/>
          </p:nvPr>
        </p:nvSpPr>
        <p:spPr>
          <a:xfrm>
            <a:off x="10980574" y="6485213"/>
            <a:ext cx="764215" cy="227307"/>
          </a:xfrm>
        </p:spPr>
        <p:txBody>
          <a:bodyPr/>
          <a:lstStyle>
            <a:lvl1pPr>
              <a:defRPr sz="1477">
                <a:solidFill>
                  <a:schemeClr val="bg1">
                    <a:lumMod val="85000"/>
                  </a:schemeClr>
                </a:solidFill>
              </a:defRPr>
            </a:lvl1pPr>
          </a:lstStyle>
          <a:p>
            <a:fld id="{6D22F896-40B5-4ADD-8801-0D06FADFA095}" type="slidenum">
              <a:rPr lang="en-US" smtClean="0"/>
              <a:pPr/>
              <a:t>‹#›</a:t>
            </a:fld>
            <a:endParaRPr lang="en-US"/>
          </a:p>
        </p:txBody>
      </p:sp>
      <p:cxnSp>
        <p:nvCxnSpPr>
          <p:cNvPr id="34" name="Straight Connector 33">
            <a:extLst>
              <a:ext uri="{FF2B5EF4-FFF2-40B4-BE49-F238E27FC236}">
                <a16:creationId xmlns:a16="http://schemas.microsoft.com/office/drawing/2014/main" id="{6B9CCE5E-BD7C-4B43-9103-A09FB1EA5180}"/>
              </a:ext>
            </a:extLst>
          </p:cNvPr>
          <p:cNvCxnSpPr>
            <a:cxnSpLocks/>
          </p:cNvCxnSpPr>
          <p:nvPr userDrawn="1"/>
        </p:nvCxnSpPr>
        <p:spPr>
          <a:xfrm>
            <a:off x="1699298" y="6478993"/>
            <a:ext cx="0" cy="314726"/>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ACB5CB4E-BC28-1F47-ACA9-FDBC9AC9FD86}"/>
              </a:ext>
            </a:extLst>
          </p:cNvPr>
          <p:cNvGrpSpPr/>
          <p:nvPr userDrawn="1"/>
        </p:nvGrpSpPr>
        <p:grpSpPr>
          <a:xfrm>
            <a:off x="1886185" y="6424081"/>
            <a:ext cx="2607987" cy="367288"/>
            <a:chOff x="2712763" y="6171665"/>
            <a:chExt cx="4723381" cy="563201"/>
          </a:xfrm>
        </p:grpSpPr>
        <p:pic>
          <p:nvPicPr>
            <p:cNvPr id="36" name="Picture 35">
              <a:extLst>
                <a:ext uri="{FF2B5EF4-FFF2-40B4-BE49-F238E27FC236}">
                  <a16:creationId xmlns:a16="http://schemas.microsoft.com/office/drawing/2014/main" id="{3F1860D2-23FC-1042-88AD-9514490522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12763" y="6171665"/>
              <a:ext cx="666510" cy="563201"/>
            </a:xfrm>
            <a:prstGeom prst="rect">
              <a:avLst/>
            </a:prstGeom>
          </p:spPr>
        </p:pic>
        <p:pic>
          <p:nvPicPr>
            <p:cNvPr id="37" name="Picture 36">
              <a:extLst>
                <a:ext uri="{FF2B5EF4-FFF2-40B4-BE49-F238E27FC236}">
                  <a16:creationId xmlns:a16="http://schemas.microsoft.com/office/drawing/2014/main" id="{6B2B9BA7-18D0-F542-B810-A714EBC489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68769" y="6311345"/>
              <a:ext cx="4467375" cy="261341"/>
            </a:xfrm>
            <a:prstGeom prst="rect">
              <a:avLst/>
            </a:prstGeom>
          </p:spPr>
        </p:pic>
      </p:grpSp>
      <p:pic>
        <p:nvPicPr>
          <p:cNvPr id="38" name="Picture 37" descr="A picture containing drawing&#10;&#10;Description automatically generated">
            <a:extLst>
              <a:ext uri="{FF2B5EF4-FFF2-40B4-BE49-F238E27FC236}">
                <a16:creationId xmlns:a16="http://schemas.microsoft.com/office/drawing/2014/main" id="{1FD00FCE-5296-654E-AE3A-89768AC9AB0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23860" y="6423237"/>
            <a:ext cx="1227202" cy="373863"/>
          </a:xfrm>
          <a:prstGeom prst="rect">
            <a:avLst/>
          </a:prstGeom>
        </p:spPr>
      </p:pic>
      <p:pic>
        <p:nvPicPr>
          <p:cNvPr id="39" name="Picture 38" descr="A close up of a sign&#10;&#10;Description automatically generated">
            <a:extLst>
              <a:ext uri="{FF2B5EF4-FFF2-40B4-BE49-F238E27FC236}">
                <a16:creationId xmlns:a16="http://schemas.microsoft.com/office/drawing/2014/main" id="{79817A12-65E7-A143-BCF2-7D028E6C331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956824" y="6389214"/>
            <a:ext cx="870128" cy="435064"/>
          </a:xfrm>
          <a:prstGeom prst="rect">
            <a:avLst/>
          </a:prstGeom>
        </p:spPr>
      </p:pic>
      <p:cxnSp>
        <p:nvCxnSpPr>
          <p:cNvPr id="40" name="Straight Connector 39">
            <a:extLst>
              <a:ext uri="{FF2B5EF4-FFF2-40B4-BE49-F238E27FC236}">
                <a16:creationId xmlns:a16="http://schemas.microsoft.com/office/drawing/2014/main" id="{EF1241BE-9C30-B446-A200-7CC476636F0A}"/>
              </a:ext>
            </a:extLst>
          </p:cNvPr>
          <p:cNvCxnSpPr>
            <a:cxnSpLocks/>
          </p:cNvCxnSpPr>
          <p:nvPr userDrawn="1"/>
        </p:nvCxnSpPr>
        <p:spPr>
          <a:xfrm>
            <a:off x="4709198" y="6449383"/>
            <a:ext cx="0" cy="314726"/>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41" name="Picture 40" descr="A close up of a sign&#10;&#10;Description automatically generated">
            <a:extLst>
              <a:ext uri="{FF2B5EF4-FFF2-40B4-BE49-F238E27FC236}">
                <a16:creationId xmlns:a16="http://schemas.microsoft.com/office/drawing/2014/main" id="{8CF876A9-9CE5-844A-8748-B6E0DC3BA1E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313303" y="6436684"/>
            <a:ext cx="1778000" cy="360101"/>
          </a:xfrm>
          <a:prstGeom prst="rect">
            <a:avLst/>
          </a:prstGeom>
        </p:spPr>
      </p:pic>
      <p:cxnSp>
        <p:nvCxnSpPr>
          <p:cNvPr id="42" name="Straight Connector 41">
            <a:extLst>
              <a:ext uri="{FF2B5EF4-FFF2-40B4-BE49-F238E27FC236}">
                <a16:creationId xmlns:a16="http://schemas.microsoft.com/office/drawing/2014/main" id="{74B85636-C69F-364C-8CEC-B679142854F0}"/>
              </a:ext>
            </a:extLst>
          </p:cNvPr>
          <p:cNvCxnSpPr>
            <a:cxnSpLocks/>
          </p:cNvCxnSpPr>
          <p:nvPr userDrawn="1"/>
        </p:nvCxnSpPr>
        <p:spPr>
          <a:xfrm>
            <a:off x="6074854" y="6462083"/>
            <a:ext cx="0" cy="314726"/>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3" name="Content Placeholder 2">
            <a:extLst>
              <a:ext uri="{FF2B5EF4-FFF2-40B4-BE49-F238E27FC236}">
                <a16:creationId xmlns:a16="http://schemas.microsoft.com/office/drawing/2014/main" id="{A4943860-2804-434E-8911-608FA362A720}"/>
              </a:ext>
            </a:extLst>
          </p:cNvPr>
          <p:cNvSpPr>
            <a:spLocks noGrp="1"/>
          </p:cNvSpPr>
          <p:nvPr>
            <p:ph sz="quarter" idx="13" hasCustomPrompt="1"/>
          </p:nvPr>
        </p:nvSpPr>
        <p:spPr>
          <a:xfrm>
            <a:off x="913773" y="1413249"/>
            <a:ext cx="5106026" cy="842972"/>
          </a:xfrm>
        </p:spPr>
        <p:txBody>
          <a:bodyPr/>
          <a:lstStyle>
            <a:lvl1pPr>
              <a:lnSpc>
                <a:spcPct val="100000"/>
              </a:lnSpc>
              <a:buClr>
                <a:srgbClr val="636DA6"/>
              </a:buClr>
              <a:defRPr b="1"/>
            </a:lvl1pPr>
            <a:lvl2pPr marL="844066" indent="-281355">
              <a:lnSpc>
                <a:spcPct val="100000"/>
              </a:lnSpc>
              <a:buClr>
                <a:srgbClr val="636DA6"/>
              </a:buClr>
              <a:buSzPct val="65000"/>
              <a:buFont typeface="Courier New" panose="02070309020205020404" pitchFamily="49" charset="0"/>
              <a:buChar char="o"/>
              <a:defRPr>
                <a:solidFill>
                  <a:schemeClr val="tx1">
                    <a:lumMod val="65000"/>
                    <a:lumOff val="35000"/>
                  </a:schemeClr>
                </a:solidFill>
              </a:defRPr>
            </a:lvl2pPr>
            <a:lvl3pPr marL="1477104" indent="-351685">
              <a:lnSpc>
                <a:spcPct val="100000"/>
              </a:lnSpc>
              <a:buClr>
                <a:srgbClr val="636DA6"/>
              </a:buClr>
              <a:buSzPct val="80000"/>
              <a:buFont typeface=".AppleSystemUIFont"/>
              <a:buChar char="-"/>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p:txBody>
      </p:sp>
      <p:sp>
        <p:nvSpPr>
          <p:cNvPr id="44" name="Content Placeholder 3">
            <a:extLst>
              <a:ext uri="{FF2B5EF4-FFF2-40B4-BE49-F238E27FC236}">
                <a16:creationId xmlns:a16="http://schemas.microsoft.com/office/drawing/2014/main" id="{C9590ECE-2C34-2B49-BB2B-B6F282B91A70}"/>
              </a:ext>
            </a:extLst>
          </p:cNvPr>
          <p:cNvSpPr>
            <a:spLocks noGrp="1"/>
          </p:cNvSpPr>
          <p:nvPr>
            <p:ph sz="quarter" idx="14" hasCustomPrompt="1"/>
          </p:nvPr>
        </p:nvSpPr>
        <p:spPr>
          <a:xfrm>
            <a:off x="6172200" y="1413249"/>
            <a:ext cx="5105401" cy="842972"/>
          </a:xfrm>
        </p:spPr>
        <p:txBody>
          <a:bodyPr/>
          <a:lstStyle>
            <a:lvl1pPr>
              <a:lnSpc>
                <a:spcPct val="100000"/>
              </a:lnSpc>
              <a:buClr>
                <a:srgbClr val="636DA6"/>
              </a:buClr>
              <a:defRPr b="1"/>
            </a:lvl1pPr>
            <a:lvl2pPr marL="844066" indent="-281355">
              <a:lnSpc>
                <a:spcPct val="100000"/>
              </a:lnSpc>
              <a:buClr>
                <a:srgbClr val="636DA6"/>
              </a:buClr>
              <a:buSzPct val="65000"/>
              <a:buFont typeface="Courier New" panose="02070309020205020404" pitchFamily="49" charset="0"/>
              <a:buChar char="o"/>
              <a:defRPr>
                <a:solidFill>
                  <a:schemeClr val="tx1">
                    <a:lumMod val="65000"/>
                    <a:lumOff val="35000"/>
                  </a:schemeClr>
                </a:solidFill>
              </a:defRPr>
            </a:lvl2pPr>
            <a:lvl3pPr marL="1477104" indent="-351685">
              <a:lnSpc>
                <a:spcPct val="100000"/>
              </a:lnSpc>
              <a:buClr>
                <a:srgbClr val="636DA6"/>
              </a:buClr>
              <a:buSzPct val="80000"/>
              <a:buFont typeface=".AppleSystemUIFont"/>
              <a:buChar char="-"/>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1371373"/>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4"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sz="1800"/>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111982"/>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sz="1800"/>
          </a:p>
        </p:txBody>
      </p:sp>
      <p:pic>
        <p:nvPicPr>
          <p:cNvPr id="4" name="Content Placeholder 9" descr="Logo&#10;&#10;Description automatically generated">
            <a:extLst>
              <a:ext uri="{FF2B5EF4-FFF2-40B4-BE49-F238E27FC236}">
                <a16:creationId xmlns:a16="http://schemas.microsoft.com/office/drawing/2014/main" id="{5B96636C-F772-A4A1-282E-4A59EA698AA0}"/>
              </a:ext>
            </a:extLst>
          </p:cNvPr>
          <p:cNvPicPr>
            <a:picLocks noChangeAspect="1"/>
          </p:cNvPicPr>
          <p:nvPr userDrawn="1"/>
        </p:nvPicPr>
        <p:blipFill>
          <a:blip r:embed="rId2"/>
          <a:stretch>
            <a:fillRect/>
          </a:stretch>
        </p:blipFill>
        <p:spPr>
          <a:xfrm>
            <a:off x="207654" y="6122143"/>
            <a:ext cx="1221061" cy="630298"/>
          </a:xfrm>
          <a:prstGeom prst="rect">
            <a:avLst/>
          </a:prstGeom>
        </p:spPr>
      </p:pic>
    </p:spTree>
    <p:extLst>
      <p:ext uri="{BB962C8B-B14F-4D97-AF65-F5344CB8AC3E}">
        <p14:creationId xmlns:p14="http://schemas.microsoft.com/office/powerpoint/2010/main" val="724001475"/>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9"/>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20" indent="0" algn="ctr">
              <a:buNone/>
              <a:defRPr sz="1213"/>
            </a:lvl2pPr>
            <a:lvl3pPr marL="554440" indent="0" algn="ctr">
              <a:buNone/>
              <a:defRPr sz="1092"/>
            </a:lvl3pPr>
            <a:lvl4pPr marL="831661" indent="0" algn="ctr">
              <a:buNone/>
              <a:defRPr sz="970"/>
            </a:lvl4pPr>
            <a:lvl5pPr marL="1108882" indent="0" algn="ctr">
              <a:buNone/>
              <a:defRPr sz="970"/>
            </a:lvl5pPr>
            <a:lvl6pPr marL="1386102" indent="0" algn="ctr">
              <a:buNone/>
              <a:defRPr sz="970"/>
            </a:lvl6pPr>
            <a:lvl7pPr marL="1663322" indent="0" algn="ctr">
              <a:buNone/>
              <a:defRPr sz="970"/>
            </a:lvl7pPr>
            <a:lvl8pPr marL="1940543" indent="0" algn="ctr">
              <a:buNone/>
              <a:defRPr sz="970"/>
            </a:lvl8pPr>
            <a:lvl9pPr marL="2217763"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5"/>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84345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4B21556-CC8D-3C8F-8AEA-66A806BB6E02}"/>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https://climate.nasa.gov/</a:t>
            </a:r>
            <a:endParaRPr lang="en-CH" sz="1800"/>
          </a:p>
        </p:txBody>
      </p:sp>
      <p:sp>
        <p:nvSpPr>
          <p:cNvPr id="4" name="Rectangle: Rounded Corners 3">
            <a:extLst>
              <a:ext uri="{FF2B5EF4-FFF2-40B4-BE49-F238E27FC236}">
                <a16:creationId xmlns:a16="http://schemas.microsoft.com/office/drawing/2014/main" id="{CC5CE25E-E585-793E-931B-3B59BFEF6C34}"/>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7403"/>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4"/>
            <a:ext cx="10775825" cy="1564243"/>
          </a:xfrm>
          <a:prstGeom prst="rect">
            <a:avLst/>
          </a:prstGeo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32281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9"/>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20" indent="0" algn="ctr">
              <a:buNone/>
              <a:defRPr sz="1213"/>
            </a:lvl2pPr>
            <a:lvl3pPr marL="554440" indent="0" algn="ctr">
              <a:buNone/>
              <a:defRPr sz="1092"/>
            </a:lvl3pPr>
            <a:lvl4pPr marL="831661" indent="0" algn="ctr">
              <a:buNone/>
              <a:defRPr sz="970"/>
            </a:lvl4pPr>
            <a:lvl5pPr marL="1108882" indent="0" algn="ctr">
              <a:buNone/>
              <a:defRPr sz="970"/>
            </a:lvl5pPr>
            <a:lvl6pPr marL="1386102" indent="0" algn="ctr">
              <a:buNone/>
              <a:defRPr sz="970"/>
            </a:lvl6pPr>
            <a:lvl7pPr marL="1663322" indent="0" algn="ctr">
              <a:buNone/>
              <a:defRPr sz="970"/>
            </a:lvl7pPr>
            <a:lvl8pPr marL="1940543" indent="0" algn="ctr">
              <a:buNone/>
              <a:defRPr sz="970"/>
            </a:lvl8pPr>
            <a:lvl9pPr marL="2217763"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5"/>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769944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9"/>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20" indent="0" algn="ctr">
              <a:buNone/>
              <a:defRPr sz="1213"/>
            </a:lvl2pPr>
            <a:lvl3pPr marL="554440" indent="0" algn="ctr">
              <a:buNone/>
              <a:defRPr sz="1092"/>
            </a:lvl3pPr>
            <a:lvl4pPr marL="831661" indent="0" algn="ctr">
              <a:buNone/>
              <a:defRPr sz="970"/>
            </a:lvl4pPr>
            <a:lvl5pPr marL="1108882" indent="0" algn="ctr">
              <a:buNone/>
              <a:defRPr sz="970"/>
            </a:lvl5pPr>
            <a:lvl6pPr marL="1386102" indent="0" algn="ctr">
              <a:buNone/>
              <a:defRPr sz="970"/>
            </a:lvl6pPr>
            <a:lvl7pPr marL="1663322" indent="0" algn="ctr">
              <a:buNone/>
              <a:defRPr sz="970"/>
            </a:lvl7pPr>
            <a:lvl8pPr marL="1940543" indent="0" algn="ctr">
              <a:buNone/>
              <a:defRPr sz="970"/>
            </a:lvl8pPr>
            <a:lvl9pPr marL="2217763"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5"/>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7"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90751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9"/>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20" indent="0" algn="ctr">
              <a:buNone/>
              <a:defRPr sz="1213"/>
            </a:lvl2pPr>
            <a:lvl3pPr marL="554440" indent="0" algn="ctr">
              <a:buNone/>
              <a:defRPr sz="1092"/>
            </a:lvl3pPr>
            <a:lvl4pPr marL="831661" indent="0" algn="ctr">
              <a:buNone/>
              <a:defRPr sz="970"/>
            </a:lvl4pPr>
            <a:lvl5pPr marL="1108882" indent="0" algn="ctr">
              <a:buNone/>
              <a:defRPr sz="970"/>
            </a:lvl5pPr>
            <a:lvl6pPr marL="1386102" indent="0" algn="ctr">
              <a:buNone/>
              <a:defRPr sz="970"/>
            </a:lvl6pPr>
            <a:lvl7pPr marL="1663322" indent="0" algn="ctr">
              <a:buNone/>
              <a:defRPr sz="970"/>
            </a:lvl7pPr>
            <a:lvl8pPr marL="1940543" indent="0" algn="ctr">
              <a:buNone/>
              <a:defRPr sz="970"/>
            </a:lvl8pPr>
            <a:lvl9pPr marL="2217763"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1"/>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2"/>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2"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8" y="2773430"/>
            <a:ext cx="3471601" cy="1311145"/>
          </a:xfrm>
          <a:prstGeom prst="rect">
            <a:avLst/>
          </a:prstGeom>
        </p:spPr>
      </p:pic>
    </p:spTree>
    <p:extLst>
      <p:ext uri="{BB962C8B-B14F-4D97-AF65-F5344CB8AC3E}">
        <p14:creationId xmlns:p14="http://schemas.microsoft.com/office/powerpoint/2010/main" val="15058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9"/>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20" indent="0" algn="ctr">
              <a:buNone/>
              <a:defRPr sz="1213"/>
            </a:lvl2pPr>
            <a:lvl3pPr marL="554440" indent="0" algn="ctr">
              <a:buNone/>
              <a:defRPr sz="1092"/>
            </a:lvl3pPr>
            <a:lvl4pPr marL="831661" indent="0" algn="ctr">
              <a:buNone/>
              <a:defRPr sz="970"/>
            </a:lvl4pPr>
            <a:lvl5pPr marL="1108882" indent="0" algn="ctr">
              <a:buNone/>
              <a:defRPr sz="970"/>
            </a:lvl5pPr>
            <a:lvl6pPr marL="1386102" indent="0" algn="ctr">
              <a:buNone/>
              <a:defRPr sz="970"/>
            </a:lvl6pPr>
            <a:lvl7pPr marL="1663322" indent="0" algn="ctr">
              <a:buNone/>
              <a:defRPr sz="970"/>
            </a:lvl7pPr>
            <a:lvl8pPr marL="1940543" indent="0" algn="ctr">
              <a:buNone/>
              <a:defRPr sz="970"/>
            </a:lvl8pPr>
            <a:lvl9pPr marL="2217763"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1"/>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2"/>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2"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281171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9"/>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20" indent="0" algn="ctr">
              <a:buNone/>
              <a:defRPr sz="1213"/>
            </a:lvl2pPr>
            <a:lvl3pPr marL="554440" indent="0" algn="ctr">
              <a:buNone/>
              <a:defRPr sz="1092"/>
            </a:lvl3pPr>
            <a:lvl4pPr marL="831661" indent="0" algn="ctr">
              <a:buNone/>
              <a:defRPr sz="970"/>
            </a:lvl4pPr>
            <a:lvl5pPr marL="1108882" indent="0" algn="ctr">
              <a:buNone/>
              <a:defRPr sz="970"/>
            </a:lvl5pPr>
            <a:lvl6pPr marL="1386102" indent="0" algn="ctr">
              <a:buNone/>
              <a:defRPr sz="970"/>
            </a:lvl6pPr>
            <a:lvl7pPr marL="1663322" indent="0" algn="ctr">
              <a:buNone/>
              <a:defRPr sz="970"/>
            </a:lvl7pPr>
            <a:lvl8pPr marL="1940543" indent="0" algn="ctr">
              <a:buNone/>
              <a:defRPr sz="970"/>
            </a:lvl8pPr>
            <a:lvl9pPr marL="2217763"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1"/>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2"/>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2"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9" y="2220890"/>
            <a:ext cx="2454959" cy="1819430"/>
          </a:xfrm>
          <a:prstGeom prst="rect">
            <a:avLst/>
          </a:prstGeom>
        </p:spPr>
      </p:pic>
    </p:spTree>
    <p:extLst>
      <p:ext uri="{BB962C8B-B14F-4D97-AF65-F5344CB8AC3E}">
        <p14:creationId xmlns:p14="http://schemas.microsoft.com/office/powerpoint/2010/main" val="1711046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9"/>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20" indent="0" algn="ctr">
              <a:buNone/>
              <a:defRPr sz="1213"/>
            </a:lvl2pPr>
            <a:lvl3pPr marL="554440" indent="0" algn="ctr">
              <a:buNone/>
              <a:defRPr sz="1092"/>
            </a:lvl3pPr>
            <a:lvl4pPr marL="831661" indent="0" algn="ctr">
              <a:buNone/>
              <a:defRPr sz="970"/>
            </a:lvl4pPr>
            <a:lvl5pPr marL="1108882" indent="0" algn="ctr">
              <a:buNone/>
              <a:defRPr sz="970"/>
            </a:lvl5pPr>
            <a:lvl6pPr marL="1386102" indent="0" algn="ctr">
              <a:buNone/>
              <a:defRPr sz="970"/>
            </a:lvl6pPr>
            <a:lvl7pPr marL="1663322" indent="0" algn="ctr">
              <a:buNone/>
              <a:defRPr sz="970"/>
            </a:lvl7pPr>
            <a:lvl8pPr marL="1940543" indent="0" algn="ctr">
              <a:buNone/>
              <a:defRPr sz="970"/>
            </a:lvl8pPr>
            <a:lvl9pPr marL="2217763"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5"/>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524911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9"/>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20" indent="0" algn="ctr">
              <a:buNone/>
              <a:defRPr sz="1213"/>
            </a:lvl2pPr>
            <a:lvl3pPr marL="554440" indent="0" algn="ctr">
              <a:buNone/>
              <a:defRPr sz="1092"/>
            </a:lvl3pPr>
            <a:lvl4pPr marL="831661" indent="0" algn="ctr">
              <a:buNone/>
              <a:defRPr sz="970"/>
            </a:lvl4pPr>
            <a:lvl5pPr marL="1108882" indent="0" algn="ctr">
              <a:buNone/>
              <a:defRPr sz="970"/>
            </a:lvl5pPr>
            <a:lvl6pPr marL="1386102" indent="0" algn="ctr">
              <a:buNone/>
              <a:defRPr sz="970"/>
            </a:lvl6pPr>
            <a:lvl7pPr marL="1663322" indent="0" algn="ctr">
              <a:buNone/>
              <a:defRPr sz="970"/>
            </a:lvl7pPr>
            <a:lvl8pPr marL="1940543" indent="0" algn="ctr">
              <a:buNone/>
              <a:defRPr sz="970"/>
            </a:lvl8pPr>
            <a:lvl9pPr marL="2217763"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3"/>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5"/>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7" y="5756444"/>
            <a:ext cx="750929" cy="554493"/>
          </a:xfrm>
          <a:prstGeom prst="rect">
            <a:avLst/>
          </a:prstGeom>
        </p:spPr>
      </p:pic>
    </p:spTree>
    <p:extLst>
      <p:ext uri="{BB962C8B-B14F-4D97-AF65-F5344CB8AC3E}">
        <p14:creationId xmlns:p14="http://schemas.microsoft.com/office/powerpoint/2010/main" val="1058546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50"/>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20" indent="0" algn="ctr">
              <a:buNone/>
              <a:defRPr sz="1213"/>
            </a:lvl2pPr>
            <a:lvl3pPr marL="554440" indent="0" algn="ctr">
              <a:buNone/>
              <a:defRPr sz="1092"/>
            </a:lvl3pPr>
            <a:lvl4pPr marL="831661" indent="0" algn="ctr">
              <a:buNone/>
              <a:defRPr sz="970"/>
            </a:lvl4pPr>
            <a:lvl5pPr marL="1108882" indent="0" algn="ctr">
              <a:buNone/>
              <a:defRPr sz="970"/>
            </a:lvl5pPr>
            <a:lvl6pPr marL="1386102" indent="0" algn="ctr">
              <a:buNone/>
              <a:defRPr sz="970"/>
            </a:lvl6pPr>
            <a:lvl7pPr marL="1663322" indent="0" algn="ctr">
              <a:buNone/>
              <a:defRPr sz="970"/>
            </a:lvl7pPr>
            <a:lvl8pPr marL="1940543" indent="0" algn="ctr">
              <a:buNone/>
              <a:defRPr sz="970"/>
            </a:lvl8pPr>
            <a:lvl9pPr marL="2217763"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1536734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873" indent="-311873">
              <a:spcAft>
                <a:spcPts val="0"/>
              </a:spcAft>
              <a:buFont typeface="+mj-lt"/>
              <a:buAutoNum type="arabicPeriod"/>
              <a:defRPr sz="1940" b="0" i="0">
                <a:solidFill>
                  <a:schemeClr val="tx1"/>
                </a:solidFill>
                <a:latin typeface="Poppins Medium" pitchFamily="2" charset="77"/>
                <a:cs typeface="Poppins Medium" pitchFamily="2" charset="77"/>
              </a:defRPr>
            </a:lvl1pPr>
            <a:lvl2pPr marL="311873" indent="-311873">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6" y="2299042"/>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044636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9" y="2342856"/>
            <a:ext cx="11042887" cy="3007436"/>
          </a:xfrm>
        </p:spPr>
        <p:txBody>
          <a:bodyPr wrap="square" numCol="2" spcCol="756000">
            <a:noAutofit/>
          </a:bodyPr>
          <a:lstStyle>
            <a:lvl1pPr marL="311873" indent="-311873">
              <a:spcAft>
                <a:spcPts val="0"/>
              </a:spcAft>
              <a:buFont typeface="+mj-lt"/>
              <a:buAutoNum type="arabicPeriod"/>
              <a:defRPr sz="1940" b="0" i="0">
                <a:solidFill>
                  <a:schemeClr val="tx1"/>
                </a:solidFill>
                <a:latin typeface="Poppins Medium" pitchFamily="2" charset="77"/>
                <a:cs typeface="Poppins Medium" pitchFamily="2" charset="77"/>
              </a:defRPr>
            </a:lvl1pPr>
            <a:lvl2pPr marL="311873" indent="-311873">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98342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DBAB19-BF47-0842-AC02-494BBB8F3847}"/>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96BB53E3-3844-2DCD-9055-233E58E3B264}"/>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81" y="2"/>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740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8119"/>
          </a:xfrm>
          <a:prstGeom prst="rect">
            <a:avLst/>
          </a:prstGeo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5"/>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50298"/>
          </a:xfrm>
          <a:prstGeom prst="rect">
            <a:avLst/>
          </a:prstGeo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4833"/>
          </a:xfrm>
          <a:prstGeom prst="rect">
            <a:avLst/>
          </a:prstGeom>
        </p:spPr>
        <p:txBody>
          <a:bodyPr/>
          <a:lstStyle/>
          <a:p>
            <a:r>
              <a:rPr lang="en-US"/>
              <a:t>Click icon to add picture</a:t>
            </a:r>
            <a:endParaRPr lang="en-GB"/>
          </a:p>
        </p:txBody>
      </p:sp>
    </p:spTree>
    <p:extLst>
      <p:ext uri="{BB962C8B-B14F-4D97-AF65-F5344CB8AC3E}">
        <p14:creationId xmlns:p14="http://schemas.microsoft.com/office/powerpoint/2010/main" val="248385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297890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6" y="2299042"/>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46214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40"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126534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40"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8"/>
            <a:ext cx="5081284" cy="1571475"/>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34065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40"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10"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10"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10"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78134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40"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2" y="161270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5" y="1613917"/>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8" y="1613917"/>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80"/>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80"/>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80"/>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3"/>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3"/>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3"/>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6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6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6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2" y="282229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5" y="282350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8" y="282350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2" y="4031872"/>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5"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8"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2" y="5241453"/>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5" y="5242663"/>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8" y="5242663"/>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40"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23483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2905315"/>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21019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69124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1682567"/>
            <a:ext cx="11036725" cy="1674747"/>
          </a:xfrm>
        </p:spPr>
        <p:txBody>
          <a:bodyPr numCol="2" spcCol="1440000"/>
          <a:lstStyle>
            <a:lvl1pPr marL="207915" indent="-20791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404148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9" y="1682567"/>
            <a:ext cx="11036725" cy="1674747"/>
          </a:xfrm>
        </p:spPr>
        <p:txBody>
          <a:bodyPr numCol="2" spcCol="1440000"/>
          <a:lstStyle>
            <a:lvl1pPr marL="277220" indent="-277220">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501762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A69708-5E78-D3DF-BA26-A37528390323}"/>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976D6FC6-555F-3C09-808A-4688B31343A5}"/>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740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5081284" cy="1558119"/>
          </a:xfrm>
          <a:prstGeom prst="rect">
            <a:avLst/>
          </a:prstGeo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3" y="644597"/>
            <a:ext cx="4938799" cy="257506"/>
          </a:xfrm>
          <a:prstGeom prst="rect">
            <a:avLst/>
          </a:prstGeo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3" y="3509478"/>
            <a:ext cx="4938799" cy="257506"/>
          </a:xfrm>
          <a:prstGeom prst="rect">
            <a:avLst/>
          </a:prstGeo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4833"/>
          </a:xfrm>
          <a:prstGeom prst="rect">
            <a:avLst/>
          </a:prstGeom>
        </p:spPr>
        <p:txBody>
          <a:bodyPr/>
          <a:lstStyle/>
          <a:p>
            <a:r>
              <a:rPr lang="en-US"/>
              <a:t>Click icon to add picture</a:t>
            </a:r>
            <a:endParaRPr lang="en-GB"/>
          </a:p>
        </p:txBody>
      </p:sp>
    </p:spTree>
    <p:extLst>
      <p:ext uri="{BB962C8B-B14F-4D97-AF65-F5344CB8AC3E}">
        <p14:creationId xmlns:p14="http://schemas.microsoft.com/office/powerpoint/2010/main" val="190958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4"/>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83452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81" y="2"/>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5081284" cy="1571475"/>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5"/>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2"/>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91489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8"/>
            <a:ext cx="5081284" cy="1571475"/>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3" y="644598"/>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3" y="3509479"/>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59237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8"/>
            <a:ext cx="5081284" cy="1571475"/>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4"/>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20"/>
            <a:ext cx="474911" cy="401189"/>
          </a:xfrm>
          <a:prstGeom prst="rect">
            <a:avLst/>
          </a:prstGeom>
        </p:spPr>
      </p:pic>
    </p:spTree>
    <p:extLst>
      <p:ext uri="{BB962C8B-B14F-4D97-AF65-F5344CB8AC3E}">
        <p14:creationId xmlns:p14="http://schemas.microsoft.com/office/powerpoint/2010/main" val="277789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40"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40" y="1245960"/>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41"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66189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5090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9"/>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04834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6" y="1996560"/>
            <a:ext cx="5335021" cy="1268809"/>
          </a:xfrm>
        </p:spPr>
        <p:txBody>
          <a:bodyPr/>
          <a:lstStyle>
            <a:lvl1pPr marL="207915" indent="-20791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7" y="1996560"/>
            <a:ext cx="5335021" cy="1268809"/>
          </a:xfrm>
        </p:spPr>
        <p:txBody>
          <a:bodyPr/>
          <a:lstStyle>
            <a:lvl1pPr marL="207915" indent="-20791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6"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7" y="1529133"/>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40"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77722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3"/>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40"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3"/>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40"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15" indent="-20791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15" indent="-20791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15" indent="-20791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3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6199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F9D0E-2C8D-FFCF-71A0-E1C82FEB96A3}"/>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789DC463-378A-2C13-4BFC-1A21C5B6D636}"/>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740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5081284" cy="1558119"/>
          </a:xfrm>
          <a:prstGeom prst="rect">
            <a:avLst/>
          </a:prstGeo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4"/>
            <a:ext cx="5073866" cy="839551"/>
          </a:xfrm>
          <a:prstGeom prst="rect">
            <a:avLst/>
          </a:prstGeo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4833"/>
          </a:xfrm>
          <a:prstGeom prst="rect">
            <a:avLst/>
          </a:prstGeo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20"/>
            <a:ext cx="474911" cy="401189"/>
          </a:xfrm>
          <a:prstGeom prst="rect">
            <a:avLst/>
          </a:prstGeom>
        </p:spPr>
      </p:pic>
    </p:spTree>
    <p:extLst>
      <p:ext uri="{BB962C8B-B14F-4D97-AF65-F5344CB8AC3E}">
        <p14:creationId xmlns:p14="http://schemas.microsoft.com/office/powerpoint/2010/main" val="414721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2"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5"/>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5"/>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5"/>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6336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6"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7"/>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9" y="2350103"/>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40"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40"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143084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8"/>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2"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4"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4" y="3035787"/>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9" y="3035787"/>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8" y="3035787"/>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7"/>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296222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8"/>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2"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3" y="2276561"/>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40"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3"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3"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154662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8"/>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2"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61"/>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40"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2687765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3" y="2730108"/>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2"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61"/>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40"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40"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746924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2"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60"/>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60"/>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8"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98871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304076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40"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4" y="1487597"/>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4" y="1904147"/>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79" indent="-216579">
              <a:defRPr/>
            </a:lvl2pPr>
            <a:lvl3pPr marL="381178" indent="-174226">
              <a:defRPr/>
            </a:lvl3pPr>
            <a:lvl4pPr marL="925993" indent="-18385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25326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40"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4" y="1487597"/>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4" y="1904147"/>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9"/>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9"/>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79" indent="-216579">
              <a:defRPr/>
            </a:lvl2pPr>
            <a:lvl3pPr marL="381178" indent="-174226">
              <a:defRPr/>
            </a:lvl3pPr>
            <a:lvl4pPr marL="925993" indent="-18385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2009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39660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4C524D9-0D9C-E66E-949B-F8A590D503F1}"/>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F2FB52DB-2CB8-0EA3-D972-40DB26E9929E}"/>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40" y="537198"/>
            <a:ext cx="11042887" cy="414281"/>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40" y="1245960"/>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41"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58750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5"/>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575300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40"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50803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40"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6"/>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6"/>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6"/>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6"/>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6"/>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4024406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1"/>
            <a:ext cx="11049048" cy="406867"/>
          </a:xfrm>
        </p:spPr>
        <p:txBody>
          <a:bodyPr numCol="6" spcCol="360000" anchor="b" anchorCtr="0"/>
          <a:lstStyle>
            <a:lvl1pPr marL="0" indent="21754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9" y="4145142"/>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718079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3"/>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2"/>
            <a:ext cx="11049048" cy="406867"/>
          </a:xfrm>
        </p:spPr>
        <p:txBody>
          <a:bodyPr numCol="3" spcCol="720000" anchor="t" anchorCtr="0"/>
          <a:lstStyle>
            <a:lvl1pPr marL="0" indent="21754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3"/>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3"/>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929366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2"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4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8"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9"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4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41" indent="-217541">
              <a:defRPr lang="en-GB" sz="1092" kern="1200" dirty="0">
                <a:solidFill>
                  <a:schemeClr val="tx1"/>
                </a:solidFill>
                <a:latin typeface="+mn-lt"/>
                <a:ea typeface="+mn-ea"/>
                <a:cs typeface="+mn-cs"/>
              </a:defRPr>
            </a:lvl3pPr>
          </a:lstStyle>
          <a:p>
            <a:pPr marL="0" marR="0" lvl="0" indent="-217541" algn="l" defTabSz="554440"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4"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41" indent="-217541">
              <a:defRPr lang="en-GB" sz="1092" kern="1200" dirty="0">
                <a:solidFill>
                  <a:schemeClr val="tx1"/>
                </a:solidFill>
                <a:latin typeface="+mn-lt"/>
                <a:ea typeface="+mn-ea"/>
                <a:cs typeface="+mn-cs"/>
              </a:defRPr>
            </a:lvl3pPr>
          </a:lstStyle>
          <a:p>
            <a:pPr marL="0" marR="0" lvl="0" indent="-217541" algn="l" defTabSz="554440"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41" indent="-217541">
              <a:defRPr lang="en-GB" sz="1092" kern="1200" dirty="0">
                <a:solidFill>
                  <a:schemeClr val="tx1"/>
                </a:solidFill>
                <a:latin typeface="+mn-lt"/>
                <a:ea typeface="+mn-ea"/>
                <a:cs typeface="+mn-cs"/>
              </a:defRPr>
            </a:lvl3pPr>
          </a:lstStyle>
          <a:p>
            <a:pPr marL="0" marR="0" lvl="0" indent="-217541" algn="l" defTabSz="554440"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402451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40"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41" indent="-21754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41" indent="-21754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41" indent="-21754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41" indent="-21754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41" indent="-21754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27230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40"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6"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6"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3070703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41"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40"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5"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5"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5"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983225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41"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3"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7"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1215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283056"/>
            <a:ext cx="10905792" cy="447927"/>
          </a:xfrm>
        </p:spPr>
        <p:txBody>
          <a:bodyPr lIns="0" tIns="0" rIns="0" bIns="0" anchor="t" anchorCtr="0"/>
          <a:lstStyle>
            <a:lvl1pPr>
              <a:lnSpc>
                <a:spcPct val="100000"/>
              </a:lnSpc>
              <a:defRPr/>
            </a:lvl1pPr>
          </a:lstStyle>
          <a:p>
            <a:r>
              <a:rPr lang="en-US"/>
              <a:t>Click to edit Master title style</a:t>
            </a:r>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799430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6"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20" y="3480497"/>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2462976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90" y="1509773"/>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40"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41" indent="-21754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41" indent="-21754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3"/>
            <a:ext cx="2314188" cy="171705"/>
          </a:xfrm>
        </p:spPr>
        <p:txBody>
          <a:bodyPr wrap="square" tIns="0" bIns="0" anchor="t" anchorCtr="0">
            <a:spAutoFit/>
          </a:bodyPr>
          <a:lstStyle>
            <a:lvl1pPr marL="217541" indent="-21754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3"/>
            <a:ext cx="2314188" cy="171705"/>
          </a:xfrm>
        </p:spPr>
        <p:txBody>
          <a:bodyPr wrap="square" tIns="0" bIns="0" anchor="t" anchorCtr="0">
            <a:spAutoFit/>
          </a:bodyPr>
          <a:lstStyle>
            <a:lvl1pPr marL="217541" indent="-21754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796432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9"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6"/>
            <a:ext cx="1696672"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6"/>
            <a:ext cx="1743798"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7" y="5241915"/>
            <a:ext cx="1743797"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163792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7"/>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2"/>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6"/>
            <a:ext cx="1880668"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4" y="5241915"/>
            <a:ext cx="2180486"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7" y="5241915"/>
            <a:ext cx="1459271" cy="222838"/>
          </a:xfrm>
          <a:prstGeom prst="rect">
            <a:avLst/>
          </a:prstGeom>
        </p:spPr>
        <p:txBody>
          <a:bodyPr vert="horz" wrap="square" lIns="0" tIns="8085"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2"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84787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9" y="2863651"/>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4753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6" y="3681456"/>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81718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1179968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0A369-44BF-6738-8542-D58C48E6F2EE}"/>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VB 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6" name="Rectangle: Rounded Corners 5">
            <a:extLst>
              <a:ext uri="{FF2B5EF4-FFF2-40B4-BE49-F238E27FC236}">
                <a16:creationId xmlns:a16="http://schemas.microsoft.com/office/drawing/2014/main" id="{4CB4A9A2-FC87-8AAA-CAC8-029E24BC7E01}"/>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8" y="537198"/>
            <a:ext cx="10776161" cy="406867"/>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3270527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2B48DA-F175-91B3-C3B5-86C52518CB59}"/>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7691F4D8-57A0-64C3-4C8A-7F02134A6346}"/>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14281"/>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6" y="1996562"/>
            <a:ext cx="5335021" cy="1270989"/>
          </a:xfrm>
          <a:prstGeom prst="rect">
            <a:avLst/>
          </a:prstGeom>
        </p:spPr>
        <p:txBody>
          <a:bodyPr/>
          <a:lstStyle>
            <a:lvl1pPr marL="207915" indent="-20791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7" y="1996562"/>
            <a:ext cx="5335021" cy="1270989"/>
          </a:xfrm>
          <a:prstGeom prst="rect">
            <a:avLst/>
          </a:prstGeom>
        </p:spPr>
        <p:txBody>
          <a:bodyPr/>
          <a:lstStyle>
            <a:lvl1pPr marL="207915" indent="-20791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6" y="1529131"/>
            <a:ext cx="5335021" cy="300484"/>
          </a:xfrm>
          <a:prstGeom prst="rect">
            <a:avLst/>
          </a:prstGeo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7" y="1529133"/>
            <a:ext cx="5335021" cy="296129"/>
          </a:xfrm>
          <a:prstGeom prst="rect">
            <a:avLst/>
          </a:prstGeo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40"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2703604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CE2D1D-F096-86FE-E6A6-503A8FA64045}"/>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1DF9DAED-7889-55A1-EFEF-C60046CE698C}"/>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14281"/>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a:prstGeom prst="rect">
            <a:avLst/>
          </a:prstGeo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3"/>
            <a:ext cx="3456798" cy="296129"/>
          </a:xfrm>
          <a:prstGeom prst="rect">
            <a:avLst/>
          </a:prstGeo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40"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3"/>
            <a:ext cx="3456798" cy="296129"/>
          </a:xfrm>
          <a:prstGeom prst="rect">
            <a:avLst/>
          </a:prstGeo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40"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2"/>
            <a:ext cx="3456798" cy="1270989"/>
          </a:xfrm>
          <a:prstGeom prst="rect">
            <a:avLst/>
          </a:prstGeom>
        </p:spPr>
        <p:txBody>
          <a:bodyPr/>
          <a:lstStyle>
            <a:lvl1pPr marL="207915" indent="-20791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2"/>
            <a:ext cx="3456798" cy="1270989"/>
          </a:xfrm>
          <a:prstGeom prst="rect">
            <a:avLst/>
          </a:prstGeom>
        </p:spPr>
        <p:txBody>
          <a:bodyPr/>
          <a:lstStyle>
            <a:lvl1pPr marL="207915" indent="-20791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2"/>
            <a:ext cx="3456798" cy="1270989"/>
          </a:xfrm>
          <a:prstGeom prst="rect">
            <a:avLst/>
          </a:prstGeom>
        </p:spPr>
        <p:txBody>
          <a:bodyPr/>
          <a:lstStyle>
            <a:lvl1pPr marL="207915" indent="-20791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25308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60121-0BC2-A1A0-6EA3-7A3DB12BDF3A}"/>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C48438A4-D5AB-7A0E-E258-44C309EFB281}"/>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a:prstGeom prst="rect">
            <a:avLst/>
          </a:prstGeo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1800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27C273E-E79E-7299-F1AA-B8CC9678041E}"/>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14281"/>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2"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a:prstGeom prst="rect">
            <a:avLst/>
          </a:prstGeo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a:prstGeom prst="rect">
            <a:avLst/>
          </a:prstGeo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3258"/>
          </a:xfrm>
          <a:prstGeom prst="rect">
            <a:avLst/>
          </a:prstGeo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a:prstGeom prst="rect">
            <a:avLst/>
          </a:prstGeo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a:prstGeom prst="rect">
            <a:avLst/>
          </a:prstGeo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3258"/>
          </a:xfrm>
          <a:prstGeom prst="rect">
            <a:avLst/>
          </a:prstGeo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a:prstGeom prst="rect">
            <a:avLst/>
          </a:prstGeo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a:prstGeom prst="rect">
            <a:avLst/>
          </a:prstGeo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3258"/>
          </a:xfrm>
          <a:prstGeom prst="rect">
            <a:avLst/>
          </a:prstGeo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683946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3AAD03-F8BA-33E9-B4BC-1E54DDA000FA}"/>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2" name="Rectangle: Rounded Corners 1">
            <a:extLst>
              <a:ext uri="{FF2B5EF4-FFF2-40B4-BE49-F238E27FC236}">
                <a16:creationId xmlns:a16="http://schemas.microsoft.com/office/drawing/2014/main" id="{430E9A30-9618-1927-81C0-23C2A2C2580A}"/>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14281"/>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6" y="2289368"/>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11279"/>
            <a:ext cx="3033496" cy="3705543"/>
          </a:xfrm>
          <a:prstGeom prst="rect">
            <a:avLst/>
          </a:prstGeo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9" y="2313115"/>
            <a:ext cx="4148729" cy="3705543"/>
          </a:xfrm>
          <a:prstGeom prst="rect">
            <a:avLst/>
          </a:prstGeo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40"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zoom.us/#/########</a:t>
            </a:r>
          </a:p>
          <a:p>
            <a:pPr lvl="1"/>
            <a:endParaRPr lang="en-GB"/>
          </a:p>
          <a:p>
            <a:pPr lvl="0"/>
            <a:r>
              <a:rPr lang="en-GB"/>
              <a:t>Meeting ID</a:t>
            </a:r>
          </a:p>
          <a:p>
            <a:pPr lvl="1"/>
            <a:r>
              <a:rPr lang="en-GB"/>
              <a:t>985 717 469</a:t>
            </a:r>
          </a:p>
          <a:p>
            <a:pPr lvl="0"/>
            <a:r>
              <a:rPr lang="en-GB"/>
              <a:t>One tap mobile</a:t>
            </a:r>
          </a:p>
          <a:p>
            <a:pPr marL="0" marR="0" lvl="1" indent="0" algn="l" defTabSz="554440"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zoom.us/#/########</a:t>
            </a:r>
          </a:p>
        </p:txBody>
      </p:sp>
    </p:spTree>
    <p:extLst>
      <p:ext uri="{BB962C8B-B14F-4D97-AF65-F5344CB8AC3E}">
        <p14:creationId xmlns:p14="http://schemas.microsoft.com/office/powerpoint/2010/main" val="72058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4D69E7-E95E-D90E-DE6D-9C9D16112FC5}"/>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https://climate.nasa.gov/</a:t>
            </a:r>
            <a:endParaRPr lang="en-CH" sz="1800"/>
          </a:p>
        </p:txBody>
      </p:sp>
      <p:sp>
        <p:nvSpPr>
          <p:cNvPr id="2" name="Rectangle: Rounded Corners 1">
            <a:extLst>
              <a:ext uri="{FF2B5EF4-FFF2-40B4-BE49-F238E27FC236}">
                <a16:creationId xmlns:a16="http://schemas.microsoft.com/office/drawing/2014/main" id="{4F8CE152-D4E5-5AF7-67AE-21CD7041A787}"/>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8"/>
          <a:ext cx="11036725"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14281"/>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2"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4" y="2274402"/>
            <a:ext cx="2767645"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4" y="3035788"/>
            <a:ext cx="2767645" cy="345565"/>
          </a:xfrm>
          <a:prstGeom prst="rect">
            <a:avLst/>
          </a:prstGeo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9" y="3035788"/>
            <a:ext cx="2751133" cy="345565"/>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8" y="3035788"/>
            <a:ext cx="2751133" cy="345565"/>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8"/>
            <a:ext cx="2750300" cy="345565"/>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53582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2FF1DC-CF48-177A-0FA8-023C9FDC6FF5}"/>
              </a:ext>
            </a:extLst>
          </p:cNvPr>
          <p:cNvSpPr/>
          <p:nvPr userDrawn="1"/>
        </p:nvSpPr>
        <p:spPr>
          <a:xfrm>
            <a:off x="0" y="1133477"/>
            <a:ext cx="12192000" cy="572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https://climate.nasa.gov/</a:t>
            </a:r>
            <a:endParaRPr lang="en-CH" sz="1800"/>
          </a:p>
        </p:txBody>
      </p:sp>
      <p:sp>
        <p:nvSpPr>
          <p:cNvPr id="2" name="Rectangle: Rounded Corners 1">
            <a:extLst>
              <a:ext uri="{FF2B5EF4-FFF2-40B4-BE49-F238E27FC236}">
                <a16:creationId xmlns:a16="http://schemas.microsoft.com/office/drawing/2014/main" id="{A87B8410-B75E-B1ED-EB3A-F1C002E96106}"/>
              </a:ext>
            </a:extLst>
          </p:cNvPr>
          <p:cNvSpPr/>
          <p:nvPr userDrawn="1"/>
        </p:nvSpPr>
        <p:spPr>
          <a:xfrm>
            <a:off x="0" y="-238121"/>
            <a:ext cx="12192000" cy="16859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8"/>
          <a:ext cx="11036931"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14281"/>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a:prstGeom prst="rect">
            <a:avLst/>
          </a:prstGeo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2"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2"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3" y="2276582"/>
            <a:ext cx="2212480" cy="296129"/>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40"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3" y="2274402"/>
            <a:ext cx="2199323"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a:prstGeom prst="rect">
            <a:avLst/>
          </a:prstGeo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7"/>
            <a:ext cx="2193914" cy="345565"/>
          </a:xfrm>
          <a:prstGeom prst="rect">
            <a:avLst/>
          </a:prstGeo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7"/>
            <a:ext cx="2193914" cy="345565"/>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3" y="3035787"/>
            <a:ext cx="2193914" cy="345565"/>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7"/>
            <a:ext cx="2205910" cy="345565"/>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7"/>
            <a:ext cx="2205910" cy="345565"/>
          </a:xfrm>
          <a:prstGeom prst="rect">
            <a:avLst/>
          </a:prstGeo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2082119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image" Target="../media/image70.png"/><Relationship Id="rId3" Type="http://schemas.openxmlformats.org/officeDocument/2006/relationships/slideLayout" Target="../slideLayouts/slideLayout373.xml"/><Relationship Id="rId7" Type="http://schemas.openxmlformats.org/officeDocument/2006/relationships/slideLayout" Target="../slideLayouts/slideLayout377.xml"/><Relationship Id="rId12" Type="http://schemas.openxmlformats.org/officeDocument/2006/relationships/image" Target="../media/image69.png"/><Relationship Id="rId2" Type="http://schemas.openxmlformats.org/officeDocument/2006/relationships/slideLayout" Target="../slideLayouts/slideLayout372.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theme" Target="../theme/theme10.xml"/><Relationship Id="rId5" Type="http://schemas.openxmlformats.org/officeDocument/2006/relationships/slideLayout" Target="../slideLayouts/slideLayout375.xml"/><Relationship Id="rId10" Type="http://schemas.openxmlformats.org/officeDocument/2006/relationships/slideLayout" Target="../slideLayouts/slideLayout380.xml"/><Relationship Id="rId4" Type="http://schemas.openxmlformats.org/officeDocument/2006/relationships/slideLayout" Target="../slideLayouts/slideLayout374.xml"/><Relationship Id="rId9" Type="http://schemas.openxmlformats.org/officeDocument/2006/relationships/slideLayout" Target="../slideLayouts/slideLayout379.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26" Type="http://schemas.openxmlformats.org/officeDocument/2006/relationships/slideLayout" Target="../slideLayouts/slideLayout406.xml"/><Relationship Id="rId39" Type="http://schemas.openxmlformats.org/officeDocument/2006/relationships/slideLayout" Target="../slideLayouts/slideLayout419.xml"/><Relationship Id="rId21" Type="http://schemas.openxmlformats.org/officeDocument/2006/relationships/slideLayout" Target="../slideLayouts/slideLayout401.xml"/><Relationship Id="rId34" Type="http://schemas.openxmlformats.org/officeDocument/2006/relationships/slideLayout" Target="../slideLayouts/slideLayout414.xml"/><Relationship Id="rId42" Type="http://schemas.openxmlformats.org/officeDocument/2006/relationships/slideLayout" Target="../slideLayouts/slideLayout422.xml"/><Relationship Id="rId47" Type="http://schemas.openxmlformats.org/officeDocument/2006/relationships/slideLayout" Target="../slideLayouts/slideLayout427.xml"/><Relationship Id="rId50" Type="http://schemas.openxmlformats.org/officeDocument/2006/relationships/slideLayout" Target="../slideLayouts/slideLayout430.xml"/><Relationship Id="rId55" Type="http://schemas.openxmlformats.org/officeDocument/2006/relationships/slideLayout" Target="../slideLayouts/slideLayout435.xml"/><Relationship Id="rId63" Type="http://schemas.openxmlformats.org/officeDocument/2006/relationships/slideLayout" Target="../slideLayouts/slideLayout443.xml"/><Relationship Id="rId68" Type="http://schemas.openxmlformats.org/officeDocument/2006/relationships/slideLayout" Target="../slideLayouts/slideLayout448.xml"/><Relationship Id="rId7" Type="http://schemas.openxmlformats.org/officeDocument/2006/relationships/slideLayout" Target="../slideLayouts/slideLayout387.xml"/><Relationship Id="rId71" Type="http://schemas.openxmlformats.org/officeDocument/2006/relationships/slideLayout" Target="../slideLayouts/slideLayout451.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9" Type="http://schemas.openxmlformats.org/officeDocument/2006/relationships/slideLayout" Target="../slideLayouts/slideLayout409.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slideLayout" Target="../slideLayouts/slideLayout417.xml"/><Relationship Id="rId40" Type="http://schemas.openxmlformats.org/officeDocument/2006/relationships/slideLayout" Target="../slideLayouts/slideLayout420.xml"/><Relationship Id="rId45" Type="http://schemas.openxmlformats.org/officeDocument/2006/relationships/slideLayout" Target="../slideLayouts/slideLayout425.xml"/><Relationship Id="rId53" Type="http://schemas.openxmlformats.org/officeDocument/2006/relationships/slideLayout" Target="../slideLayouts/slideLayout433.xml"/><Relationship Id="rId58" Type="http://schemas.openxmlformats.org/officeDocument/2006/relationships/slideLayout" Target="../slideLayouts/slideLayout438.xml"/><Relationship Id="rId66" Type="http://schemas.openxmlformats.org/officeDocument/2006/relationships/slideLayout" Target="../slideLayouts/slideLayout446.xml"/><Relationship Id="rId5" Type="http://schemas.openxmlformats.org/officeDocument/2006/relationships/slideLayout" Target="../slideLayouts/slideLayout385.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slideLayout" Target="../slideLayouts/slideLayout416.xml"/><Relationship Id="rId49" Type="http://schemas.openxmlformats.org/officeDocument/2006/relationships/slideLayout" Target="../slideLayouts/slideLayout429.xml"/><Relationship Id="rId57" Type="http://schemas.openxmlformats.org/officeDocument/2006/relationships/slideLayout" Target="../slideLayouts/slideLayout437.xml"/><Relationship Id="rId61" Type="http://schemas.openxmlformats.org/officeDocument/2006/relationships/slideLayout" Target="../slideLayouts/slideLayout441.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31" Type="http://schemas.openxmlformats.org/officeDocument/2006/relationships/slideLayout" Target="../slideLayouts/slideLayout411.xml"/><Relationship Id="rId44" Type="http://schemas.openxmlformats.org/officeDocument/2006/relationships/slideLayout" Target="../slideLayouts/slideLayout424.xml"/><Relationship Id="rId52" Type="http://schemas.openxmlformats.org/officeDocument/2006/relationships/slideLayout" Target="../slideLayouts/slideLayout432.xml"/><Relationship Id="rId60" Type="http://schemas.openxmlformats.org/officeDocument/2006/relationships/slideLayout" Target="../slideLayouts/slideLayout440.xml"/><Relationship Id="rId65" Type="http://schemas.openxmlformats.org/officeDocument/2006/relationships/slideLayout" Target="../slideLayouts/slideLayout445.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43" Type="http://schemas.openxmlformats.org/officeDocument/2006/relationships/slideLayout" Target="../slideLayouts/slideLayout423.xml"/><Relationship Id="rId48" Type="http://schemas.openxmlformats.org/officeDocument/2006/relationships/slideLayout" Target="../slideLayouts/slideLayout428.xml"/><Relationship Id="rId56" Type="http://schemas.openxmlformats.org/officeDocument/2006/relationships/slideLayout" Target="../slideLayouts/slideLayout436.xml"/><Relationship Id="rId64" Type="http://schemas.openxmlformats.org/officeDocument/2006/relationships/slideLayout" Target="../slideLayouts/slideLayout444.xml"/><Relationship Id="rId69" Type="http://schemas.openxmlformats.org/officeDocument/2006/relationships/slideLayout" Target="../slideLayouts/slideLayout449.xml"/><Relationship Id="rId8" Type="http://schemas.openxmlformats.org/officeDocument/2006/relationships/slideLayout" Target="../slideLayouts/slideLayout388.xml"/><Relationship Id="rId51" Type="http://schemas.openxmlformats.org/officeDocument/2006/relationships/slideLayout" Target="../slideLayouts/slideLayout431.xml"/><Relationship Id="rId72" Type="http://schemas.openxmlformats.org/officeDocument/2006/relationships/theme" Target="../theme/theme11.xml"/><Relationship Id="rId3" Type="http://schemas.openxmlformats.org/officeDocument/2006/relationships/slideLayout" Target="../slideLayouts/slideLayout383.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38" Type="http://schemas.openxmlformats.org/officeDocument/2006/relationships/slideLayout" Target="../slideLayouts/slideLayout418.xml"/><Relationship Id="rId46" Type="http://schemas.openxmlformats.org/officeDocument/2006/relationships/slideLayout" Target="../slideLayouts/slideLayout426.xml"/><Relationship Id="rId59" Type="http://schemas.openxmlformats.org/officeDocument/2006/relationships/slideLayout" Target="../slideLayouts/slideLayout439.xml"/><Relationship Id="rId67" Type="http://schemas.openxmlformats.org/officeDocument/2006/relationships/slideLayout" Target="../slideLayouts/slideLayout447.xml"/><Relationship Id="rId20" Type="http://schemas.openxmlformats.org/officeDocument/2006/relationships/slideLayout" Target="../slideLayouts/slideLayout400.xml"/><Relationship Id="rId41" Type="http://schemas.openxmlformats.org/officeDocument/2006/relationships/slideLayout" Target="../slideLayouts/slideLayout421.xml"/><Relationship Id="rId54" Type="http://schemas.openxmlformats.org/officeDocument/2006/relationships/slideLayout" Target="../slideLayouts/slideLayout434.xml"/><Relationship Id="rId62" Type="http://schemas.openxmlformats.org/officeDocument/2006/relationships/slideLayout" Target="../slideLayouts/slideLayout442.xml"/><Relationship Id="rId70" Type="http://schemas.openxmlformats.org/officeDocument/2006/relationships/slideLayout" Target="../slideLayouts/slideLayout450.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464.xml"/><Relationship Id="rId18" Type="http://schemas.openxmlformats.org/officeDocument/2006/relationships/slideLayout" Target="../slideLayouts/slideLayout469.xml"/><Relationship Id="rId26" Type="http://schemas.openxmlformats.org/officeDocument/2006/relationships/slideLayout" Target="../slideLayouts/slideLayout477.xml"/><Relationship Id="rId39" Type="http://schemas.openxmlformats.org/officeDocument/2006/relationships/slideLayout" Target="../slideLayouts/slideLayout490.xml"/><Relationship Id="rId21" Type="http://schemas.openxmlformats.org/officeDocument/2006/relationships/slideLayout" Target="../slideLayouts/slideLayout472.xml"/><Relationship Id="rId34" Type="http://schemas.openxmlformats.org/officeDocument/2006/relationships/slideLayout" Target="../slideLayouts/slideLayout485.xml"/><Relationship Id="rId42" Type="http://schemas.openxmlformats.org/officeDocument/2006/relationships/slideLayout" Target="../slideLayouts/slideLayout493.xml"/><Relationship Id="rId47" Type="http://schemas.openxmlformats.org/officeDocument/2006/relationships/slideLayout" Target="../slideLayouts/slideLayout498.xml"/><Relationship Id="rId50" Type="http://schemas.openxmlformats.org/officeDocument/2006/relationships/slideLayout" Target="../slideLayouts/slideLayout501.xml"/><Relationship Id="rId55" Type="http://schemas.openxmlformats.org/officeDocument/2006/relationships/slideLayout" Target="../slideLayouts/slideLayout506.xml"/><Relationship Id="rId7" Type="http://schemas.openxmlformats.org/officeDocument/2006/relationships/slideLayout" Target="../slideLayouts/slideLayout458.xml"/><Relationship Id="rId12" Type="http://schemas.openxmlformats.org/officeDocument/2006/relationships/slideLayout" Target="../slideLayouts/slideLayout463.xml"/><Relationship Id="rId17" Type="http://schemas.openxmlformats.org/officeDocument/2006/relationships/slideLayout" Target="../slideLayouts/slideLayout468.xml"/><Relationship Id="rId25" Type="http://schemas.openxmlformats.org/officeDocument/2006/relationships/slideLayout" Target="../slideLayouts/slideLayout476.xml"/><Relationship Id="rId33" Type="http://schemas.openxmlformats.org/officeDocument/2006/relationships/slideLayout" Target="../slideLayouts/slideLayout484.xml"/><Relationship Id="rId38" Type="http://schemas.openxmlformats.org/officeDocument/2006/relationships/slideLayout" Target="../slideLayouts/slideLayout489.xml"/><Relationship Id="rId46" Type="http://schemas.openxmlformats.org/officeDocument/2006/relationships/slideLayout" Target="../slideLayouts/slideLayout497.xml"/><Relationship Id="rId59" Type="http://schemas.openxmlformats.org/officeDocument/2006/relationships/theme" Target="../theme/theme12.xml"/><Relationship Id="rId2" Type="http://schemas.openxmlformats.org/officeDocument/2006/relationships/slideLayout" Target="../slideLayouts/slideLayout453.xml"/><Relationship Id="rId16" Type="http://schemas.openxmlformats.org/officeDocument/2006/relationships/slideLayout" Target="../slideLayouts/slideLayout467.xml"/><Relationship Id="rId20" Type="http://schemas.openxmlformats.org/officeDocument/2006/relationships/slideLayout" Target="../slideLayouts/slideLayout471.xml"/><Relationship Id="rId29" Type="http://schemas.openxmlformats.org/officeDocument/2006/relationships/slideLayout" Target="../slideLayouts/slideLayout480.xml"/><Relationship Id="rId41" Type="http://schemas.openxmlformats.org/officeDocument/2006/relationships/slideLayout" Target="../slideLayouts/slideLayout492.xml"/><Relationship Id="rId54" Type="http://schemas.openxmlformats.org/officeDocument/2006/relationships/slideLayout" Target="../slideLayouts/slideLayout505.xml"/><Relationship Id="rId1" Type="http://schemas.openxmlformats.org/officeDocument/2006/relationships/slideLayout" Target="../slideLayouts/slideLayout452.xml"/><Relationship Id="rId6" Type="http://schemas.openxmlformats.org/officeDocument/2006/relationships/slideLayout" Target="../slideLayouts/slideLayout457.xml"/><Relationship Id="rId11" Type="http://schemas.openxmlformats.org/officeDocument/2006/relationships/slideLayout" Target="../slideLayouts/slideLayout462.xml"/><Relationship Id="rId24" Type="http://schemas.openxmlformats.org/officeDocument/2006/relationships/slideLayout" Target="../slideLayouts/slideLayout475.xml"/><Relationship Id="rId32" Type="http://schemas.openxmlformats.org/officeDocument/2006/relationships/slideLayout" Target="../slideLayouts/slideLayout483.xml"/><Relationship Id="rId37" Type="http://schemas.openxmlformats.org/officeDocument/2006/relationships/slideLayout" Target="../slideLayouts/slideLayout488.xml"/><Relationship Id="rId40" Type="http://schemas.openxmlformats.org/officeDocument/2006/relationships/slideLayout" Target="../slideLayouts/slideLayout491.xml"/><Relationship Id="rId45" Type="http://schemas.openxmlformats.org/officeDocument/2006/relationships/slideLayout" Target="../slideLayouts/slideLayout496.xml"/><Relationship Id="rId53" Type="http://schemas.openxmlformats.org/officeDocument/2006/relationships/slideLayout" Target="../slideLayouts/slideLayout504.xml"/><Relationship Id="rId58" Type="http://schemas.openxmlformats.org/officeDocument/2006/relationships/slideLayout" Target="../slideLayouts/slideLayout509.xml"/><Relationship Id="rId5" Type="http://schemas.openxmlformats.org/officeDocument/2006/relationships/slideLayout" Target="../slideLayouts/slideLayout456.xml"/><Relationship Id="rId15" Type="http://schemas.openxmlformats.org/officeDocument/2006/relationships/slideLayout" Target="../slideLayouts/slideLayout466.xml"/><Relationship Id="rId23" Type="http://schemas.openxmlformats.org/officeDocument/2006/relationships/slideLayout" Target="../slideLayouts/slideLayout474.xml"/><Relationship Id="rId28" Type="http://schemas.openxmlformats.org/officeDocument/2006/relationships/slideLayout" Target="../slideLayouts/slideLayout479.xml"/><Relationship Id="rId36" Type="http://schemas.openxmlformats.org/officeDocument/2006/relationships/slideLayout" Target="../slideLayouts/slideLayout487.xml"/><Relationship Id="rId49" Type="http://schemas.openxmlformats.org/officeDocument/2006/relationships/slideLayout" Target="../slideLayouts/slideLayout500.xml"/><Relationship Id="rId57" Type="http://schemas.openxmlformats.org/officeDocument/2006/relationships/slideLayout" Target="../slideLayouts/slideLayout508.xml"/><Relationship Id="rId10" Type="http://schemas.openxmlformats.org/officeDocument/2006/relationships/slideLayout" Target="../slideLayouts/slideLayout461.xml"/><Relationship Id="rId19" Type="http://schemas.openxmlformats.org/officeDocument/2006/relationships/slideLayout" Target="../slideLayouts/slideLayout470.xml"/><Relationship Id="rId31" Type="http://schemas.openxmlformats.org/officeDocument/2006/relationships/slideLayout" Target="../slideLayouts/slideLayout482.xml"/><Relationship Id="rId44" Type="http://schemas.openxmlformats.org/officeDocument/2006/relationships/slideLayout" Target="../slideLayouts/slideLayout495.xml"/><Relationship Id="rId52" Type="http://schemas.openxmlformats.org/officeDocument/2006/relationships/slideLayout" Target="../slideLayouts/slideLayout503.xml"/><Relationship Id="rId4" Type="http://schemas.openxmlformats.org/officeDocument/2006/relationships/slideLayout" Target="../slideLayouts/slideLayout455.xml"/><Relationship Id="rId9" Type="http://schemas.openxmlformats.org/officeDocument/2006/relationships/slideLayout" Target="../slideLayouts/slideLayout460.xml"/><Relationship Id="rId14" Type="http://schemas.openxmlformats.org/officeDocument/2006/relationships/slideLayout" Target="../slideLayouts/slideLayout465.xml"/><Relationship Id="rId22" Type="http://schemas.openxmlformats.org/officeDocument/2006/relationships/slideLayout" Target="../slideLayouts/slideLayout473.xml"/><Relationship Id="rId27" Type="http://schemas.openxmlformats.org/officeDocument/2006/relationships/slideLayout" Target="../slideLayouts/slideLayout478.xml"/><Relationship Id="rId30" Type="http://schemas.openxmlformats.org/officeDocument/2006/relationships/slideLayout" Target="../slideLayouts/slideLayout481.xml"/><Relationship Id="rId35" Type="http://schemas.openxmlformats.org/officeDocument/2006/relationships/slideLayout" Target="../slideLayouts/slideLayout486.xml"/><Relationship Id="rId43" Type="http://schemas.openxmlformats.org/officeDocument/2006/relationships/slideLayout" Target="../slideLayouts/slideLayout494.xml"/><Relationship Id="rId48" Type="http://schemas.openxmlformats.org/officeDocument/2006/relationships/slideLayout" Target="../slideLayouts/slideLayout499.xml"/><Relationship Id="rId56" Type="http://schemas.openxmlformats.org/officeDocument/2006/relationships/slideLayout" Target="../slideLayouts/slideLayout507.xml"/><Relationship Id="rId8" Type="http://schemas.openxmlformats.org/officeDocument/2006/relationships/slideLayout" Target="../slideLayouts/slideLayout459.xml"/><Relationship Id="rId51" Type="http://schemas.openxmlformats.org/officeDocument/2006/relationships/slideLayout" Target="../slideLayouts/slideLayout502.xml"/><Relationship Id="rId3" Type="http://schemas.openxmlformats.org/officeDocument/2006/relationships/slideLayout" Target="../slideLayouts/slideLayout45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522.xml"/><Relationship Id="rId18" Type="http://schemas.openxmlformats.org/officeDocument/2006/relationships/slideLayout" Target="../slideLayouts/slideLayout527.xml"/><Relationship Id="rId26" Type="http://schemas.openxmlformats.org/officeDocument/2006/relationships/slideLayout" Target="../slideLayouts/slideLayout535.xml"/><Relationship Id="rId39" Type="http://schemas.openxmlformats.org/officeDocument/2006/relationships/tags" Target="../tags/tag120.xml"/><Relationship Id="rId21" Type="http://schemas.openxmlformats.org/officeDocument/2006/relationships/slideLayout" Target="../slideLayouts/slideLayout530.xml"/><Relationship Id="rId34" Type="http://schemas.openxmlformats.org/officeDocument/2006/relationships/tags" Target="../tags/tag115.xml"/><Relationship Id="rId42" Type="http://schemas.openxmlformats.org/officeDocument/2006/relationships/tags" Target="../tags/tag123.xml"/><Relationship Id="rId47" Type="http://schemas.openxmlformats.org/officeDocument/2006/relationships/tags" Target="../tags/tag128.xml"/><Relationship Id="rId50" Type="http://schemas.openxmlformats.org/officeDocument/2006/relationships/tags" Target="../tags/tag131.xml"/><Relationship Id="rId55" Type="http://schemas.openxmlformats.org/officeDocument/2006/relationships/image" Target="../media/image83.svg"/><Relationship Id="rId7" Type="http://schemas.openxmlformats.org/officeDocument/2006/relationships/slideLayout" Target="../slideLayouts/slideLayout516.xml"/><Relationship Id="rId12" Type="http://schemas.openxmlformats.org/officeDocument/2006/relationships/slideLayout" Target="../slideLayouts/slideLayout521.xml"/><Relationship Id="rId17" Type="http://schemas.openxmlformats.org/officeDocument/2006/relationships/slideLayout" Target="../slideLayouts/slideLayout526.xml"/><Relationship Id="rId25" Type="http://schemas.openxmlformats.org/officeDocument/2006/relationships/slideLayout" Target="../slideLayouts/slideLayout534.xml"/><Relationship Id="rId33" Type="http://schemas.openxmlformats.org/officeDocument/2006/relationships/tags" Target="../tags/tag114.xml"/><Relationship Id="rId38" Type="http://schemas.openxmlformats.org/officeDocument/2006/relationships/tags" Target="../tags/tag119.xml"/><Relationship Id="rId46" Type="http://schemas.openxmlformats.org/officeDocument/2006/relationships/tags" Target="../tags/tag127.xml"/><Relationship Id="rId2" Type="http://schemas.openxmlformats.org/officeDocument/2006/relationships/slideLayout" Target="../slideLayouts/slideLayout511.xml"/><Relationship Id="rId16" Type="http://schemas.openxmlformats.org/officeDocument/2006/relationships/slideLayout" Target="../slideLayouts/slideLayout525.xml"/><Relationship Id="rId20" Type="http://schemas.openxmlformats.org/officeDocument/2006/relationships/slideLayout" Target="../slideLayouts/slideLayout529.xml"/><Relationship Id="rId29" Type="http://schemas.openxmlformats.org/officeDocument/2006/relationships/theme" Target="../theme/theme13.xml"/><Relationship Id="rId41" Type="http://schemas.openxmlformats.org/officeDocument/2006/relationships/tags" Target="../tags/tag122.xml"/><Relationship Id="rId54" Type="http://schemas.openxmlformats.org/officeDocument/2006/relationships/image" Target="../media/image82.png"/><Relationship Id="rId1" Type="http://schemas.openxmlformats.org/officeDocument/2006/relationships/slideLayout" Target="../slideLayouts/slideLayout510.xml"/><Relationship Id="rId6" Type="http://schemas.openxmlformats.org/officeDocument/2006/relationships/slideLayout" Target="../slideLayouts/slideLayout515.xml"/><Relationship Id="rId11" Type="http://schemas.openxmlformats.org/officeDocument/2006/relationships/slideLayout" Target="../slideLayouts/slideLayout520.xml"/><Relationship Id="rId24" Type="http://schemas.openxmlformats.org/officeDocument/2006/relationships/slideLayout" Target="../slideLayouts/slideLayout533.xml"/><Relationship Id="rId32" Type="http://schemas.openxmlformats.org/officeDocument/2006/relationships/tags" Target="../tags/tag113.xml"/><Relationship Id="rId37" Type="http://schemas.openxmlformats.org/officeDocument/2006/relationships/tags" Target="../tags/tag118.xml"/><Relationship Id="rId40" Type="http://schemas.openxmlformats.org/officeDocument/2006/relationships/tags" Target="../tags/tag121.xml"/><Relationship Id="rId45" Type="http://schemas.openxmlformats.org/officeDocument/2006/relationships/tags" Target="../tags/tag126.xml"/><Relationship Id="rId53" Type="http://schemas.openxmlformats.org/officeDocument/2006/relationships/image" Target="../media/image81.emf"/><Relationship Id="rId5" Type="http://schemas.openxmlformats.org/officeDocument/2006/relationships/slideLayout" Target="../slideLayouts/slideLayout514.xml"/><Relationship Id="rId15" Type="http://schemas.openxmlformats.org/officeDocument/2006/relationships/slideLayout" Target="../slideLayouts/slideLayout524.xml"/><Relationship Id="rId23" Type="http://schemas.openxmlformats.org/officeDocument/2006/relationships/slideLayout" Target="../slideLayouts/slideLayout532.xml"/><Relationship Id="rId28" Type="http://schemas.openxmlformats.org/officeDocument/2006/relationships/slideLayout" Target="../slideLayouts/slideLayout537.xml"/><Relationship Id="rId36" Type="http://schemas.openxmlformats.org/officeDocument/2006/relationships/tags" Target="../tags/tag117.xml"/><Relationship Id="rId49" Type="http://schemas.openxmlformats.org/officeDocument/2006/relationships/tags" Target="../tags/tag130.xml"/><Relationship Id="rId10" Type="http://schemas.openxmlformats.org/officeDocument/2006/relationships/slideLayout" Target="../slideLayouts/slideLayout519.xml"/><Relationship Id="rId19" Type="http://schemas.openxmlformats.org/officeDocument/2006/relationships/slideLayout" Target="../slideLayouts/slideLayout528.xml"/><Relationship Id="rId31" Type="http://schemas.openxmlformats.org/officeDocument/2006/relationships/tags" Target="../tags/tag112.xml"/><Relationship Id="rId44" Type="http://schemas.openxmlformats.org/officeDocument/2006/relationships/tags" Target="../tags/tag125.xml"/><Relationship Id="rId52" Type="http://schemas.openxmlformats.org/officeDocument/2006/relationships/oleObject" Target="../embeddings/oleObject28.bin"/><Relationship Id="rId4" Type="http://schemas.openxmlformats.org/officeDocument/2006/relationships/slideLayout" Target="../slideLayouts/slideLayout513.xml"/><Relationship Id="rId9" Type="http://schemas.openxmlformats.org/officeDocument/2006/relationships/slideLayout" Target="../slideLayouts/slideLayout518.xml"/><Relationship Id="rId14" Type="http://schemas.openxmlformats.org/officeDocument/2006/relationships/slideLayout" Target="../slideLayouts/slideLayout523.xml"/><Relationship Id="rId22" Type="http://schemas.openxmlformats.org/officeDocument/2006/relationships/slideLayout" Target="../slideLayouts/slideLayout531.xml"/><Relationship Id="rId27" Type="http://schemas.openxmlformats.org/officeDocument/2006/relationships/slideLayout" Target="../slideLayouts/slideLayout536.xml"/><Relationship Id="rId30" Type="http://schemas.openxmlformats.org/officeDocument/2006/relationships/tags" Target="../tags/tag111.xml"/><Relationship Id="rId35" Type="http://schemas.openxmlformats.org/officeDocument/2006/relationships/tags" Target="../tags/tag116.xml"/><Relationship Id="rId43" Type="http://schemas.openxmlformats.org/officeDocument/2006/relationships/tags" Target="../tags/tag124.xml"/><Relationship Id="rId48" Type="http://schemas.openxmlformats.org/officeDocument/2006/relationships/tags" Target="../tags/tag129.xml"/><Relationship Id="rId56" Type="http://schemas.openxmlformats.org/officeDocument/2006/relationships/image" Target="../media/image84.png"/><Relationship Id="rId8" Type="http://schemas.openxmlformats.org/officeDocument/2006/relationships/slideLayout" Target="../slideLayouts/slideLayout517.xml"/><Relationship Id="rId51" Type="http://schemas.openxmlformats.org/officeDocument/2006/relationships/tags" Target="../tags/tag132.xml"/><Relationship Id="rId3" Type="http://schemas.openxmlformats.org/officeDocument/2006/relationships/slideLayout" Target="../slideLayouts/slideLayout51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545.xml"/><Relationship Id="rId13" Type="http://schemas.openxmlformats.org/officeDocument/2006/relationships/slideLayout" Target="../slideLayouts/slideLayout550.xml"/><Relationship Id="rId18" Type="http://schemas.openxmlformats.org/officeDocument/2006/relationships/slideLayout" Target="../slideLayouts/slideLayout555.xml"/><Relationship Id="rId26" Type="http://schemas.openxmlformats.org/officeDocument/2006/relationships/slideLayout" Target="../slideLayouts/slideLayout563.xml"/><Relationship Id="rId3" Type="http://schemas.openxmlformats.org/officeDocument/2006/relationships/slideLayout" Target="../slideLayouts/slideLayout540.xml"/><Relationship Id="rId21" Type="http://schemas.openxmlformats.org/officeDocument/2006/relationships/slideLayout" Target="../slideLayouts/slideLayout558.xml"/><Relationship Id="rId7" Type="http://schemas.openxmlformats.org/officeDocument/2006/relationships/slideLayout" Target="../slideLayouts/slideLayout544.xml"/><Relationship Id="rId12" Type="http://schemas.openxmlformats.org/officeDocument/2006/relationships/slideLayout" Target="../slideLayouts/slideLayout549.xml"/><Relationship Id="rId17" Type="http://schemas.openxmlformats.org/officeDocument/2006/relationships/slideLayout" Target="../slideLayouts/slideLayout554.xml"/><Relationship Id="rId25" Type="http://schemas.openxmlformats.org/officeDocument/2006/relationships/slideLayout" Target="../slideLayouts/slideLayout562.xml"/><Relationship Id="rId2" Type="http://schemas.openxmlformats.org/officeDocument/2006/relationships/slideLayout" Target="../slideLayouts/slideLayout539.xml"/><Relationship Id="rId16" Type="http://schemas.openxmlformats.org/officeDocument/2006/relationships/slideLayout" Target="../slideLayouts/slideLayout553.xml"/><Relationship Id="rId20" Type="http://schemas.openxmlformats.org/officeDocument/2006/relationships/slideLayout" Target="../slideLayouts/slideLayout557.xml"/><Relationship Id="rId29" Type="http://schemas.openxmlformats.org/officeDocument/2006/relationships/tags" Target="../tags/tag270.xml"/><Relationship Id="rId1" Type="http://schemas.openxmlformats.org/officeDocument/2006/relationships/slideLayout" Target="../slideLayouts/slideLayout538.xml"/><Relationship Id="rId6" Type="http://schemas.openxmlformats.org/officeDocument/2006/relationships/slideLayout" Target="../slideLayouts/slideLayout543.xml"/><Relationship Id="rId11" Type="http://schemas.openxmlformats.org/officeDocument/2006/relationships/slideLayout" Target="../slideLayouts/slideLayout548.xml"/><Relationship Id="rId24" Type="http://schemas.openxmlformats.org/officeDocument/2006/relationships/slideLayout" Target="../slideLayouts/slideLayout561.xml"/><Relationship Id="rId5" Type="http://schemas.openxmlformats.org/officeDocument/2006/relationships/slideLayout" Target="../slideLayouts/slideLayout542.xml"/><Relationship Id="rId15" Type="http://schemas.openxmlformats.org/officeDocument/2006/relationships/slideLayout" Target="../slideLayouts/slideLayout552.xml"/><Relationship Id="rId23" Type="http://schemas.openxmlformats.org/officeDocument/2006/relationships/slideLayout" Target="../slideLayouts/slideLayout560.xml"/><Relationship Id="rId28" Type="http://schemas.openxmlformats.org/officeDocument/2006/relationships/theme" Target="../theme/theme14.xml"/><Relationship Id="rId10" Type="http://schemas.openxmlformats.org/officeDocument/2006/relationships/slideLayout" Target="../slideLayouts/slideLayout547.xml"/><Relationship Id="rId19" Type="http://schemas.openxmlformats.org/officeDocument/2006/relationships/slideLayout" Target="../slideLayouts/slideLayout556.xml"/><Relationship Id="rId31" Type="http://schemas.openxmlformats.org/officeDocument/2006/relationships/image" Target="../media/image102.emf"/><Relationship Id="rId4" Type="http://schemas.openxmlformats.org/officeDocument/2006/relationships/slideLayout" Target="../slideLayouts/slideLayout541.xml"/><Relationship Id="rId9" Type="http://schemas.openxmlformats.org/officeDocument/2006/relationships/slideLayout" Target="../slideLayouts/slideLayout546.xml"/><Relationship Id="rId14" Type="http://schemas.openxmlformats.org/officeDocument/2006/relationships/slideLayout" Target="../slideLayouts/slideLayout551.xml"/><Relationship Id="rId22" Type="http://schemas.openxmlformats.org/officeDocument/2006/relationships/slideLayout" Target="../slideLayouts/slideLayout559.xml"/><Relationship Id="rId27" Type="http://schemas.openxmlformats.org/officeDocument/2006/relationships/slideLayout" Target="../slideLayouts/slideLayout564.xml"/><Relationship Id="rId30" Type="http://schemas.openxmlformats.org/officeDocument/2006/relationships/oleObject" Target="../embeddings/oleObject44.bin"/></Relationships>
</file>

<file path=ppt/slideMasters/_rels/slideMaster15.xml.rels><?xml version="1.0" encoding="UTF-8" standalone="yes"?>
<Relationships xmlns="http://schemas.openxmlformats.org/package/2006/relationships"><Relationship Id="rId117" Type="http://schemas.openxmlformats.org/officeDocument/2006/relationships/slideLayout" Target="../slideLayouts/slideLayout681.xml"/><Relationship Id="rId21" Type="http://schemas.openxmlformats.org/officeDocument/2006/relationships/slideLayout" Target="../slideLayouts/slideLayout585.xml"/><Relationship Id="rId42" Type="http://schemas.openxmlformats.org/officeDocument/2006/relationships/slideLayout" Target="../slideLayouts/slideLayout606.xml"/><Relationship Id="rId63" Type="http://schemas.openxmlformats.org/officeDocument/2006/relationships/slideLayout" Target="../slideLayouts/slideLayout627.xml"/><Relationship Id="rId84" Type="http://schemas.openxmlformats.org/officeDocument/2006/relationships/slideLayout" Target="../slideLayouts/slideLayout648.xml"/><Relationship Id="rId138" Type="http://schemas.openxmlformats.org/officeDocument/2006/relationships/slideLayout" Target="../slideLayouts/slideLayout702.xml"/><Relationship Id="rId159" Type="http://schemas.openxmlformats.org/officeDocument/2006/relationships/slideLayout" Target="../slideLayouts/slideLayout723.xml"/><Relationship Id="rId170" Type="http://schemas.openxmlformats.org/officeDocument/2006/relationships/slideLayout" Target="../slideLayouts/slideLayout734.xml"/><Relationship Id="rId191" Type="http://schemas.openxmlformats.org/officeDocument/2006/relationships/slideLayout" Target="../slideLayouts/slideLayout755.xml"/><Relationship Id="rId205" Type="http://schemas.openxmlformats.org/officeDocument/2006/relationships/slideLayout" Target="../slideLayouts/slideLayout769.xml"/><Relationship Id="rId107" Type="http://schemas.openxmlformats.org/officeDocument/2006/relationships/slideLayout" Target="../slideLayouts/slideLayout671.xml"/><Relationship Id="rId11" Type="http://schemas.openxmlformats.org/officeDocument/2006/relationships/slideLayout" Target="../slideLayouts/slideLayout575.xml"/><Relationship Id="rId32" Type="http://schemas.openxmlformats.org/officeDocument/2006/relationships/slideLayout" Target="../slideLayouts/slideLayout596.xml"/><Relationship Id="rId53" Type="http://schemas.openxmlformats.org/officeDocument/2006/relationships/slideLayout" Target="../slideLayouts/slideLayout617.xml"/><Relationship Id="rId74" Type="http://schemas.openxmlformats.org/officeDocument/2006/relationships/slideLayout" Target="../slideLayouts/slideLayout638.xml"/><Relationship Id="rId128" Type="http://schemas.openxmlformats.org/officeDocument/2006/relationships/slideLayout" Target="../slideLayouts/slideLayout692.xml"/><Relationship Id="rId149" Type="http://schemas.openxmlformats.org/officeDocument/2006/relationships/slideLayout" Target="../slideLayouts/slideLayout713.xml"/><Relationship Id="rId5" Type="http://schemas.openxmlformats.org/officeDocument/2006/relationships/slideLayout" Target="../slideLayouts/slideLayout569.xml"/><Relationship Id="rId90" Type="http://schemas.openxmlformats.org/officeDocument/2006/relationships/slideLayout" Target="../slideLayouts/slideLayout654.xml"/><Relationship Id="rId95" Type="http://schemas.openxmlformats.org/officeDocument/2006/relationships/slideLayout" Target="../slideLayouts/slideLayout659.xml"/><Relationship Id="rId160" Type="http://schemas.openxmlformats.org/officeDocument/2006/relationships/slideLayout" Target="../slideLayouts/slideLayout724.xml"/><Relationship Id="rId165" Type="http://schemas.openxmlformats.org/officeDocument/2006/relationships/slideLayout" Target="../slideLayouts/slideLayout729.xml"/><Relationship Id="rId181" Type="http://schemas.openxmlformats.org/officeDocument/2006/relationships/slideLayout" Target="../slideLayouts/slideLayout745.xml"/><Relationship Id="rId186" Type="http://schemas.openxmlformats.org/officeDocument/2006/relationships/slideLayout" Target="../slideLayouts/slideLayout750.xml"/><Relationship Id="rId216" Type="http://schemas.openxmlformats.org/officeDocument/2006/relationships/slideLayout" Target="../slideLayouts/slideLayout780.xml"/><Relationship Id="rId211" Type="http://schemas.openxmlformats.org/officeDocument/2006/relationships/slideLayout" Target="../slideLayouts/slideLayout775.xml"/><Relationship Id="rId22" Type="http://schemas.openxmlformats.org/officeDocument/2006/relationships/slideLayout" Target="../slideLayouts/slideLayout586.xml"/><Relationship Id="rId27" Type="http://schemas.openxmlformats.org/officeDocument/2006/relationships/slideLayout" Target="../slideLayouts/slideLayout591.xml"/><Relationship Id="rId43" Type="http://schemas.openxmlformats.org/officeDocument/2006/relationships/slideLayout" Target="../slideLayouts/slideLayout607.xml"/><Relationship Id="rId48" Type="http://schemas.openxmlformats.org/officeDocument/2006/relationships/slideLayout" Target="../slideLayouts/slideLayout612.xml"/><Relationship Id="rId64" Type="http://schemas.openxmlformats.org/officeDocument/2006/relationships/slideLayout" Target="../slideLayouts/slideLayout628.xml"/><Relationship Id="rId69" Type="http://schemas.openxmlformats.org/officeDocument/2006/relationships/slideLayout" Target="../slideLayouts/slideLayout633.xml"/><Relationship Id="rId113" Type="http://schemas.openxmlformats.org/officeDocument/2006/relationships/slideLayout" Target="../slideLayouts/slideLayout677.xml"/><Relationship Id="rId118" Type="http://schemas.openxmlformats.org/officeDocument/2006/relationships/slideLayout" Target="../slideLayouts/slideLayout682.xml"/><Relationship Id="rId134" Type="http://schemas.openxmlformats.org/officeDocument/2006/relationships/slideLayout" Target="../slideLayouts/slideLayout698.xml"/><Relationship Id="rId139" Type="http://schemas.openxmlformats.org/officeDocument/2006/relationships/slideLayout" Target="../slideLayouts/slideLayout703.xml"/><Relationship Id="rId80" Type="http://schemas.openxmlformats.org/officeDocument/2006/relationships/slideLayout" Target="../slideLayouts/slideLayout644.xml"/><Relationship Id="rId85" Type="http://schemas.openxmlformats.org/officeDocument/2006/relationships/slideLayout" Target="../slideLayouts/slideLayout649.xml"/><Relationship Id="rId150" Type="http://schemas.openxmlformats.org/officeDocument/2006/relationships/slideLayout" Target="../slideLayouts/slideLayout714.xml"/><Relationship Id="rId155" Type="http://schemas.openxmlformats.org/officeDocument/2006/relationships/slideLayout" Target="../slideLayouts/slideLayout719.xml"/><Relationship Id="rId171" Type="http://schemas.openxmlformats.org/officeDocument/2006/relationships/slideLayout" Target="../slideLayouts/slideLayout735.xml"/><Relationship Id="rId176" Type="http://schemas.openxmlformats.org/officeDocument/2006/relationships/slideLayout" Target="../slideLayouts/slideLayout740.xml"/><Relationship Id="rId192" Type="http://schemas.openxmlformats.org/officeDocument/2006/relationships/slideLayout" Target="../slideLayouts/slideLayout756.xml"/><Relationship Id="rId197" Type="http://schemas.openxmlformats.org/officeDocument/2006/relationships/slideLayout" Target="../slideLayouts/slideLayout761.xml"/><Relationship Id="rId206" Type="http://schemas.openxmlformats.org/officeDocument/2006/relationships/slideLayout" Target="../slideLayouts/slideLayout770.xml"/><Relationship Id="rId201" Type="http://schemas.openxmlformats.org/officeDocument/2006/relationships/slideLayout" Target="../slideLayouts/slideLayout765.xml"/><Relationship Id="rId222" Type="http://schemas.openxmlformats.org/officeDocument/2006/relationships/theme" Target="../theme/theme15.xml"/><Relationship Id="rId12" Type="http://schemas.openxmlformats.org/officeDocument/2006/relationships/slideLayout" Target="../slideLayouts/slideLayout576.xml"/><Relationship Id="rId17" Type="http://schemas.openxmlformats.org/officeDocument/2006/relationships/slideLayout" Target="../slideLayouts/slideLayout581.xml"/><Relationship Id="rId33" Type="http://schemas.openxmlformats.org/officeDocument/2006/relationships/slideLayout" Target="../slideLayouts/slideLayout597.xml"/><Relationship Id="rId38" Type="http://schemas.openxmlformats.org/officeDocument/2006/relationships/slideLayout" Target="../slideLayouts/slideLayout602.xml"/><Relationship Id="rId59" Type="http://schemas.openxmlformats.org/officeDocument/2006/relationships/slideLayout" Target="../slideLayouts/slideLayout623.xml"/><Relationship Id="rId103" Type="http://schemas.openxmlformats.org/officeDocument/2006/relationships/slideLayout" Target="../slideLayouts/slideLayout667.xml"/><Relationship Id="rId108" Type="http://schemas.openxmlformats.org/officeDocument/2006/relationships/slideLayout" Target="../slideLayouts/slideLayout672.xml"/><Relationship Id="rId124" Type="http://schemas.openxmlformats.org/officeDocument/2006/relationships/slideLayout" Target="../slideLayouts/slideLayout688.xml"/><Relationship Id="rId129" Type="http://schemas.openxmlformats.org/officeDocument/2006/relationships/slideLayout" Target="../slideLayouts/slideLayout693.xml"/><Relationship Id="rId54" Type="http://schemas.openxmlformats.org/officeDocument/2006/relationships/slideLayout" Target="../slideLayouts/slideLayout618.xml"/><Relationship Id="rId70" Type="http://schemas.openxmlformats.org/officeDocument/2006/relationships/slideLayout" Target="../slideLayouts/slideLayout634.xml"/><Relationship Id="rId75" Type="http://schemas.openxmlformats.org/officeDocument/2006/relationships/slideLayout" Target="../slideLayouts/slideLayout639.xml"/><Relationship Id="rId91" Type="http://schemas.openxmlformats.org/officeDocument/2006/relationships/slideLayout" Target="../slideLayouts/slideLayout655.xml"/><Relationship Id="rId96" Type="http://schemas.openxmlformats.org/officeDocument/2006/relationships/slideLayout" Target="../slideLayouts/slideLayout660.xml"/><Relationship Id="rId140" Type="http://schemas.openxmlformats.org/officeDocument/2006/relationships/slideLayout" Target="../slideLayouts/slideLayout704.xml"/><Relationship Id="rId145" Type="http://schemas.openxmlformats.org/officeDocument/2006/relationships/slideLayout" Target="../slideLayouts/slideLayout709.xml"/><Relationship Id="rId161" Type="http://schemas.openxmlformats.org/officeDocument/2006/relationships/slideLayout" Target="../slideLayouts/slideLayout725.xml"/><Relationship Id="rId166" Type="http://schemas.openxmlformats.org/officeDocument/2006/relationships/slideLayout" Target="../slideLayouts/slideLayout730.xml"/><Relationship Id="rId182" Type="http://schemas.openxmlformats.org/officeDocument/2006/relationships/slideLayout" Target="../slideLayouts/slideLayout746.xml"/><Relationship Id="rId187" Type="http://schemas.openxmlformats.org/officeDocument/2006/relationships/slideLayout" Target="../slideLayouts/slideLayout751.xml"/><Relationship Id="rId217" Type="http://schemas.openxmlformats.org/officeDocument/2006/relationships/slideLayout" Target="../slideLayouts/slideLayout781.xml"/><Relationship Id="rId1" Type="http://schemas.openxmlformats.org/officeDocument/2006/relationships/slideLayout" Target="../slideLayouts/slideLayout565.xml"/><Relationship Id="rId6" Type="http://schemas.openxmlformats.org/officeDocument/2006/relationships/slideLayout" Target="../slideLayouts/slideLayout570.xml"/><Relationship Id="rId212" Type="http://schemas.openxmlformats.org/officeDocument/2006/relationships/slideLayout" Target="../slideLayouts/slideLayout776.xml"/><Relationship Id="rId23" Type="http://schemas.openxmlformats.org/officeDocument/2006/relationships/slideLayout" Target="../slideLayouts/slideLayout587.xml"/><Relationship Id="rId28" Type="http://schemas.openxmlformats.org/officeDocument/2006/relationships/slideLayout" Target="../slideLayouts/slideLayout592.xml"/><Relationship Id="rId49" Type="http://schemas.openxmlformats.org/officeDocument/2006/relationships/slideLayout" Target="../slideLayouts/slideLayout613.xml"/><Relationship Id="rId114" Type="http://schemas.openxmlformats.org/officeDocument/2006/relationships/slideLayout" Target="../slideLayouts/slideLayout678.xml"/><Relationship Id="rId119" Type="http://schemas.openxmlformats.org/officeDocument/2006/relationships/slideLayout" Target="../slideLayouts/slideLayout683.xml"/><Relationship Id="rId44" Type="http://schemas.openxmlformats.org/officeDocument/2006/relationships/slideLayout" Target="../slideLayouts/slideLayout608.xml"/><Relationship Id="rId60" Type="http://schemas.openxmlformats.org/officeDocument/2006/relationships/slideLayout" Target="../slideLayouts/slideLayout624.xml"/><Relationship Id="rId65" Type="http://schemas.openxmlformats.org/officeDocument/2006/relationships/slideLayout" Target="../slideLayouts/slideLayout629.xml"/><Relationship Id="rId81" Type="http://schemas.openxmlformats.org/officeDocument/2006/relationships/slideLayout" Target="../slideLayouts/slideLayout645.xml"/><Relationship Id="rId86" Type="http://schemas.openxmlformats.org/officeDocument/2006/relationships/slideLayout" Target="../slideLayouts/slideLayout650.xml"/><Relationship Id="rId130" Type="http://schemas.openxmlformats.org/officeDocument/2006/relationships/slideLayout" Target="../slideLayouts/slideLayout694.xml"/><Relationship Id="rId135" Type="http://schemas.openxmlformats.org/officeDocument/2006/relationships/slideLayout" Target="../slideLayouts/slideLayout699.xml"/><Relationship Id="rId151" Type="http://schemas.openxmlformats.org/officeDocument/2006/relationships/slideLayout" Target="../slideLayouts/slideLayout715.xml"/><Relationship Id="rId156" Type="http://schemas.openxmlformats.org/officeDocument/2006/relationships/slideLayout" Target="../slideLayouts/slideLayout720.xml"/><Relationship Id="rId177" Type="http://schemas.openxmlformats.org/officeDocument/2006/relationships/slideLayout" Target="../slideLayouts/slideLayout741.xml"/><Relationship Id="rId198" Type="http://schemas.openxmlformats.org/officeDocument/2006/relationships/slideLayout" Target="../slideLayouts/slideLayout762.xml"/><Relationship Id="rId172" Type="http://schemas.openxmlformats.org/officeDocument/2006/relationships/slideLayout" Target="../slideLayouts/slideLayout736.xml"/><Relationship Id="rId193" Type="http://schemas.openxmlformats.org/officeDocument/2006/relationships/slideLayout" Target="../slideLayouts/slideLayout757.xml"/><Relationship Id="rId202" Type="http://schemas.openxmlformats.org/officeDocument/2006/relationships/slideLayout" Target="../slideLayouts/slideLayout766.xml"/><Relationship Id="rId207" Type="http://schemas.openxmlformats.org/officeDocument/2006/relationships/slideLayout" Target="../slideLayouts/slideLayout771.xml"/><Relationship Id="rId13" Type="http://schemas.openxmlformats.org/officeDocument/2006/relationships/slideLayout" Target="../slideLayouts/slideLayout577.xml"/><Relationship Id="rId18" Type="http://schemas.openxmlformats.org/officeDocument/2006/relationships/slideLayout" Target="../slideLayouts/slideLayout582.xml"/><Relationship Id="rId39" Type="http://schemas.openxmlformats.org/officeDocument/2006/relationships/slideLayout" Target="../slideLayouts/slideLayout603.xml"/><Relationship Id="rId109" Type="http://schemas.openxmlformats.org/officeDocument/2006/relationships/slideLayout" Target="../slideLayouts/slideLayout673.xml"/><Relationship Id="rId34" Type="http://schemas.openxmlformats.org/officeDocument/2006/relationships/slideLayout" Target="../slideLayouts/slideLayout598.xml"/><Relationship Id="rId50" Type="http://schemas.openxmlformats.org/officeDocument/2006/relationships/slideLayout" Target="../slideLayouts/slideLayout614.xml"/><Relationship Id="rId55" Type="http://schemas.openxmlformats.org/officeDocument/2006/relationships/slideLayout" Target="../slideLayouts/slideLayout619.xml"/><Relationship Id="rId76" Type="http://schemas.openxmlformats.org/officeDocument/2006/relationships/slideLayout" Target="../slideLayouts/slideLayout640.xml"/><Relationship Id="rId97" Type="http://schemas.openxmlformats.org/officeDocument/2006/relationships/slideLayout" Target="../slideLayouts/slideLayout661.xml"/><Relationship Id="rId104" Type="http://schemas.openxmlformats.org/officeDocument/2006/relationships/slideLayout" Target="../slideLayouts/slideLayout668.xml"/><Relationship Id="rId120" Type="http://schemas.openxmlformats.org/officeDocument/2006/relationships/slideLayout" Target="../slideLayouts/slideLayout684.xml"/><Relationship Id="rId125" Type="http://schemas.openxmlformats.org/officeDocument/2006/relationships/slideLayout" Target="../slideLayouts/slideLayout689.xml"/><Relationship Id="rId141" Type="http://schemas.openxmlformats.org/officeDocument/2006/relationships/slideLayout" Target="../slideLayouts/slideLayout705.xml"/><Relationship Id="rId146" Type="http://schemas.openxmlformats.org/officeDocument/2006/relationships/slideLayout" Target="../slideLayouts/slideLayout710.xml"/><Relationship Id="rId167" Type="http://schemas.openxmlformats.org/officeDocument/2006/relationships/slideLayout" Target="../slideLayouts/slideLayout731.xml"/><Relationship Id="rId188" Type="http://schemas.openxmlformats.org/officeDocument/2006/relationships/slideLayout" Target="../slideLayouts/slideLayout752.xml"/><Relationship Id="rId7" Type="http://schemas.openxmlformats.org/officeDocument/2006/relationships/slideLayout" Target="../slideLayouts/slideLayout571.xml"/><Relationship Id="rId71" Type="http://schemas.openxmlformats.org/officeDocument/2006/relationships/slideLayout" Target="../slideLayouts/slideLayout635.xml"/><Relationship Id="rId92" Type="http://schemas.openxmlformats.org/officeDocument/2006/relationships/slideLayout" Target="../slideLayouts/slideLayout656.xml"/><Relationship Id="rId162" Type="http://schemas.openxmlformats.org/officeDocument/2006/relationships/slideLayout" Target="../slideLayouts/slideLayout726.xml"/><Relationship Id="rId183" Type="http://schemas.openxmlformats.org/officeDocument/2006/relationships/slideLayout" Target="../slideLayouts/slideLayout747.xml"/><Relationship Id="rId213" Type="http://schemas.openxmlformats.org/officeDocument/2006/relationships/slideLayout" Target="../slideLayouts/slideLayout777.xml"/><Relationship Id="rId218" Type="http://schemas.openxmlformats.org/officeDocument/2006/relationships/slideLayout" Target="../slideLayouts/slideLayout782.xml"/><Relationship Id="rId2" Type="http://schemas.openxmlformats.org/officeDocument/2006/relationships/slideLayout" Target="../slideLayouts/slideLayout566.xml"/><Relationship Id="rId29" Type="http://schemas.openxmlformats.org/officeDocument/2006/relationships/slideLayout" Target="../slideLayouts/slideLayout593.xml"/><Relationship Id="rId24" Type="http://schemas.openxmlformats.org/officeDocument/2006/relationships/slideLayout" Target="../slideLayouts/slideLayout588.xml"/><Relationship Id="rId40" Type="http://schemas.openxmlformats.org/officeDocument/2006/relationships/slideLayout" Target="../slideLayouts/slideLayout604.xml"/><Relationship Id="rId45" Type="http://schemas.openxmlformats.org/officeDocument/2006/relationships/slideLayout" Target="../slideLayouts/slideLayout609.xml"/><Relationship Id="rId66" Type="http://schemas.openxmlformats.org/officeDocument/2006/relationships/slideLayout" Target="../slideLayouts/slideLayout630.xml"/><Relationship Id="rId87" Type="http://schemas.openxmlformats.org/officeDocument/2006/relationships/slideLayout" Target="../slideLayouts/slideLayout651.xml"/><Relationship Id="rId110" Type="http://schemas.openxmlformats.org/officeDocument/2006/relationships/slideLayout" Target="../slideLayouts/slideLayout674.xml"/><Relationship Id="rId115" Type="http://schemas.openxmlformats.org/officeDocument/2006/relationships/slideLayout" Target="../slideLayouts/slideLayout679.xml"/><Relationship Id="rId131" Type="http://schemas.openxmlformats.org/officeDocument/2006/relationships/slideLayout" Target="../slideLayouts/slideLayout695.xml"/><Relationship Id="rId136" Type="http://schemas.openxmlformats.org/officeDocument/2006/relationships/slideLayout" Target="../slideLayouts/slideLayout700.xml"/><Relationship Id="rId157" Type="http://schemas.openxmlformats.org/officeDocument/2006/relationships/slideLayout" Target="../slideLayouts/slideLayout721.xml"/><Relationship Id="rId178" Type="http://schemas.openxmlformats.org/officeDocument/2006/relationships/slideLayout" Target="../slideLayouts/slideLayout742.xml"/><Relationship Id="rId61" Type="http://schemas.openxmlformats.org/officeDocument/2006/relationships/slideLayout" Target="../slideLayouts/slideLayout625.xml"/><Relationship Id="rId82" Type="http://schemas.openxmlformats.org/officeDocument/2006/relationships/slideLayout" Target="../slideLayouts/slideLayout646.xml"/><Relationship Id="rId152" Type="http://schemas.openxmlformats.org/officeDocument/2006/relationships/slideLayout" Target="../slideLayouts/slideLayout716.xml"/><Relationship Id="rId173" Type="http://schemas.openxmlformats.org/officeDocument/2006/relationships/slideLayout" Target="../slideLayouts/slideLayout737.xml"/><Relationship Id="rId194" Type="http://schemas.openxmlformats.org/officeDocument/2006/relationships/slideLayout" Target="../slideLayouts/slideLayout758.xml"/><Relationship Id="rId199" Type="http://schemas.openxmlformats.org/officeDocument/2006/relationships/slideLayout" Target="../slideLayouts/slideLayout763.xml"/><Relationship Id="rId203" Type="http://schemas.openxmlformats.org/officeDocument/2006/relationships/slideLayout" Target="../slideLayouts/slideLayout767.xml"/><Relationship Id="rId208" Type="http://schemas.openxmlformats.org/officeDocument/2006/relationships/slideLayout" Target="../slideLayouts/slideLayout772.xml"/><Relationship Id="rId19" Type="http://schemas.openxmlformats.org/officeDocument/2006/relationships/slideLayout" Target="../slideLayouts/slideLayout583.xml"/><Relationship Id="rId14" Type="http://schemas.openxmlformats.org/officeDocument/2006/relationships/slideLayout" Target="../slideLayouts/slideLayout578.xml"/><Relationship Id="rId30" Type="http://schemas.openxmlformats.org/officeDocument/2006/relationships/slideLayout" Target="../slideLayouts/slideLayout594.xml"/><Relationship Id="rId35" Type="http://schemas.openxmlformats.org/officeDocument/2006/relationships/slideLayout" Target="../slideLayouts/slideLayout599.xml"/><Relationship Id="rId56" Type="http://schemas.openxmlformats.org/officeDocument/2006/relationships/slideLayout" Target="../slideLayouts/slideLayout620.xml"/><Relationship Id="rId77" Type="http://schemas.openxmlformats.org/officeDocument/2006/relationships/slideLayout" Target="../slideLayouts/slideLayout641.xml"/><Relationship Id="rId100" Type="http://schemas.openxmlformats.org/officeDocument/2006/relationships/slideLayout" Target="../slideLayouts/slideLayout664.xml"/><Relationship Id="rId105" Type="http://schemas.openxmlformats.org/officeDocument/2006/relationships/slideLayout" Target="../slideLayouts/slideLayout669.xml"/><Relationship Id="rId126" Type="http://schemas.openxmlformats.org/officeDocument/2006/relationships/slideLayout" Target="../slideLayouts/slideLayout690.xml"/><Relationship Id="rId147" Type="http://schemas.openxmlformats.org/officeDocument/2006/relationships/slideLayout" Target="../slideLayouts/slideLayout711.xml"/><Relationship Id="rId168" Type="http://schemas.openxmlformats.org/officeDocument/2006/relationships/slideLayout" Target="../slideLayouts/slideLayout732.xml"/><Relationship Id="rId8" Type="http://schemas.openxmlformats.org/officeDocument/2006/relationships/slideLayout" Target="../slideLayouts/slideLayout572.xml"/><Relationship Id="rId51" Type="http://schemas.openxmlformats.org/officeDocument/2006/relationships/slideLayout" Target="../slideLayouts/slideLayout615.xml"/><Relationship Id="rId72" Type="http://schemas.openxmlformats.org/officeDocument/2006/relationships/slideLayout" Target="../slideLayouts/slideLayout636.xml"/><Relationship Id="rId93" Type="http://schemas.openxmlformats.org/officeDocument/2006/relationships/slideLayout" Target="../slideLayouts/slideLayout657.xml"/><Relationship Id="rId98" Type="http://schemas.openxmlformats.org/officeDocument/2006/relationships/slideLayout" Target="../slideLayouts/slideLayout662.xml"/><Relationship Id="rId121" Type="http://schemas.openxmlformats.org/officeDocument/2006/relationships/slideLayout" Target="../slideLayouts/slideLayout685.xml"/><Relationship Id="rId142" Type="http://schemas.openxmlformats.org/officeDocument/2006/relationships/slideLayout" Target="../slideLayouts/slideLayout706.xml"/><Relationship Id="rId163" Type="http://schemas.openxmlformats.org/officeDocument/2006/relationships/slideLayout" Target="../slideLayouts/slideLayout727.xml"/><Relationship Id="rId184" Type="http://schemas.openxmlformats.org/officeDocument/2006/relationships/slideLayout" Target="../slideLayouts/slideLayout748.xml"/><Relationship Id="rId189" Type="http://schemas.openxmlformats.org/officeDocument/2006/relationships/slideLayout" Target="../slideLayouts/slideLayout753.xml"/><Relationship Id="rId219" Type="http://schemas.openxmlformats.org/officeDocument/2006/relationships/slideLayout" Target="../slideLayouts/slideLayout783.xml"/><Relationship Id="rId3" Type="http://schemas.openxmlformats.org/officeDocument/2006/relationships/slideLayout" Target="../slideLayouts/slideLayout567.xml"/><Relationship Id="rId214" Type="http://schemas.openxmlformats.org/officeDocument/2006/relationships/slideLayout" Target="../slideLayouts/slideLayout778.xml"/><Relationship Id="rId25" Type="http://schemas.openxmlformats.org/officeDocument/2006/relationships/slideLayout" Target="../slideLayouts/slideLayout589.xml"/><Relationship Id="rId46" Type="http://schemas.openxmlformats.org/officeDocument/2006/relationships/slideLayout" Target="../slideLayouts/slideLayout610.xml"/><Relationship Id="rId67" Type="http://schemas.openxmlformats.org/officeDocument/2006/relationships/slideLayout" Target="../slideLayouts/slideLayout631.xml"/><Relationship Id="rId116" Type="http://schemas.openxmlformats.org/officeDocument/2006/relationships/slideLayout" Target="../slideLayouts/slideLayout680.xml"/><Relationship Id="rId137" Type="http://schemas.openxmlformats.org/officeDocument/2006/relationships/slideLayout" Target="../slideLayouts/slideLayout701.xml"/><Relationship Id="rId158" Type="http://schemas.openxmlformats.org/officeDocument/2006/relationships/slideLayout" Target="../slideLayouts/slideLayout722.xml"/><Relationship Id="rId20" Type="http://schemas.openxmlformats.org/officeDocument/2006/relationships/slideLayout" Target="../slideLayouts/slideLayout584.xml"/><Relationship Id="rId41" Type="http://schemas.openxmlformats.org/officeDocument/2006/relationships/slideLayout" Target="../slideLayouts/slideLayout605.xml"/><Relationship Id="rId62" Type="http://schemas.openxmlformats.org/officeDocument/2006/relationships/slideLayout" Target="../slideLayouts/slideLayout626.xml"/><Relationship Id="rId83" Type="http://schemas.openxmlformats.org/officeDocument/2006/relationships/slideLayout" Target="../slideLayouts/slideLayout647.xml"/><Relationship Id="rId88" Type="http://schemas.openxmlformats.org/officeDocument/2006/relationships/slideLayout" Target="../slideLayouts/slideLayout652.xml"/><Relationship Id="rId111" Type="http://schemas.openxmlformats.org/officeDocument/2006/relationships/slideLayout" Target="../slideLayouts/slideLayout675.xml"/><Relationship Id="rId132" Type="http://schemas.openxmlformats.org/officeDocument/2006/relationships/slideLayout" Target="../slideLayouts/slideLayout696.xml"/><Relationship Id="rId153" Type="http://schemas.openxmlformats.org/officeDocument/2006/relationships/slideLayout" Target="../slideLayouts/slideLayout717.xml"/><Relationship Id="rId174" Type="http://schemas.openxmlformats.org/officeDocument/2006/relationships/slideLayout" Target="../slideLayouts/slideLayout738.xml"/><Relationship Id="rId179" Type="http://schemas.openxmlformats.org/officeDocument/2006/relationships/slideLayout" Target="../slideLayouts/slideLayout743.xml"/><Relationship Id="rId195" Type="http://schemas.openxmlformats.org/officeDocument/2006/relationships/slideLayout" Target="../slideLayouts/slideLayout759.xml"/><Relationship Id="rId209" Type="http://schemas.openxmlformats.org/officeDocument/2006/relationships/slideLayout" Target="../slideLayouts/slideLayout773.xml"/><Relationship Id="rId190" Type="http://schemas.openxmlformats.org/officeDocument/2006/relationships/slideLayout" Target="../slideLayouts/slideLayout754.xml"/><Relationship Id="rId204" Type="http://schemas.openxmlformats.org/officeDocument/2006/relationships/slideLayout" Target="../slideLayouts/slideLayout768.xml"/><Relationship Id="rId220" Type="http://schemas.openxmlformats.org/officeDocument/2006/relationships/slideLayout" Target="../slideLayouts/slideLayout784.xml"/><Relationship Id="rId15" Type="http://schemas.openxmlformats.org/officeDocument/2006/relationships/slideLayout" Target="../slideLayouts/slideLayout579.xml"/><Relationship Id="rId36" Type="http://schemas.openxmlformats.org/officeDocument/2006/relationships/slideLayout" Target="../slideLayouts/slideLayout600.xml"/><Relationship Id="rId57" Type="http://schemas.openxmlformats.org/officeDocument/2006/relationships/slideLayout" Target="../slideLayouts/slideLayout621.xml"/><Relationship Id="rId106" Type="http://schemas.openxmlformats.org/officeDocument/2006/relationships/slideLayout" Target="../slideLayouts/slideLayout670.xml"/><Relationship Id="rId127" Type="http://schemas.openxmlformats.org/officeDocument/2006/relationships/slideLayout" Target="../slideLayouts/slideLayout691.xml"/><Relationship Id="rId10" Type="http://schemas.openxmlformats.org/officeDocument/2006/relationships/slideLayout" Target="../slideLayouts/slideLayout574.xml"/><Relationship Id="rId31" Type="http://schemas.openxmlformats.org/officeDocument/2006/relationships/slideLayout" Target="../slideLayouts/slideLayout595.xml"/><Relationship Id="rId52" Type="http://schemas.openxmlformats.org/officeDocument/2006/relationships/slideLayout" Target="../slideLayouts/slideLayout616.xml"/><Relationship Id="rId73" Type="http://schemas.openxmlformats.org/officeDocument/2006/relationships/slideLayout" Target="../slideLayouts/slideLayout637.xml"/><Relationship Id="rId78" Type="http://schemas.openxmlformats.org/officeDocument/2006/relationships/slideLayout" Target="../slideLayouts/slideLayout642.xml"/><Relationship Id="rId94" Type="http://schemas.openxmlformats.org/officeDocument/2006/relationships/slideLayout" Target="../slideLayouts/slideLayout658.xml"/><Relationship Id="rId99" Type="http://schemas.openxmlformats.org/officeDocument/2006/relationships/slideLayout" Target="../slideLayouts/slideLayout663.xml"/><Relationship Id="rId101" Type="http://schemas.openxmlformats.org/officeDocument/2006/relationships/slideLayout" Target="../slideLayouts/slideLayout665.xml"/><Relationship Id="rId122" Type="http://schemas.openxmlformats.org/officeDocument/2006/relationships/slideLayout" Target="../slideLayouts/slideLayout686.xml"/><Relationship Id="rId143" Type="http://schemas.openxmlformats.org/officeDocument/2006/relationships/slideLayout" Target="../slideLayouts/slideLayout707.xml"/><Relationship Id="rId148" Type="http://schemas.openxmlformats.org/officeDocument/2006/relationships/slideLayout" Target="../slideLayouts/slideLayout712.xml"/><Relationship Id="rId164" Type="http://schemas.openxmlformats.org/officeDocument/2006/relationships/slideLayout" Target="../slideLayouts/slideLayout728.xml"/><Relationship Id="rId169" Type="http://schemas.openxmlformats.org/officeDocument/2006/relationships/slideLayout" Target="../slideLayouts/slideLayout733.xml"/><Relationship Id="rId185" Type="http://schemas.openxmlformats.org/officeDocument/2006/relationships/slideLayout" Target="../slideLayouts/slideLayout749.xml"/><Relationship Id="rId4" Type="http://schemas.openxmlformats.org/officeDocument/2006/relationships/slideLayout" Target="../slideLayouts/slideLayout568.xml"/><Relationship Id="rId9" Type="http://schemas.openxmlformats.org/officeDocument/2006/relationships/slideLayout" Target="../slideLayouts/slideLayout573.xml"/><Relationship Id="rId180" Type="http://schemas.openxmlformats.org/officeDocument/2006/relationships/slideLayout" Target="../slideLayouts/slideLayout744.xml"/><Relationship Id="rId210" Type="http://schemas.openxmlformats.org/officeDocument/2006/relationships/slideLayout" Target="../slideLayouts/slideLayout774.xml"/><Relationship Id="rId215" Type="http://schemas.openxmlformats.org/officeDocument/2006/relationships/slideLayout" Target="../slideLayouts/slideLayout779.xml"/><Relationship Id="rId26" Type="http://schemas.openxmlformats.org/officeDocument/2006/relationships/slideLayout" Target="../slideLayouts/slideLayout590.xml"/><Relationship Id="rId47" Type="http://schemas.openxmlformats.org/officeDocument/2006/relationships/slideLayout" Target="../slideLayouts/slideLayout611.xml"/><Relationship Id="rId68" Type="http://schemas.openxmlformats.org/officeDocument/2006/relationships/slideLayout" Target="../slideLayouts/slideLayout632.xml"/><Relationship Id="rId89" Type="http://schemas.openxmlformats.org/officeDocument/2006/relationships/slideLayout" Target="../slideLayouts/slideLayout653.xml"/><Relationship Id="rId112" Type="http://schemas.openxmlformats.org/officeDocument/2006/relationships/slideLayout" Target="../slideLayouts/slideLayout676.xml"/><Relationship Id="rId133" Type="http://schemas.openxmlformats.org/officeDocument/2006/relationships/slideLayout" Target="../slideLayouts/slideLayout697.xml"/><Relationship Id="rId154" Type="http://schemas.openxmlformats.org/officeDocument/2006/relationships/slideLayout" Target="../slideLayouts/slideLayout718.xml"/><Relationship Id="rId175" Type="http://schemas.openxmlformats.org/officeDocument/2006/relationships/slideLayout" Target="../slideLayouts/slideLayout739.xml"/><Relationship Id="rId196" Type="http://schemas.openxmlformats.org/officeDocument/2006/relationships/slideLayout" Target="../slideLayouts/slideLayout760.xml"/><Relationship Id="rId200" Type="http://schemas.openxmlformats.org/officeDocument/2006/relationships/slideLayout" Target="../slideLayouts/slideLayout764.xml"/><Relationship Id="rId16" Type="http://schemas.openxmlformats.org/officeDocument/2006/relationships/slideLayout" Target="../slideLayouts/slideLayout580.xml"/><Relationship Id="rId221" Type="http://schemas.openxmlformats.org/officeDocument/2006/relationships/slideLayout" Target="../slideLayouts/slideLayout785.xml"/><Relationship Id="rId37" Type="http://schemas.openxmlformats.org/officeDocument/2006/relationships/slideLayout" Target="../slideLayouts/slideLayout601.xml"/><Relationship Id="rId58" Type="http://schemas.openxmlformats.org/officeDocument/2006/relationships/slideLayout" Target="../slideLayouts/slideLayout622.xml"/><Relationship Id="rId79" Type="http://schemas.openxmlformats.org/officeDocument/2006/relationships/slideLayout" Target="../slideLayouts/slideLayout643.xml"/><Relationship Id="rId102" Type="http://schemas.openxmlformats.org/officeDocument/2006/relationships/slideLayout" Target="../slideLayouts/slideLayout666.xml"/><Relationship Id="rId123" Type="http://schemas.openxmlformats.org/officeDocument/2006/relationships/slideLayout" Target="../slideLayouts/slideLayout687.xml"/><Relationship Id="rId144" Type="http://schemas.openxmlformats.org/officeDocument/2006/relationships/slideLayout" Target="../slideLayouts/slideLayout70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793.xml"/><Relationship Id="rId3" Type="http://schemas.openxmlformats.org/officeDocument/2006/relationships/slideLayout" Target="../slideLayouts/slideLayout788.xml"/><Relationship Id="rId7" Type="http://schemas.openxmlformats.org/officeDocument/2006/relationships/slideLayout" Target="../slideLayouts/slideLayout792.xml"/><Relationship Id="rId12" Type="http://schemas.openxmlformats.org/officeDocument/2006/relationships/theme" Target="../theme/theme16.xml"/><Relationship Id="rId2" Type="http://schemas.openxmlformats.org/officeDocument/2006/relationships/slideLayout" Target="../slideLayouts/slideLayout787.xml"/><Relationship Id="rId1" Type="http://schemas.openxmlformats.org/officeDocument/2006/relationships/slideLayout" Target="../slideLayouts/slideLayout786.xml"/><Relationship Id="rId6" Type="http://schemas.openxmlformats.org/officeDocument/2006/relationships/slideLayout" Target="../slideLayouts/slideLayout791.xml"/><Relationship Id="rId11" Type="http://schemas.openxmlformats.org/officeDocument/2006/relationships/slideLayout" Target="../slideLayouts/slideLayout796.xml"/><Relationship Id="rId5" Type="http://schemas.openxmlformats.org/officeDocument/2006/relationships/slideLayout" Target="../slideLayouts/slideLayout790.xml"/><Relationship Id="rId10" Type="http://schemas.openxmlformats.org/officeDocument/2006/relationships/slideLayout" Target="../slideLayouts/slideLayout795.xml"/><Relationship Id="rId4" Type="http://schemas.openxmlformats.org/officeDocument/2006/relationships/slideLayout" Target="../slideLayouts/slideLayout789.xml"/><Relationship Id="rId9" Type="http://schemas.openxmlformats.org/officeDocument/2006/relationships/slideLayout" Target="../slideLayouts/slideLayout794.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809.xml"/><Relationship Id="rId18" Type="http://schemas.openxmlformats.org/officeDocument/2006/relationships/slideLayout" Target="../slideLayouts/slideLayout814.xml"/><Relationship Id="rId26" Type="http://schemas.openxmlformats.org/officeDocument/2006/relationships/slideLayout" Target="../slideLayouts/slideLayout822.xml"/><Relationship Id="rId39" Type="http://schemas.openxmlformats.org/officeDocument/2006/relationships/slideLayout" Target="../slideLayouts/slideLayout835.xml"/><Relationship Id="rId21" Type="http://schemas.openxmlformats.org/officeDocument/2006/relationships/slideLayout" Target="../slideLayouts/slideLayout817.xml"/><Relationship Id="rId34" Type="http://schemas.openxmlformats.org/officeDocument/2006/relationships/slideLayout" Target="../slideLayouts/slideLayout830.xml"/><Relationship Id="rId42" Type="http://schemas.openxmlformats.org/officeDocument/2006/relationships/slideLayout" Target="../slideLayouts/slideLayout838.xml"/><Relationship Id="rId47" Type="http://schemas.openxmlformats.org/officeDocument/2006/relationships/slideLayout" Target="../slideLayouts/slideLayout843.xml"/><Relationship Id="rId50" Type="http://schemas.openxmlformats.org/officeDocument/2006/relationships/slideLayout" Target="../slideLayouts/slideLayout846.xml"/><Relationship Id="rId55" Type="http://schemas.openxmlformats.org/officeDocument/2006/relationships/slideLayout" Target="../slideLayouts/slideLayout851.xml"/><Relationship Id="rId63" Type="http://schemas.openxmlformats.org/officeDocument/2006/relationships/theme" Target="../theme/theme17.xml"/><Relationship Id="rId7" Type="http://schemas.openxmlformats.org/officeDocument/2006/relationships/slideLayout" Target="../slideLayouts/slideLayout803.xml"/><Relationship Id="rId2" Type="http://schemas.openxmlformats.org/officeDocument/2006/relationships/slideLayout" Target="../slideLayouts/slideLayout798.xml"/><Relationship Id="rId16" Type="http://schemas.openxmlformats.org/officeDocument/2006/relationships/slideLayout" Target="../slideLayouts/slideLayout812.xml"/><Relationship Id="rId20" Type="http://schemas.openxmlformats.org/officeDocument/2006/relationships/slideLayout" Target="../slideLayouts/slideLayout816.xml"/><Relationship Id="rId29" Type="http://schemas.openxmlformats.org/officeDocument/2006/relationships/slideLayout" Target="../slideLayouts/slideLayout825.xml"/><Relationship Id="rId41" Type="http://schemas.openxmlformats.org/officeDocument/2006/relationships/slideLayout" Target="../slideLayouts/slideLayout837.xml"/><Relationship Id="rId54" Type="http://schemas.openxmlformats.org/officeDocument/2006/relationships/slideLayout" Target="../slideLayouts/slideLayout850.xml"/><Relationship Id="rId62" Type="http://schemas.openxmlformats.org/officeDocument/2006/relationships/slideLayout" Target="../slideLayouts/slideLayout858.xml"/><Relationship Id="rId1" Type="http://schemas.openxmlformats.org/officeDocument/2006/relationships/slideLayout" Target="../slideLayouts/slideLayout797.xml"/><Relationship Id="rId6" Type="http://schemas.openxmlformats.org/officeDocument/2006/relationships/slideLayout" Target="../slideLayouts/slideLayout802.xml"/><Relationship Id="rId11" Type="http://schemas.openxmlformats.org/officeDocument/2006/relationships/slideLayout" Target="../slideLayouts/slideLayout807.xml"/><Relationship Id="rId24" Type="http://schemas.openxmlformats.org/officeDocument/2006/relationships/slideLayout" Target="../slideLayouts/slideLayout820.xml"/><Relationship Id="rId32" Type="http://schemas.openxmlformats.org/officeDocument/2006/relationships/slideLayout" Target="../slideLayouts/slideLayout828.xml"/><Relationship Id="rId37" Type="http://schemas.openxmlformats.org/officeDocument/2006/relationships/slideLayout" Target="../slideLayouts/slideLayout833.xml"/><Relationship Id="rId40" Type="http://schemas.openxmlformats.org/officeDocument/2006/relationships/slideLayout" Target="../slideLayouts/slideLayout836.xml"/><Relationship Id="rId45" Type="http://schemas.openxmlformats.org/officeDocument/2006/relationships/slideLayout" Target="../slideLayouts/slideLayout841.xml"/><Relationship Id="rId53" Type="http://schemas.openxmlformats.org/officeDocument/2006/relationships/slideLayout" Target="../slideLayouts/slideLayout849.xml"/><Relationship Id="rId58" Type="http://schemas.openxmlformats.org/officeDocument/2006/relationships/slideLayout" Target="../slideLayouts/slideLayout854.xml"/><Relationship Id="rId5" Type="http://schemas.openxmlformats.org/officeDocument/2006/relationships/slideLayout" Target="../slideLayouts/slideLayout801.xml"/><Relationship Id="rId15" Type="http://schemas.openxmlformats.org/officeDocument/2006/relationships/slideLayout" Target="../slideLayouts/slideLayout811.xml"/><Relationship Id="rId23" Type="http://schemas.openxmlformats.org/officeDocument/2006/relationships/slideLayout" Target="../slideLayouts/slideLayout819.xml"/><Relationship Id="rId28" Type="http://schemas.openxmlformats.org/officeDocument/2006/relationships/slideLayout" Target="../slideLayouts/slideLayout824.xml"/><Relationship Id="rId36" Type="http://schemas.openxmlformats.org/officeDocument/2006/relationships/slideLayout" Target="../slideLayouts/slideLayout832.xml"/><Relationship Id="rId49" Type="http://schemas.openxmlformats.org/officeDocument/2006/relationships/slideLayout" Target="../slideLayouts/slideLayout845.xml"/><Relationship Id="rId57" Type="http://schemas.openxmlformats.org/officeDocument/2006/relationships/slideLayout" Target="../slideLayouts/slideLayout853.xml"/><Relationship Id="rId61" Type="http://schemas.openxmlformats.org/officeDocument/2006/relationships/slideLayout" Target="../slideLayouts/slideLayout857.xml"/><Relationship Id="rId10" Type="http://schemas.openxmlformats.org/officeDocument/2006/relationships/slideLayout" Target="../slideLayouts/slideLayout806.xml"/><Relationship Id="rId19" Type="http://schemas.openxmlformats.org/officeDocument/2006/relationships/slideLayout" Target="../slideLayouts/slideLayout815.xml"/><Relationship Id="rId31" Type="http://schemas.openxmlformats.org/officeDocument/2006/relationships/slideLayout" Target="../slideLayouts/slideLayout827.xml"/><Relationship Id="rId44" Type="http://schemas.openxmlformats.org/officeDocument/2006/relationships/slideLayout" Target="../slideLayouts/slideLayout840.xml"/><Relationship Id="rId52" Type="http://schemas.openxmlformats.org/officeDocument/2006/relationships/slideLayout" Target="../slideLayouts/slideLayout848.xml"/><Relationship Id="rId60" Type="http://schemas.openxmlformats.org/officeDocument/2006/relationships/slideLayout" Target="../slideLayouts/slideLayout856.xml"/><Relationship Id="rId4" Type="http://schemas.openxmlformats.org/officeDocument/2006/relationships/slideLayout" Target="../slideLayouts/slideLayout800.xml"/><Relationship Id="rId9" Type="http://schemas.openxmlformats.org/officeDocument/2006/relationships/slideLayout" Target="../slideLayouts/slideLayout805.xml"/><Relationship Id="rId14" Type="http://schemas.openxmlformats.org/officeDocument/2006/relationships/slideLayout" Target="../slideLayouts/slideLayout810.xml"/><Relationship Id="rId22" Type="http://schemas.openxmlformats.org/officeDocument/2006/relationships/slideLayout" Target="../slideLayouts/slideLayout818.xml"/><Relationship Id="rId27" Type="http://schemas.openxmlformats.org/officeDocument/2006/relationships/slideLayout" Target="../slideLayouts/slideLayout823.xml"/><Relationship Id="rId30" Type="http://schemas.openxmlformats.org/officeDocument/2006/relationships/slideLayout" Target="../slideLayouts/slideLayout826.xml"/><Relationship Id="rId35" Type="http://schemas.openxmlformats.org/officeDocument/2006/relationships/slideLayout" Target="../slideLayouts/slideLayout831.xml"/><Relationship Id="rId43" Type="http://schemas.openxmlformats.org/officeDocument/2006/relationships/slideLayout" Target="../slideLayouts/slideLayout839.xml"/><Relationship Id="rId48" Type="http://schemas.openxmlformats.org/officeDocument/2006/relationships/slideLayout" Target="../slideLayouts/slideLayout844.xml"/><Relationship Id="rId56" Type="http://schemas.openxmlformats.org/officeDocument/2006/relationships/slideLayout" Target="../slideLayouts/slideLayout852.xml"/><Relationship Id="rId8" Type="http://schemas.openxmlformats.org/officeDocument/2006/relationships/slideLayout" Target="../slideLayouts/slideLayout804.xml"/><Relationship Id="rId51" Type="http://schemas.openxmlformats.org/officeDocument/2006/relationships/slideLayout" Target="../slideLayouts/slideLayout847.xml"/><Relationship Id="rId3" Type="http://schemas.openxmlformats.org/officeDocument/2006/relationships/slideLayout" Target="../slideLayouts/slideLayout799.xml"/><Relationship Id="rId12" Type="http://schemas.openxmlformats.org/officeDocument/2006/relationships/slideLayout" Target="../slideLayouts/slideLayout808.xml"/><Relationship Id="rId17" Type="http://schemas.openxmlformats.org/officeDocument/2006/relationships/slideLayout" Target="../slideLayouts/slideLayout813.xml"/><Relationship Id="rId25" Type="http://schemas.openxmlformats.org/officeDocument/2006/relationships/slideLayout" Target="../slideLayouts/slideLayout821.xml"/><Relationship Id="rId33" Type="http://schemas.openxmlformats.org/officeDocument/2006/relationships/slideLayout" Target="../slideLayouts/slideLayout829.xml"/><Relationship Id="rId38" Type="http://schemas.openxmlformats.org/officeDocument/2006/relationships/slideLayout" Target="../slideLayouts/slideLayout834.xml"/><Relationship Id="rId46" Type="http://schemas.openxmlformats.org/officeDocument/2006/relationships/slideLayout" Target="../slideLayouts/slideLayout842.xml"/><Relationship Id="rId59" Type="http://schemas.openxmlformats.org/officeDocument/2006/relationships/slideLayout" Target="../slideLayouts/slideLayout855.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871.xml"/><Relationship Id="rId18" Type="http://schemas.openxmlformats.org/officeDocument/2006/relationships/slideLayout" Target="../slideLayouts/slideLayout876.xml"/><Relationship Id="rId26" Type="http://schemas.openxmlformats.org/officeDocument/2006/relationships/slideLayout" Target="../slideLayouts/slideLayout884.xml"/><Relationship Id="rId39" Type="http://schemas.openxmlformats.org/officeDocument/2006/relationships/slideLayout" Target="../slideLayouts/slideLayout897.xml"/><Relationship Id="rId21" Type="http://schemas.openxmlformats.org/officeDocument/2006/relationships/slideLayout" Target="../slideLayouts/slideLayout879.xml"/><Relationship Id="rId34" Type="http://schemas.openxmlformats.org/officeDocument/2006/relationships/slideLayout" Target="../slideLayouts/slideLayout892.xml"/><Relationship Id="rId42" Type="http://schemas.openxmlformats.org/officeDocument/2006/relationships/slideLayout" Target="../slideLayouts/slideLayout900.xml"/><Relationship Id="rId47" Type="http://schemas.openxmlformats.org/officeDocument/2006/relationships/slideLayout" Target="../slideLayouts/slideLayout905.xml"/><Relationship Id="rId50" Type="http://schemas.openxmlformats.org/officeDocument/2006/relationships/slideLayout" Target="../slideLayouts/slideLayout908.xml"/><Relationship Id="rId55" Type="http://schemas.openxmlformats.org/officeDocument/2006/relationships/slideLayout" Target="../slideLayouts/slideLayout913.xml"/><Relationship Id="rId7" Type="http://schemas.openxmlformats.org/officeDocument/2006/relationships/slideLayout" Target="../slideLayouts/slideLayout865.xml"/><Relationship Id="rId12" Type="http://schemas.openxmlformats.org/officeDocument/2006/relationships/slideLayout" Target="../slideLayouts/slideLayout870.xml"/><Relationship Id="rId17" Type="http://schemas.openxmlformats.org/officeDocument/2006/relationships/slideLayout" Target="../slideLayouts/slideLayout875.xml"/><Relationship Id="rId25" Type="http://schemas.openxmlformats.org/officeDocument/2006/relationships/slideLayout" Target="../slideLayouts/slideLayout883.xml"/><Relationship Id="rId33" Type="http://schemas.openxmlformats.org/officeDocument/2006/relationships/slideLayout" Target="../slideLayouts/slideLayout891.xml"/><Relationship Id="rId38" Type="http://schemas.openxmlformats.org/officeDocument/2006/relationships/slideLayout" Target="../slideLayouts/slideLayout896.xml"/><Relationship Id="rId46" Type="http://schemas.openxmlformats.org/officeDocument/2006/relationships/slideLayout" Target="../slideLayouts/slideLayout904.xml"/><Relationship Id="rId59" Type="http://schemas.openxmlformats.org/officeDocument/2006/relationships/theme" Target="../theme/theme18.xml"/><Relationship Id="rId2" Type="http://schemas.openxmlformats.org/officeDocument/2006/relationships/slideLayout" Target="../slideLayouts/slideLayout860.xml"/><Relationship Id="rId16" Type="http://schemas.openxmlformats.org/officeDocument/2006/relationships/slideLayout" Target="../slideLayouts/slideLayout874.xml"/><Relationship Id="rId20" Type="http://schemas.openxmlformats.org/officeDocument/2006/relationships/slideLayout" Target="../slideLayouts/slideLayout878.xml"/><Relationship Id="rId29" Type="http://schemas.openxmlformats.org/officeDocument/2006/relationships/slideLayout" Target="../slideLayouts/slideLayout887.xml"/><Relationship Id="rId41" Type="http://schemas.openxmlformats.org/officeDocument/2006/relationships/slideLayout" Target="../slideLayouts/slideLayout899.xml"/><Relationship Id="rId54" Type="http://schemas.openxmlformats.org/officeDocument/2006/relationships/slideLayout" Target="../slideLayouts/slideLayout912.xml"/><Relationship Id="rId1" Type="http://schemas.openxmlformats.org/officeDocument/2006/relationships/slideLayout" Target="../slideLayouts/slideLayout859.xml"/><Relationship Id="rId6" Type="http://schemas.openxmlformats.org/officeDocument/2006/relationships/slideLayout" Target="../slideLayouts/slideLayout864.xml"/><Relationship Id="rId11" Type="http://schemas.openxmlformats.org/officeDocument/2006/relationships/slideLayout" Target="../slideLayouts/slideLayout869.xml"/><Relationship Id="rId24" Type="http://schemas.openxmlformats.org/officeDocument/2006/relationships/slideLayout" Target="../slideLayouts/slideLayout882.xml"/><Relationship Id="rId32" Type="http://schemas.openxmlformats.org/officeDocument/2006/relationships/slideLayout" Target="../slideLayouts/slideLayout890.xml"/><Relationship Id="rId37" Type="http://schemas.openxmlformats.org/officeDocument/2006/relationships/slideLayout" Target="../slideLayouts/slideLayout895.xml"/><Relationship Id="rId40" Type="http://schemas.openxmlformats.org/officeDocument/2006/relationships/slideLayout" Target="../slideLayouts/slideLayout898.xml"/><Relationship Id="rId45" Type="http://schemas.openxmlformats.org/officeDocument/2006/relationships/slideLayout" Target="../slideLayouts/slideLayout903.xml"/><Relationship Id="rId53" Type="http://schemas.openxmlformats.org/officeDocument/2006/relationships/slideLayout" Target="../slideLayouts/slideLayout911.xml"/><Relationship Id="rId58" Type="http://schemas.openxmlformats.org/officeDocument/2006/relationships/slideLayout" Target="../slideLayouts/slideLayout916.xml"/><Relationship Id="rId5" Type="http://schemas.openxmlformats.org/officeDocument/2006/relationships/slideLayout" Target="../slideLayouts/slideLayout863.xml"/><Relationship Id="rId15" Type="http://schemas.openxmlformats.org/officeDocument/2006/relationships/slideLayout" Target="../slideLayouts/slideLayout873.xml"/><Relationship Id="rId23" Type="http://schemas.openxmlformats.org/officeDocument/2006/relationships/slideLayout" Target="../slideLayouts/slideLayout881.xml"/><Relationship Id="rId28" Type="http://schemas.openxmlformats.org/officeDocument/2006/relationships/slideLayout" Target="../slideLayouts/slideLayout886.xml"/><Relationship Id="rId36" Type="http://schemas.openxmlformats.org/officeDocument/2006/relationships/slideLayout" Target="../slideLayouts/slideLayout894.xml"/><Relationship Id="rId49" Type="http://schemas.openxmlformats.org/officeDocument/2006/relationships/slideLayout" Target="../slideLayouts/slideLayout907.xml"/><Relationship Id="rId57" Type="http://schemas.openxmlformats.org/officeDocument/2006/relationships/slideLayout" Target="../slideLayouts/slideLayout915.xml"/><Relationship Id="rId10" Type="http://schemas.openxmlformats.org/officeDocument/2006/relationships/slideLayout" Target="../slideLayouts/slideLayout868.xml"/><Relationship Id="rId19" Type="http://schemas.openxmlformats.org/officeDocument/2006/relationships/slideLayout" Target="../slideLayouts/slideLayout877.xml"/><Relationship Id="rId31" Type="http://schemas.openxmlformats.org/officeDocument/2006/relationships/slideLayout" Target="../slideLayouts/slideLayout889.xml"/><Relationship Id="rId44" Type="http://schemas.openxmlformats.org/officeDocument/2006/relationships/slideLayout" Target="../slideLayouts/slideLayout902.xml"/><Relationship Id="rId52" Type="http://schemas.openxmlformats.org/officeDocument/2006/relationships/slideLayout" Target="../slideLayouts/slideLayout910.xml"/><Relationship Id="rId4" Type="http://schemas.openxmlformats.org/officeDocument/2006/relationships/slideLayout" Target="../slideLayouts/slideLayout862.xml"/><Relationship Id="rId9" Type="http://schemas.openxmlformats.org/officeDocument/2006/relationships/slideLayout" Target="../slideLayouts/slideLayout867.xml"/><Relationship Id="rId14" Type="http://schemas.openxmlformats.org/officeDocument/2006/relationships/slideLayout" Target="../slideLayouts/slideLayout872.xml"/><Relationship Id="rId22" Type="http://schemas.openxmlformats.org/officeDocument/2006/relationships/slideLayout" Target="../slideLayouts/slideLayout880.xml"/><Relationship Id="rId27" Type="http://schemas.openxmlformats.org/officeDocument/2006/relationships/slideLayout" Target="../slideLayouts/slideLayout885.xml"/><Relationship Id="rId30" Type="http://schemas.openxmlformats.org/officeDocument/2006/relationships/slideLayout" Target="../slideLayouts/slideLayout888.xml"/><Relationship Id="rId35" Type="http://schemas.openxmlformats.org/officeDocument/2006/relationships/slideLayout" Target="../slideLayouts/slideLayout893.xml"/><Relationship Id="rId43" Type="http://schemas.openxmlformats.org/officeDocument/2006/relationships/slideLayout" Target="../slideLayouts/slideLayout901.xml"/><Relationship Id="rId48" Type="http://schemas.openxmlformats.org/officeDocument/2006/relationships/slideLayout" Target="../slideLayouts/slideLayout906.xml"/><Relationship Id="rId56" Type="http://schemas.openxmlformats.org/officeDocument/2006/relationships/slideLayout" Target="../slideLayouts/slideLayout914.xml"/><Relationship Id="rId8" Type="http://schemas.openxmlformats.org/officeDocument/2006/relationships/slideLayout" Target="../slideLayouts/slideLayout866.xml"/><Relationship Id="rId51" Type="http://schemas.openxmlformats.org/officeDocument/2006/relationships/slideLayout" Target="../slideLayouts/slideLayout909.xml"/><Relationship Id="rId3" Type="http://schemas.openxmlformats.org/officeDocument/2006/relationships/slideLayout" Target="../slideLayouts/slideLayout86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image" Target="../media/image9.pn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theme" Target="../theme/theme2.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image" Target="../media/image21.svg"/><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slideLayout" Target="../slideLayouts/slideLayout117.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42" Type="http://schemas.openxmlformats.org/officeDocument/2006/relationships/slideLayout" Target="../slideLayouts/slideLayout120.xml"/><Relationship Id="rId47" Type="http://schemas.openxmlformats.org/officeDocument/2006/relationships/slideLayout" Target="../slideLayouts/slideLayout125.xml"/><Relationship Id="rId50" Type="http://schemas.openxmlformats.org/officeDocument/2006/relationships/slideLayout" Target="../slideLayouts/slideLayout128.xml"/><Relationship Id="rId55" Type="http://schemas.openxmlformats.org/officeDocument/2006/relationships/image" Target="../media/image22.emf"/><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slideLayout" Target="../slideLayouts/slideLayout124.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41" Type="http://schemas.openxmlformats.org/officeDocument/2006/relationships/slideLayout" Target="../slideLayouts/slideLayout119.xml"/><Relationship Id="rId54" Type="http://schemas.openxmlformats.org/officeDocument/2006/relationships/oleObject" Target="../embeddings/oleObject1.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slideLayout" Target="../slideLayouts/slideLayout123.xml"/><Relationship Id="rId53" Type="http://schemas.openxmlformats.org/officeDocument/2006/relationships/tags" Target="../tags/tag1.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49" Type="http://schemas.openxmlformats.org/officeDocument/2006/relationships/slideLayout" Target="../slideLayouts/slideLayout127.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52" Type="http://schemas.openxmlformats.org/officeDocument/2006/relationships/theme" Target="../theme/theme3.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slideLayout" Target="../slideLayouts/slideLayout126.xml"/><Relationship Id="rId8" Type="http://schemas.openxmlformats.org/officeDocument/2006/relationships/slideLayout" Target="../slideLayouts/slideLayout86.xml"/><Relationship Id="rId51" Type="http://schemas.openxmlformats.org/officeDocument/2006/relationships/slideLayout" Target="../slideLayouts/slideLayout129.xml"/><Relationship Id="rId3"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55.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55" Type="http://schemas.openxmlformats.org/officeDocument/2006/relationships/slideLayout" Target="../slideLayouts/slideLayout184.xml"/><Relationship Id="rId63" Type="http://schemas.openxmlformats.org/officeDocument/2006/relationships/slideLayout" Target="../slideLayouts/slideLayout192.xml"/><Relationship Id="rId68" Type="http://schemas.openxmlformats.org/officeDocument/2006/relationships/slideLayout" Target="../slideLayouts/slideLayout197.xml"/><Relationship Id="rId76" Type="http://schemas.openxmlformats.org/officeDocument/2006/relationships/slideLayout" Target="../slideLayouts/slideLayout205.xml"/><Relationship Id="rId84" Type="http://schemas.openxmlformats.org/officeDocument/2006/relationships/slideLayout" Target="../slideLayouts/slideLayout213.xml"/><Relationship Id="rId89" Type="http://schemas.openxmlformats.org/officeDocument/2006/relationships/slideLayout" Target="../slideLayouts/slideLayout218.xml"/><Relationship Id="rId97" Type="http://schemas.openxmlformats.org/officeDocument/2006/relationships/slideLayout" Target="../slideLayouts/slideLayout226.xml"/><Relationship Id="rId7" Type="http://schemas.openxmlformats.org/officeDocument/2006/relationships/slideLayout" Target="../slideLayouts/slideLayout136.xml"/><Relationship Id="rId71" Type="http://schemas.openxmlformats.org/officeDocument/2006/relationships/slideLayout" Target="../slideLayouts/slideLayout200.xml"/><Relationship Id="rId92" Type="http://schemas.openxmlformats.org/officeDocument/2006/relationships/slideLayout" Target="../slideLayouts/slideLayout221.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slideLayout" Target="../slideLayouts/slideLayout182.xml"/><Relationship Id="rId58" Type="http://schemas.openxmlformats.org/officeDocument/2006/relationships/slideLayout" Target="../slideLayouts/slideLayout187.xml"/><Relationship Id="rId66" Type="http://schemas.openxmlformats.org/officeDocument/2006/relationships/slideLayout" Target="../slideLayouts/slideLayout195.xml"/><Relationship Id="rId74" Type="http://schemas.openxmlformats.org/officeDocument/2006/relationships/slideLayout" Target="../slideLayouts/slideLayout203.xml"/><Relationship Id="rId79" Type="http://schemas.openxmlformats.org/officeDocument/2006/relationships/slideLayout" Target="../slideLayouts/slideLayout208.xml"/><Relationship Id="rId87" Type="http://schemas.openxmlformats.org/officeDocument/2006/relationships/slideLayout" Target="../slideLayouts/slideLayout216.xml"/><Relationship Id="rId102" Type="http://schemas.openxmlformats.org/officeDocument/2006/relationships/image" Target="../media/image28.emf"/><Relationship Id="rId5" Type="http://schemas.openxmlformats.org/officeDocument/2006/relationships/slideLayout" Target="../slideLayouts/slideLayout134.xml"/><Relationship Id="rId61" Type="http://schemas.openxmlformats.org/officeDocument/2006/relationships/slideLayout" Target="../slideLayouts/slideLayout190.xml"/><Relationship Id="rId82" Type="http://schemas.openxmlformats.org/officeDocument/2006/relationships/slideLayout" Target="../slideLayouts/slideLayout211.xml"/><Relationship Id="rId90" Type="http://schemas.openxmlformats.org/officeDocument/2006/relationships/slideLayout" Target="../slideLayouts/slideLayout219.xml"/><Relationship Id="rId95" Type="http://schemas.openxmlformats.org/officeDocument/2006/relationships/slideLayout" Target="../slideLayouts/slideLayout224.xml"/><Relationship Id="rId19" Type="http://schemas.openxmlformats.org/officeDocument/2006/relationships/slideLayout" Target="../slideLayouts/slideLayout14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56" Type="http://schemas.openxmlformats.org/officeDocument/2006/relationships/slideLayout" Target="../slideLayouts/slideLayout185.xml"/><Relationship Id="rId64" Type="http://schemas.openxmlformats.org/officeDocument/2006/relationships/slideLayout" Target="../slideLayouts/slideLayout193.xml"/><Relationship Id="rId69" Type="http://schemas.openxmlformats.org/officeDocument/2006/relationships/slideLayout" Target="../slideLayouts/slideLayout198.xml"/><Relationship Id="rId77" Type="http://schemas.openxmlformats.org/officeDocument/2006/relationships/slideLayout" Target="../slideLayouts/slideLayout206.xml"/><Relationship Id="rId100" Type="http://schemas.openxmlformats.org/officeDocument/2006/relationships/tags" Target="../tags/tag2.xml"/><Relationship Id="rId8" Type="http://schemas.openxmlformats.org/officeDocument/2006/relationships/slideLayout" Target="../slideLayouts/slideLayout137.xml"/><Relationship Id="rId51" Type="http://schemas.openxmlformats.org/officeDocument/2006/relationships/slideLayout" Target="../slideLayouts/slideLayout180.xml"/><Relationship Id="rId72" Type="http://schemas.openxmlformats.org/officeDocument/2006/relationships/slideLayout" Target="../slideLayouts/slideLayout201.xml"/><Relationship Id="rId80" Type="http://schemas.openxmlformats.org/officeDocument/2006/relationships/slideLayout" Target="../slideLayouts/slideLayout209.xml"/><Relationship Id="rId85" Type="http://schemas.openxmlformats.org/officeDocument/2006/relationships/slideLayout" Target="../slideLayouts/slideLayout214.xml"/><Relationship Id="rId93" Type="http://schemas.openxmlformats.org/officeDocument/2006/relationships/slideLayout" Target="../slideLayouts/slideLayout222.xml"/><Relationship Id="rId98" Type="http://schemas.openxmlformats.org/officeDocument/2006/relationships/slideLayout" Target="../slideLayouts/slideLayout227.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59" Type="http://schemas.openxmlformats.org/officeDocument/2006/relationships/slideLayout" Target="../slideLayouts/slideLayout188.xml"/><Relationship Id="rId67" Type="http://schemas.openxmlformats.org/officeDocument/2006/relationships/slideLayout" Target="../slideLayouts/slideLayout196.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54" Type="http://schemas.openxmlformats.org/officeDocument/2006/relationships/slideLayout" Target="../slideLayouts/slideLayout183.xml"/><Relationship Id="rId62" Type="http://schemas.openxmlformats.org/officeDocument/2006/relationships/slideLayout" Target="../slideLayouts/slideLayout191.xml"/><Relationship Id="rId70" Type="http://schemas.openxmlformats.org/officeDocument/2006/relationships/slideLayout" Target="../slideLayouts/slideLayout199.xml"/><Relationship Id="rId75" Type="http://schemas.openxmlformats.org/officeDocument/2006/relationships/slideLayout" Target="../slideLayouts/slideLayout204.xml"/><Relationship Id="rId83" Type="http://schemas.openxmlformats.org/officeDocument/2006/relationships/slideLayout" Target="../slideLayouts/slideLayout212.xml"/><Relationship Id="rId88" Type="http://schemas.openxmlformats.org/officeDocument/2006/relationships/slideLayout" Target="../slideLayouts/slideLayout217.xml"/><Relationship Id="rId91" Type="http://schemas.openxmlformats.org/officeDocument/2006/relationships/slideLayout" Target="../slideLayouts/slideLayout220.xml"/><Relationship Id="rId96" Type="http://schemas.openxmlformats.org/officeDocument/2006/relationships/slideLayout" Target="../slideLayouts/slideLayout225.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57" Type="http://schemas.openxmlformats.org/officeDocument/2006/relationships/slideLayout" Target="../slideLayouts/slideLayout186.xml"/><Relationship Id="rId10" Type="http://schemas.openxmlformats.org/officeDocument/2006/relationships/slideLayout" Target="../slideLayouts/slideLayout139.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 Id="rId60" Type="http://schemas.openxmlformats.org/officeDocument/2006/relationships/slideLayout" Target="../slideLayouts/slideLayout189.xml"/><Relationship Id="rId65" Type="http://schemas.openxmlformats.org/officeDocument/2006/relationships/slideLayout" Target="../slideLayouts/slideLayout194.xml"/><Relationship Id="rId73" Type="http://schemas.openxmlformats.org/officeDocument/2006/relationships/slideLayout" Target="../slideLayouts/slideLayout202.xml"/><Relationship Id="rId78" Type="http://schemas.openxmlformats.org/officeDocument/2006/relationships/slideLayout" Target="../slideLayouts/slideLayout207.xml"/><Relationship Id="rId81" Type="http://schemas.openxmlformats.org/officeDocument/2006/relationships/slideLayout" Target="../slideLayouts/slideLayout210.xml"/><Relationship Id="rId86" Type="http://schemas.openxmlformats.org/officeDocument/2006/relationships/slideLayout" Target="../slideLayouts/slideLayout215.xml"/><Relationship Id="rId94" Type="http://schemas.openxmlformats.org/officeDocument/2006/relationships/slideLayout" Target="../slideLayouts/slideLayout223.xml"/><Relationship Id="rId99" Type="http://schemas.openxmlformats.org/officeDocument/2006/relationships/theme" Target="../theme/theme4.xml"/><Relationship Id="rId101" Type="http://schemas.openxmlformats.org/officeDocument/2006/relationships/oleObject" Target="../embeddings/oleObject2.bin"/><Relationship Id="rId4" Type="http://schemas.openxmlformats.org/officeDocument/2006/relationships/slideLayout" Target="../slideLayouts/slideLayout133.xml"/><Relationship Id="rId9" Type="http://schemas.openxmlformats.org/officeDocument/2006/relationships/slideLayout" Target="../slideLayouts/slideLayout138.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9" Type="http://schemas.openxmlformats.org/officeDocument/2006/relationships/slideLayout" Target="../slideLayouts/slideLayout1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 Type="http://schemas.openxmlformats.org/officeDocument/2006/relationships/slideLayout" Target="../slideLayouts/slideLayout230.xml"/><Relationship Id="rId21" Type="http://schemas.openxmlformats.org/officeDocument/2006/relationships/slideLayout" Target="../slideLayouts/slideLayout248.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0" Type="http://schemas.openxmlformats.org/officeDocument/2006/relationships/slideLayout" Target="../slideLayouts/slideLayout247.xml"/><Relationship Id="rId29" Type="http://schemas.openxmlformats.org/officeDocument/2006/relationships/tags" Target="../tags/tag109.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5" Type="http://schemas.openxmlformats.org/officeDocument/2006/relationships/slideLayout" Target="../slideLayouts/slideLayout232.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theme" Target="../theme/theme5.xml"/><Relationship Id="rId10" Type="http://schemas.openxmlformats.org/officeDocument/2006/relationships/slideLayout" Target="../slideLayouts/slideLayout237.xml"/><Relationship Id="rId19" Type="http://schemas.openxmlformats.org/officeDocument/2006/relationships/slideLayout" Target="../slideLayouts/slideLayout246.xml"/><Relationship Id="rId31" Type="http://schemas.openxmlformats.org/officeDocument/2006/relationships/image" Target="../media/image51.emf"/><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oleObject" Target="../embeddings/oleObject26.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slideLayout" Target="../slideLayouts/slideLayout280.xml"/><Relationship Id="rId3" Type="http://schemas.openxmlformats.org/officeDocument/2006/relationships/slideLayout" Target="../slideLayouts/slideLayout257.xml"/><Relationship Id="rId21" Type="http://schemas.openxmlformats.org/officeDocument/2006/relationships/slideLayout" Target="../slideLayouts/slideLayout275.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29" Type="http://schemas.openxmlformats.org/officeDocument/2006/relationships/theme" Target="../theme/theme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image" Target="../media/image51.emf"/><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slideLayout" Target="../slideLayouts/slideLayout282.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oleObject" Target="../embeddings/oleObject27.bin"/><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slideLayout" Target="../slideLayouts/slideLayout281.xml"/><Relationship Id="rId30" Type="http://schemas.openxmlformats.org/officeDocument/2006/relationships/tags" Target="../tags/tag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90.xml"/><Relationship Id="rId3" Type="http://schemas.openxmlformats.org/officeDocument/2006/relationships/slideLayout" Target="../slideLayouts/slideLayout285.xml"/><Relationship Id="rId7" Type="http://schemas.openxmlformats.org/officeDocument/2006/relationships/slideLayout" Target="../slideLayouts/slideLayout289.xml"/><Relationship Id="rId12" Type="http://schemas.openxmlformats.org/officeDocument/2006/relationships/theme" Target="../theme/theme7.xml"/><Relationship Id="rId2" Type="http://schemas.openxmlformats.org/officeDocument/2006/relationships/slideLayout" Target="../slideLayouts/slideLayout284.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5" Type="http://schemas.openxmlformats.org/officeDocument/2006/relationships/slideLayout" Target="../slideLayouts/slideLayout287.xml"/><Relationship Id="rId10" Type="http://schemas.openxmlformats.org/officeDocument/2006/relationships/slideLayout" Target="../slideLayouts/slideLayout292.xml"/><Relationship Id="rId4" Type="http://schemas.openxmlformats.org/officeDocument/2006/relationships/slideLayout" Target="../slideLayouts/slideLayout286.xml"/><Relationship Id="rId9" Type="http://schemas.openxmlformats.org/officeDocument/2006/relationships/slideLayout" Target="../slideLayouts/slideLayout291.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9" Type="http://schemas.openxmlformats.org/officeDocument/2006/relationships/slideLayout" Target="../slideLayouts/slideLayout332.xml"/><Relationship Id="rId21" Type="http://schemas.openxmlformats.org/officeDocument/2006/relationships/slideLayout" Target="../slideLayouts/slideLayout314.xml"/><Relationship Id="rId34" Type="http://schemas.openxmlformats.org/officeDocument/2006/relationships/slideLayout" Target="../slideLayouts/slideLayout327.xml"/><Relationship Id="rId42" Type="http://schemas.openxmlformats.org/officeDocument/2006/relationships/slideLayout" Target="../slideLayouts/slideLayout335.xml"/><Relationship Id="rId47" Type="http://schemas.openxmlformats.org/officeDocument/2006/relationships/slideLayout" Target="../slideLayouts/slideLayout340.xml"/><Relationship Id="rId50" Type="http://schemas.openxmlformats.org/officeDocument/2006/relationships/slideLayout" Target="../slideLayouts/slideLayout343.xml"/><Relationship Id="rId55" Type="http://schemas.openxmlformats.org/officeDocument/2006/relationships/slideLayout" Target="../slideLayouts/slideLayout348.xml"/><Relationship Id="rId63" Type="http://schemas.openxmlformats.org/officeDocument/2006/relationships/slideLayout" Target="../slideLayouts/slideLayout356.xml"/><Relationship Id="rId7" Type="http://schemas.openxmlformats.org/officeDocument/2006/relationships/slideLayout" Target="../slideLayouts/slideLayout30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41" Type="http://schemas.openxmlformats.org/officeDocument/2006/relationships/slideLayout" Target="../slideLayouts/slideLayout334.xml"/><Relationship Id="rId54" Type="http://schemas.openxmlformats.org/officeDocument/2006/relationships/slideLayout" Target="../slideLayouts/slideLayout347.xml"/><Relationship Id="rId62" Type="http://schemas.openxmlformats.org/officeDocument/2006/relationships/slideLayout" Target="../slideLayouts/slideLayout35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32" Type="http://schemas.openxmlformats.org/officeDocument/2006/relationships/slideLayout" Target="../slideLayouts/slideLayout325.xml"/><Relationship Id="rId37" Type="http://schemas.openxmlformats.org/officeDocument/2006/relationships/slideLayout" Target="../slideLayouts/slideLayout330.xml"/><Relationship Id="rId40" Type="http://schemas.openxmlformats.org/officeDocument/2006/relationships/slideLayout" Target="../slideLayouts/slideLayout333.xml"/><Relationship Id="rId45" Type="http://schemas.openxmlformats.org/officeDocument/2006/relationships/slideLayout" Target="../slideLayouts/slideLayout338.xml"/><Relationship Id="rId53" Type="http://schemas.openxmlformats.org/officeDocument/2006/relationships/slideLayout" Target="../slideLayouts/slideLayout346.xml"/><Relationship Id="rId58" Type="http://schemas.openxmlformats.org/officeDocument/2006/relationships/slideLayout" Target="../slideLayouts/slideLayout351.xml"/><Relationship Id="rId66" Type="http://schemas.openxmlformats.org/officeDocument/2006/relationships/theme" Target="../theme/theme8.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36" Type="http://schemas.openxmlformats.org/officeDocument/2006/relationships/slideLayout" Target="../slideLayouts/slideLayout329.xml"/><Relationship Id="rId49" Type="http://schemas.openxmlformats.org/officeDocument/2006/relationships/slideLayout" Target="../slideLayouts/slideLayout342.xml"/><Relationship Id="rId57" Type="http://schemas.openxmlformats.org/officeDocument/2006/relationships/slideLayout" Target="../slideLayouts/slideLayout350.xml"/><Relationship Id="rId61" Type="http://schemas.openxmlformats.org/officeDocument/2006/relationships/slideLayout" Target="../slideLayouts/slideLayout354.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slideLayout" Target="../slideLayouts/slideLayout324.xml"/><Relationship Id="rId44" Type="http://schemas.openxmlformats.org/officeDocument/2006/relationships/slideLayout" Target="../slideLayouts/slideLayout337.xml"/><Relationship Id="rId52" Type="http://schemas.openxmlformats.org/officeDocument/2006/relationships/slideLayout" Target="../slideLayouts/slideLayout345.xml"/><Relationship Id="rId60" Type="http://schemas.openxmlformats.org/officeDocument/2006/relationships/slideLayout" Target="../slideLayouts/slideLayout353.xml"/><Relationship Id="rId65" Type="http://schemas.openxmlformats.org/officeDocument/2006/relationships/slideLayout" Target="../slideLayouts/slideLayout358.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slideLayout" Target="../slideLayouts/slideLayout323.xml"/><Relationship Id="rId35" Type="http://schemas.openxmlformats.org/officeDocument/2006/relationships/slideLayout" Target="../slideLayouts/slideLayout328.xml"/><Relationship Id="rId43" Type="http://schemas.openxmlformats.org/officeDocument/2006/relationships/slideLayout" Target="../slideLayouts/slideLayout336.xml"/><Relationship Id="rId48" Type="http://schemas.openxmlformats.org/officeDocument/2006/relationships/slideLayout" Target="../slideLayouts/slideLayout341.xml"/><Relationship Id="rId56" Type="http://schemas.openxmlformats.org/officeDocument/2006/relationships/slideLayout" Target="../slideLayouts/slideLayout349.xml"/><Relationship Id="rId64" Type="http://schemas.openxmlformats.org/officeDocument/2006/relationships/slideLayout" Target="../slideLayouts/slideLayout357.xml"/><Relationship Id="rId8" Type="http://schemas.openxmlformats.org/officeDocument/2006/relationships/slideLayout" Target="../slideLayouts/slideLayout301.xml"/><Relationship Id="rId51" Type="http://schemas.openxmlformats.org/officeDocument/2006/relationships/slideLayout" Target="../slideLayouts/slideLayout344.xml"/><Relationship Id="rId3" Type="http://schemas.openxmlformats.org/officeDocument/2006/relationships/slideLayout" Target="../slideLayouts/slideLayout296.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33" Type="http://schemas.openxmlformats.org/officeDocument/2006/relationships/slideLayout" Target="../slideLayouts/slideLayout326.xml"/><Relationship Id="rId38" Type="http://schemas.openxmlformats.org/officeDocument/2006/relationships/slideLayout" Target="../slideLayouts/slideLayout331.xml"/><Relationship Id="rId46" Type="http://schemas.openxmlformats.org/officeDocument/2006/relationships/slideLayout" Target="../slideLayouts/slideLayout339.xml"/><Relationship Id="rId59" Type="http://schemas.openxmlformats.org/officeDocument/2006/relationships/slideLayout" Target="../slideLayouts/slideLayout3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theme" Target="../theme/theme9.xml"/><Relationship Id="rId3" Type="http://schemas.openxmlformats.org/officeDocument/2006/relationships/slideLayout" Target="../slideLayouts/slideLayout361.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2" Type="http://schemas.openxmlformats.org/officeDocument/2006/relationships/slideLayout" Target="../slideLayouts/slideLayout360.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5" Type="http://schemas.openxmlformats.org/officeDocument/2006/relationships/slideLayout" Target="../slideLayouts/slideLayout363.xml"/><Relationship Id="rId10" Type="http://schemas.openxmlformats.org/officeDocument/2006/relationships/slideLayout" Target="../slideLayouts/slideLayout368.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image" Target="../media/image6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VB 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9157424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8599944" y="6400800"/>
            <a:ext cx="1257300" cy="457200"/>
          </a:xfrm>
          <a:custGeom>
            <a:avLst/>
            <a:gdLst/>
            <a:ahLst/>
            <a:cxnLst/>
            <a:rect l="l" t="t" r="r" b="b"/>
            <a:pathLst>
              <a:path w="1257300" h="457200">
                <a:moveTo>
                  <a:pt x="1257300" y="0"/>
                </a:moveTo>
                <a:lnTo>
                  <a:pt x="0" y="0"/>
                </a:lnTo>
                <a:lnTo>
                  <a:pt x="0" y="457200"/>
                </a:lnTo>
                <a:lnTo>
                  <a:pt x="1257300" y="457200"/>
                </a:lnTo>
                <a:lnTo>
                  <a:pt x="1257300" y="0"/>
                </a:lnTo>
                <a:close/>
              </a:path>
            </a:pathLst>
          </a:custGeom>
          <a:solidFill>
            <a:srgbClr val="F4ECE7"/>
          </a:solidFill>
        </p:spPr>
        <p:txBody>
          <a:bodyPr wrap="square" lIns="0" tIns="0" rIns="0" bIns="0" rtlCol="0"/>
          <a:lstStyle/>
          <a:p>
            <a:endParaRPr sz="1800"/>
          </a:p>
        </p:txBody>
      </p:sp>
      <p:sp>
        <p:nvSpPr>
          <p:cNvPr id="17" name="bg object 17"/>
          <p:cNvSpPr/>
          <p:nvPr/>
        </p:nvSpPr>
        <p:spPr>
          <a:xfrm>
            <a:off x="9947414" y="6400800"/>
            <a:ext cx="1355725" cy="457200"/>
          </a:xfrm>
          <a:custGeom>
            <a:avLst/>
            <a:gdLst/>
            <a:ahLst/>
            <a:cxnLst/>
            <a:rect l="l" t="t" r="r" b="b"/>
            <a:pathLst>
              <a:path w="1355725" h="457200">
                <a:moveTo>
                  <a:pt x="1355585" y="0"/>
                </a:moveTo>
                <a:lnTo>
                  <a:pt x="0" y="0"/>
                </a:lnTo>
                <a:lnTo>
                  <a:pt x="0" y="457200"/>
                </a:lnTo>
                <a:lnTo>
                  <a:pt x="1355585" y="457200"/>
                </a:lnTo>
                <a:lnTo>
                  <a:pt x="1355585" y="0"/>
                </a:lnTo>
                <a:close/>
              </a:path>
            </a:pathLst>
          </a:custGeom>
          <a:solidFill>
            <a:srgbClr val="F4ECE7"/>
          </a:solidFill>
        </p:spPr>
        <p:txBody>
          <a:bodyPr wrap="square" lIns="0" tIns="0" rIns="0" bIns="0" rtlCol="0"/>
          <a:lstStyle/>
          <a:p>
            <a:endParaRPr sz="1800"/>
          </a:p>
        </p:txBody>
      </p:sp>
      <p:sp>
        <p:nvSpPr>
          <p:cNvPr id="18" name="bg object 18"/>
          <p:cNvSpPr/>
          <p:nvPr/>
        </p:nvSpPr>
        <p:spPr>
          <a:xfrm>
            <a:off x="11391874" y="6400800"/>
            <a:ext cx="457200" cy="457200"/>
          </a:xfrm>
          <a:custGeom>
            <a:avLst/>
            <a:gdLst/>
            <a:ahLst/>
            <a:cxnLst/>
            <a:rect l="l" t="t" r="r" b="b"/>
            <a:pathLst>
              <a:path w="457200" h="457200">
                <a:moveTo>
                  <a:pt x="457200" y="0"/>
                </a:moveTo>
                <a:lnTo>
                  <a:pt x="0" y="0"/>
                </a:lnTo>
                <a:lnTo>
                  <a:pt x="0" y="457200"/>
                </a:lnTo>
                <a:lnTo>
                  <a:pt x="457200" y="457200"/>
                </a:lnTo>
                <a:lnTo>
                  <a:pt x="457200" y="0"/>
                </a:lnTo>
                <a:close/>
              </a:path>
            </a:pathLst>
          </a:custGeom>
          <a:solidFill>
            <a:srgbClr val="F4ECE7"/>
          </a:solidFill>
        </p:spPr>
        <p:txBody>
          <a:bodyPr wrap="square" lIns="0" tIns="0" rIns="0" bIns="0" rtlCol="0"/>
          <a:lstStyle/>
          <a:p>
            <a:endParaRPr sz="1800"/>
          </a:p>
        </p:txBody>
      </p:sp>
      <p:pic>
        <p:nvPicPr>
          <p:cNvPr id="19" name="bg object 19"/>
          <p:cNvPicPr/>
          <p:nvPr/>
        </p:nvPicPr>
        <p:blipFill>
          <a:blip r:embed="rId12" cstate="print"/>
          <a:stretch>
            <a:fillRect/>
          </a:stretch>
        </p:blipFill>
        <p:spPr>
          <a:xfrm>
            <a:off x="8881999" y="6509245"/>
            <a:ext cx="693191" cy="265718"/>
          </a:xfrm>
          <a:prstGeom prst="rect">
            <a:avLst/>
          </a:prstGeom>
        </p:spPr>
      </p:pic>
      <p:pic>
        <p:nvPicPr>
          <p:cNvPr id="20" name="bg object 20"/>
          <p:cNvPicPr/>
          <p:nvPr/>
        </p:nvPicPr>
        <p:blipFill>
          <a:blip r:embed="rId13" cstate="print"/>
          <a:stretch>
            <a:fillRect/>
          </a:stretch>
        </p:blipFill>
        <p:spPr>
          <a:xfrm>
            <a:off x="10124368" y="6491087"/>
            <a:ext cx="1001677" cy="306585"/>
          </a:xfrm>
          <a:prstGeom prst="rect">
            <a:avLst/>
          </a:prstGeom>
        </p:spPr>
      </p:pic>
      <p:sp>
        <p:nvSpPr>
          <p:cNvPr id="2" name="Holder 2"/>
          <p:cNvSpPr>
            <a:spLocks noGrp="1"/>
          </p:cNvSpPr>
          <p:nvPr>
            <p:ph type="title"/>
          </p:nvPr>
        </p:nvSpPr>
        <p:spPr>
          <a:xfrm>
            <a:off x="330338" y="344177"/>
            <a:ext cx="11518735" cy="738664"/>
          </a:xfrm>
          <a:prstGeom prst="rect">
            <a:avLst/>
          </a:prstGeom>
        </p:spPr>
        <p:txBody>
          <a:bodyPr wrap="square" lIns="91440" tIns="91440" rIns="182880" bIns="91440" anchor="ctr" anchorCtr="0">
            <a:spAutoFit/>
          </a:bodyPr>
          <a:lstStyle>
            <a:lvl1pPr>
              <a:defRPr sz="3600" b="1" i="0">
                <a:solidFill>
                  <a:schemeClr val="bg1"/>
                </a:solidFill>
                <a:latin typeface="Open Sans"/>
                <a:cs typeface="Open Sans"/>
              </a:defRPr>
            </a:lvl1pPr>
          </a:lstStyle>
          <a:p>
            <a:endParaRPr/>
          </a:p>
        </p:txBody>
      </p:sp>
      <p:sp>
        <p:nvSpPr>
          <p:cNvPr id="3" name="Holder 3"/>
          <p:cNvSpPr>
            <a:spLocks noGrp="1"/>
          </p:cNvSpPr>
          <p:nvPr>
            <p:ph type="body" idx="1"/>
          </p:nvPr>
        </p:nvSpPr>
        <p:spPr>
          <a:xfrm>
            <a:off x="330338" y="1600200"/>
            <a:ext cx="11518735" cy="276999"/>
          </a:xfrm>
          <a:prstGeom prst="rect">
            <a:avLst/>
          </a:prstGeom>
        </p:spPr>
        <p:txBody>
          <a:bodyPr wrap="square" lIns="0" tIns="0" rIns="0" bIns="0">
            <a:spAutoFit/>
          </a:bodyPr>
          <a:lstStyle>
            <a:lvl1pPr>
              <a:defRPr/>
            </a:lvl1pPr>
          </a:lstStyle>
          <a:p>
            <a:endParaRPr/>
          </a:p>
        </p:txBody>
      </p:sp>
      <p:sp>
        <p:nvSpPr>
          <p:cNvPr id="6" name="Holder 6"/>
          <p:cNvSpPr>
            <a:spLocks noGrp="1"/>
          </p:cNvSpPr>
          <p:nvPr>
            <p:ph type="sldNum" sz="quarter" idx="7"/>
          </p:nvPr>
        </p:nvSpPr>
        <p:spPr>
          <a:xfrm>
            <a:off x="11391875" y="6573847"/>
            <a:ext cx="457200" cy="184666"/>
          </a:xfrm>
          <a:prstGeom prst="rect">
            <a:avLst/>
          </a:prstGeom>
        </p:spPr>
        <p:txBody>
          <a:bodyPr wrap="square" lIns="0" tIns="0" rIns="0" bIns="0" anchor="ctr" anchorCtr="0">
            <a:spAutoFit/>
          </a:bodyPr>
          <a:lstStyle>
            <a:lvl1pPr algn="ctr">
              <a:defRPr sz="1200" b="1" i="0">
                <a:solidFill>
                  <a:srgbClr val="182857"/>
                </a:solidFill>
                <a:latin typeface="+mn-lt"/>
                <a:cs typeface="Open Sans"/>
              </a:defRPr>
            </a:lvl1pPr>
          </a:lstStyle>
          <a:p>
            <a:pPr marL="38098">
              <a:spcBef>
                <a:spcPts val="180"/>
              </a:spcBef>
            </a:pPr>
            <a:fld id="{81D60167-4931-47E6-BA6A-407CBD079E47}" type="slidenum">
              <a:rPr lang="en-US" spc="-50" smtClean="0"/>
              <a:pPr marL="38098">
                <a:spcBef>
                  <a:spcPts val="180"/>
                </a:spcBef>
              </a:pPr>
              <a:t>‹#›</a:t>
            </a:fld>
            <a:endParaRPr lang="en-US" spc="-50"/>
          </a:p>
        </p:txBody>
      </p:sp>
    </p:spTree>
    <p:extLst>
      <p:ext uri="{BB962C8B-B14F-4D97-AF65-F5344CB8AC3E}">
        <p14:creationId xmlns:p14="http://schemas.microsoft.com/office/powerpoint/2010/main" val="3508744462"/>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Lst>
  <p:hf hdr="0" ftr="0" dt="0"/>
  <p:txStyles>
    <p:titleStyle>
      <a:lvl1pPr eaLnBrk="1" hangingPunct="1">
        <a:defRPr>
          <a:solidFill>
            <a:schemeClr val="tx1"/>
          </a:solidFill>
          <a:latin typeface="+mj-lt"/>
          <a:ea typeface="+mj-ea"/>
          <a:cs typeface="+mj-cs"/>
        </a:defRPr>
      </a:lvl1pPr>
    </p:titleStyle>
    <p:bodyStyle>
      <a:lvl1pPr marL="0" eaLnBrk="1" hangingPunct="1">
        <a:defRPr>
          <a:latin typeface="+mn-lt"/>
          <a:ea typeface="+mn-ea"/>
          <a:cs typeface="+mn-cs"/>
        </a:defRPr>
      </a:lvl1pPr>
      <a:lvl2pPr marL="457179" eaLnBrk="1" hangingPunct="1">
        <a:defRPr>
          <a:latin typeface="+mn-lt"/>
          <a:ea typeface="+mn-ea"/>
          <a:cs typeface="+mn-cs"/>
        </a:defRPr>
      </a:lvl2pPr>
      <a:lvl3pPr marL="914358" eaLnBrk="1" hangingPunct="1">
        <a:defRPr>
          <a:latin typeface="+mn-lt"/>
          <a:ea typeface="+mn-ea"/>
          <a:cs typeface="+mn-cs"/>
        </a:defRPr>
      </a:lvl3pPr>
      <a:lvl4pPr marL="1371536" eaLnBrk="1" hangingPunct="1">
        <a:defRPr>
          <a:latin typeface="+mn-lt"/>
          <a:ea typeface="+mn-ea"/>
          <a:cs typeface="+mn-cs"/>
        </a:defRPr>
      </a:lvl4pPr>
      <a:lvl5pPr marL="1828715" eaLnBrk="1" hangingPunct="1">
        <a:defRPr>
          <a:latin typeface="+mn-lt"/>
          <a:ea typeface="+mn-ea"/>
          <a:cs typeface="+mn-cs"/>
        </a:defRPr>
      </a:lvl5pPr>
      <a:lvl6pPr marL="2285894" eaLnBrk="1" hangingPunct="1">
        <a:defRPr>
          <a:latin typeface="+mn-lt"/>
          <a:ea typeface="+mn-ea"/>
          <a:cs typeface="+mn-cs"/>
        </a:defRPr>
      </a:lvl6pPr>
      <a:lvl7pPr marL="2743073" eaLnBrk="1" hangingPunct="1">
        <a:defRPr>
          <a:latin typeface="+mn-lt"/>
          <a:ea typeface="+mn-ea"/>
          <a:cs typeface="+mn-cs"/>
        </a:defRPr>
      </a:lvl7pPr>
      <a:lvl8pPr marL="3200252" eaLnBrk="1" hangingPunct="1">
        <a:defRPr>
          <a:latin typeface="+mn-lt"/>
          <a:ea typeface="+mn-ea"/>
          <a:cs typeface="+mn-cs"/>
        </a:defRPr>
      </a:lvl8pPr>
      <a:lvl9pPr marL="3657430" eaLnBrk="1" hangingPunct="1">
        <a:defRPr>
          <a:latin typeface="+mn-lt"/>
          <a:ea typeface="+mn-ea"/>
          <a:cs typeface="+mn-cs"/>
        </a:defRPr>
      </a:lvl9pPr>
    </p:bodyStyle>
    <p:otherStyle>
      <a:lvl1pPr marL="0" eaLnBrk="1" hangingPunct="1">
        <a:defRPr>
          <a:latin typeface="+mn-lt"/>
          <a:ea typeface="+mn-ea"/>
          <a:cs typeface="+mn-cs"/>
        </a:defRPr>
      </a:lvl1pPr>
      <a:lvl2pPr marL="457179" eaLnBrk="1" hangingPunct="1">
        <a:defRPr>
          <a:latin typeface="+mn-lt"/>
          <a:ea typeface="+mn-ea"/>
          <a:cs typeface="+mn-cs"/>
        </a:defRPr>
      </a:lvl2pPr>
      <a:lvl3pPr marL="914358" eaLnBrk="1" hangingPunct="1">
        <a:defRPr>
          <a:latin typeface="+mn-lt"/>
          <a:ea typeface="+mn-ea"/>
          <a:cs typeface="+mn-cs"/>
        </a:defRPr>
      </a:lvl3pPr>
      <a:lvl4pPr marL="1371536" eaLnBrk="1" hangingPunct="1">
        <a:defRPr>
          <a:latin typeface="+mn-lt"/>
          <a:ea typeface="+mn-ea"/>
          <a:cs typeface="+mn-cs"/>
        </a:defRPr>
      </a:lvl4pPr>
      <a:lvl5pPr marL="1828715" eaLnBrk="1" hangingPunct="1">
        <a:defRPr>
          <a:latin typeface="+mn-lt"/>
          <a:ea typeface="+mn-ea"/>
          <a:cs typeface="+mn-cs"/>
        </a:defRPr>
      </a:lvl5pPr>
      <a:lvl6pPr marL="2285894" eaLnBrk="1" hangingPunct="1">
        <a:defRPr>
          <a:latin typeface="+mn-lt"/>
          <a:ea typeface="+mn-ea"/>
          <a:cs typeface="+mn-cs"/>
        </a:defRPr>
      </a:lvl6pPr>
      <a:lvl7pPr marL="2743073" eaLnBrk="1" hangingPunct="1">
        <a:defRPr>
          <a:latin typeface="+mn-lt"/>
          <a:ea typeface="+mn-ea"/>
          <a:cs typeface="+mn-cs"/>
        </a:defRPr>
      </a:lvl7pPr>
      <a:lvl8pPr marL="3200252" eaLnBrk="1" hangingPunct="1">
        <a:defRPr>
          <a:latin typeface="+mn-lt"/>
          <a:ea typeface="+mn-ea"/>
          <a:cs typeface="+mn-cs"/>
        </a:defRPr>
      </a:lvl8pPr>
      <a:lvl9pPr marL="3657430" eaLnBrk="1" hangingPunct="1">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9" y="537197"/>
            <a:ext cx="5693037" cy="414332"/>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4"/>
            <a:ext cx="10775825" cy="1564243"/>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VB 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04508666"/>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69" r:id="rId19"/>
    <p:sldLayoutId id="2147484070" r:id="rId20"/>
    <p:sldLayoutId id="2147484071" r:id="rId21"/>
    <p:sldLayoutId id="2147484072" r:id="rId22"/>
    <p:sldLayoutId id="2147484073" r:id="rId23"/>
    <p:sldLayoutId id="2147484074" r:id="rId24"/>
    <p:sldLayoutId id="2147484075" r:id="rId25"/>
    <p:sldLayoutId id="2147484076" r:id="rId26"/>
    <p:sldLayoutId id="2147484077" r:id="rId27"/>
    <p:sldLayoutId id="2147484078" r:id="rId28"/>
    <p:sldLayoutId id="2147484079" r:id="rId29"/>
    <p:sldLayoutId id="2147484080" r:id="rId30"/>
    <p:sldLayoutId id="2147484081" r:id="rId31"/>
    <p:sldLayoutId id="2147484082" r:id="rId32"/>
    <p:sldLayoutId id="2147484083" r:id="rId33"/>
    <p:sldLayoutId id="2147484084" r:id="rId34"/>
    <p:sldLayoutId id="2147484085" r:id="rId35"/>
    <p:sldLayoutId id="2147484086" r:id="rId36"/>
    <p:sldLayoutId id="2147484087" r:id="rId37"/>
    <p:sldLayoutId id="2147484088" r:id="rId38"/>
    <p:sldLayoutId id="2147484089" r:id="rId39"/>
    <p:sldLayoutId id="2147484090" r:id="rId40"/>
    <p:sldLayoutId id="2147484091" r:id="rId41"/>
    <p:sldLayoutId id="2147484092" r:id="rId42"/>
    <p:sldLayoutId id="2147484093" r:id="rId43"/>
    <p:sldLayoutId id="2147484094" r:id="rId44"/>
    <p:sldLayoutId id="2147484095" r:id="rId45"/>
    <p:sldLayoutId id="2147484096" r:id="rId46"/>
    <p:sldLayoutId id="2147484097" r:id="rId47"/>
    <p:sldLayoutId id="2147484098" r:id="rId48"/>
    <p:sldLayoutId id="2147484099" r:id="rId49"/>
    <p:sldLayoutId id="2147484100" r:id="rId50"/>
    <p:sldLayoutId id="2147484101" r:id="rId51"/>
    <p:sldLayoutId id="2147484102" r:id="rId52"/>
    <p:sldLayoutId id="2147484103" r:id="rId53"/>
    <p:sldLayoutId id="2147484104" r:id="rId54"/>
    <p:sldLayoutId id="2147484105" r:id="rId55"/>
    <p:sldLayoutId id="2147484106" r:id="rId56"/>
    <p:sldLayoutId id="2147484107" r:id="rId57"/>
    <p:sldLayoutId id="2147484108" r:id="rId58"/>
    <p:sldLayoutId id="2147484109" r:id="rId59"/>
    <p:sldLayoutId id="2147484110" r:id="rId60"/>
    <p:sldLayoutId id="2147484111" r:id="rId61"/>
    <p:sldLayoutId id="2147484112" r:id="rId62"/>
    <p:sldLayoutId id="2147484113" r:id="rId63"/>
    <p:sldLayoutId id="2147484114" r:id="rId64"/>
    <p:sldLayoutId id="2147484115" r:id="rId65"/>
    <p:sldLayoutId id="2147484116" r:id="rId66"/>
    <p:sldLayoutId id="2147484117" r:id="rId67"/>
    <p:sldLayoutId id="2147484118" r:id="rId68"/>
    <p:sldLayoutId id="2147484119" r:id="rId69"/>
    <p:sldLayoutId id="2147484120" r:id="rId70"/>
    <p:sldLayoutId id="2147484121" r:id="rId7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66"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66"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47" indent="-174635" algn="l" defTabSz="554466"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41" indent="-174635" algn="l" defTabSz="554466"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34" indent="-174635" algn="l" defTabSz="554466"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28" indent="-174635" algn="l" defTabSz="554466"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782" indent="-138616" algn="l" defTabSz="554466"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016" indent="-138616" algn="l" defTabSz="554466"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250" indent="-138616" algn="l" defTabSz="554466"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483" indent="-138616" algn="l" defTabSz="554466"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66" rtl="0" eaLnBrk="1" latinLnBrk="0" hangingPunct="1">
        <a:defRPr sz="1092" kern="1200">
          <a:solidFill>
            <a:schemeClr val="tx1"/>
          </a:solidFill>
          <a:latin typeface="+mn-lt"/>
          <a:ea typeface="+mn-ea"/>
          <a:cs typeface="+mn-cs"/>
        </a:defRPr>
      </a:lvl1pPr>
      <a:lvl2pPr marL="277233" algn="l" defTabSz="554466" rtl="0" eaLnBrk="1" latinLnBrk="0" hangingPunct="1">
        <a:defRPr sz="1092" kern="1200">
          <a:solidFill>
            <a:schemeClr val="tx1"/>
          </a:solidFill>
          <a:latin typeface="+mn-lt"/>
          <a:ea typeface="+mn-ea"/>
          <a:cs typeface="+mn-cs"/>
        </a:defRPr>
      </a:lvl2pPr>
      <a:lvl3pPr marL="554466" algn="l" defTabSz="554466" rtl="0" eaLnBrk="1" latinLnBrk="0" hangingPunct="1">
        <a:defRPr sz="1092" kern="1200">
          <a:solidFill>
            <a:schemeClr val="tx1"/>
          </a:solidFill>
          <a:latin typeface="+mn-lt"/>
          <a:ea typeface="+mn-ea"/>
          <a:cs typeface="+mn-cs"/>
        </a:defRPr>
      </a:lvl3pPr>
      <a:lvl4pPr marL="831699" algn="l" defTabSz="554466" rtl="0" eaLnBrk="1" latinLnBrk="0" hangingPunct="1">
        <a:defRPr sz="1092" kern="1200">
          <a:solidFill>
            <a:schemeClr val="tx1"/>
          </a:solidFill>
          <a:latin typeface="+mn-lt"/>
          <a:ea typeface="+mn-ea"/>
          <a:cs typeface="+mn-cs"/>
        </a:defRPr>
      </a:lvl4pPr>
      <a:lvl5pPr marL="1108933" algn="l" defTabSz="554466" rtl="0" eaLnBrk="1" latinLnBrk="0" hangingPunct="1">
        <a:defRPr sz="1092" kern="1200">
          <a:solidFill>
            <a:schemeClr val="tx1"/>
          </a:solidFill>
          <a:latin typeface="+mn-lt"/>
          <a:ea typeface="+mn-ea"/>
          <a:cs typeface="+mn-cs"/>
        </a:defRPr>
      </a:lvl5pPr>
      <a:lvl6pPr marL="1386166" algn="l" defTabSz="554466" rtl="0" eaLnBrk="1" latinLnBrk="0" hangingPunct="1">
        <a:defRPr sz="1092" kern="1200">
          <a:solidFill>
            <a:schemeClr val="tx1"/>
          </a:solidFill>
          <a:latin typeface="+mn-lt"/>
          <a:ea typeface="+mn-ea"/>
          <a:cs typeface="+mn-cs"/>
        </a:defRPr>
      </a:lvl6pPr>
      <a:lvl7pPr marL="1663399" algn="l" defTabSz="554466" rtl="0" eaLnBrk="1" latinLnBrk="0" hangingPunct="1">
        <a:defRPr sz="1092" kern="1200">
          <a:solidFill>
            <a:schemeClr val="tx1"/>
          </a:solidFill>
          <a:latin typeface="+mn-lt"/>
          <a:ea typeface="+mn-ea"/>
          <a:cs typeface="+mn-cs"/>
        </a:defRPr>
      </a:lvl7pPr>
      <a:lvl8pPr marL="1940633" algn="l" defTabSz="554466" rtl="0" eaLnBrk="1" latinLnBrk="0" hangingPunct="1">
        <a:defRPr sz="1092" kern="1200">
          <a:solidFill>
            <a:schemeClr val="tx1"/>
          </a:solidFill>
          <a:latin typeface="+mn-lt"/>
          <a:ea typeface="+mn-ea"/>
          <a:cs typeface="+mn-cs"/>
        </a:defRPr>
      </a:lvl8pPr>
      <a:lvl9pPr marL="2217866" algn="l" defTabSz="554466"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89102766"/>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 id="2147484134" r:id="rId12"/>
    <p:sldLayoutId id="2147484135" r:id="rId13"/>
    <p:sldLayoutId id="2147484136"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146" r:id="rId24"/>
    <p:sldLayoutId id="2147484147" r:id="rId25"/>
    <p:sldLayoutId id="2147484148" r:id="rId26"/>
    <p:sldLayoutId id="2147484149" r:id="rId27"/>
    <p:sldLayoutId id="2147484150" r:id="rId28"/>
    <p:sldLayoutId id="2147484151" r:id="rId29"/>
    <p:sldLayoutId id="2147484152" r:id="rId30"/>
    <p:sldLayoutId id="2147484153" r:id="rId31"/>
    <p:sldLayoutId id="2147484154" r:id="rId32"/>
    <p:sldLayoutId id="2147484155" r:id="rId33"/>
    <p:sldLayoutId id="2147484156" r:id="rId34"/>
    <p:sldLayoutId id="2147484157" r:id="rId35"/>
    <p:sldLayoutId id="2147484158" r:id="rId36"/>
    <p:sldLayoutId id="2147484159" r:id="rId37"/>
    <p:sldLayoutId id="2147484160" r:id="rId38"/>
    <p:sldLayoutId id="2147484161" r:id="rId39"/>
    <p:sldLayoutId id="2147484162" r:id="rId40"/>
    <p:sldLayoutId id="2147484163" r:id="rId41"/>
    <p:sldLayoutId id="2147484164" r:id="rId42"/>
    <p:sldLayoutId id="2147484165" r:id="rId43"/>
    <p:sldLayoutId id="2147484166" r:id="rId44"/>
    <p:sldLayoutId id="2147484167" r:id="rId45"/>
    <p:sldLayoutId id="2147484168" r:id="rId46"/>
    <p:sldLayoutId id="2147484169" r:id="rId47"/>
    <p:sldLayoutId id="2147484170" r:id="rId48"/>
    <p:sldLayoutId id="2147484171" r:id="rId49"/>
    <p:sldLayoutId id="2147484172" r:id="rId50"/>
    <p:sldLayoutId id="2147484173" r:id="rId51"/>
    <p:sldLayoutId id="2147484174" r:id="rId52"/>
    <p:sldLayoutId id="2147484175" r:id="rId53"/>
    <p:sldLayoutId id="2147484176" r:id="rId54"/>
    <p:sldLayoutId id="2147484177" r:id="rId55"/>
    <p:sldLayoutId id="2147484178" r:id="rId56"/>
    <p:sldLayoutId id="2147484179" r:id="rId57"/>
    <p:sldLayoutId id="2147484180"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30"/>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52" imgW="413" imgH="416" progId="TCLayout.ActiveDocument.1">
                  <p:embed/>
                </p:oleObj>
              </mc:Choice>
              <mc:Fallback>
                <p:oleObj name="think-cell Slide" r:id="rId5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3"/>
                      <a:stretch>
                        <a:fillRect/>
                      </a:stretch>
                    </p:blipFill>
                    <p:spPr>
                      <a:xfrm>
                        <a:off x="1588" y="1589"/>
                        <a:ext cx="1588" cy="1588"/>
                      </a:xfrm>
                      <a:prstGeom prst="rect">
                        <a:avLst/>
                      </a:prstGeom>
                    </p:spPr>
                  </p:pic>
                </p:oleObj>
              </mc:Fallback>
            </mc:AlternateContent>
          </a:graphicData>
        </a:graphic>
      </p:graphicFrame>
      <p:grpSp>
        <p:nvGrpSpPr>
          <p:cNvPr id="1061" name="Grid" hidden="1">
            <a:extLst>
              <a:ext uri="{FF2B5EF4-FFF2-40B4-BE49-F238E27FC236}">
                <a16:creationId xmlns:a16="http://schemas.microsoft.com/office/drawing/2014/main" id="{4D55E6BB-F368-A6D7-6EB9-629811C73AFC}"/>
              </a:ext>
            </a:extLst>
          </p:cNvPr>
          <p:cNvGrpSpPr/>
          <p:nvPr userDrawn="1"/>
        </p:nvGrpSpPr>
        <p:grpSpPr>
          <a:xfrm>
            <a:off x="0" y="0"/>
            <a:ext cx="12190476" cy="6858000"/>
            <a:chOff x="0" y="0"/>
            <a:chExt cx="12190476" cy="6858000"/>
          </a:xfrm>
        </p:grpSpPr>
        <p:sp>
          <p:nvSpPr>
            <p:cNvPr id="1062" name="Freeform: Shape 1061">
              <a:extLst>
                <a:ext uri="{FF2B5EF4-FFF2-40B4-BE49-F238E27FC236}">
                  <a16:creationId xmlns:a16="http://schemas.microsoft.com/office/drawing/2014/main" id="{1116FD7B-88CF-3CD4-3927-8D9BF27A5FC7}"/>
                </a:ext>
              </a:extLst>
            </p:cNvPr>
            <p:cNvSpPr>
              <a:spLocks/>
            </p:cNvSpPr>
            <p:nvPr/>
          </p:nvSpPr>
          <p:spPr bwMode="invGray">
            <a:xfrm>
              <a:off x="1524" y="0"/>
              <a:ext cx="12188952" cy="6858000"/>
            </a:xfrm>
            <a:custGeom>
              <a:avLst/>
              <a:gdLst>
                <a:gd name="connsiteX0" fmla="*/ 551868 w 12188952"/>
                <a:gd name="connsiteY0" fmla="*/ 1709928 h 6858000"/>
                <a:gd name="connsiteX1" fmla="*/ 551868 w 12188952"/>
                <a:gd name="connsiteY1" fmla="*/ 6062472 h 6858000"/>
                <a:gd name="connsiteX2" fmla="*/ 11636196 w 12188952"/>
                <a:gd name="connsiteY2" fmla="*/ 6062472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062472 h 6858000"/>
                <a:gd name="connsiteX7" fmla="*/ 12188952 w 12188952"/>
                <a:gd name="connsiteY7" fmla="*/ 6858000 h 6858000"/>
                <a:gd name="connsiteX8" fmla="*/ 0 w 12188952"/>
                <a:gd name="connsiteY8" fmla="*/ 6858000 h 6858000"/>
                <a:gd name="connsiteX9" fmla="*/ 0 w 12188952"/>
                <a:gd name="connsiteY9" fmla="*/ 60624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88952" h="6858000">
                  <a:moveTo>
                    <a:pt x="551868" y="1709928"/>
                  </a:moveTo>
                  <a:lnTo>
                    <a:pt x="551868" y="6062472"/>
                  </a:lnTo>
                  <a:lnTo>
                    <a:pt x="11636196" y="6062472"/>
                  </a:lnTo>
                  <a:lnTo>
                    <a:pt x="11636196" y="1709928"/>
                  </a:lnTo>
                  <a:close/>
                  <a:moveTo>
                    <a:pt x="0" y="0"/>
                  </a:moveTo>
                  <a:lnTo>
                    <a:pt x="12188952" y="0"/>
                  </a:lnTo>
                  <a:lnTo>
                    <a:pt x="12188952" y="6062472"/>
                  </a:lnTo>
                  <a:lnTo>
                    <a:pt x="12188952" y="6858000"/>
                  </a:lnTo>
                  <a:lnTo>
                    <a:pt x="0" y="6858000"/>
                  </a:lnTo>
                  <a:lnTo>
                    <a:pt x="0" y="6062472"/>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sz="1800">
                <a:solidFill>
                  <a:schemeClr val="tx1"/>
                </a:solidFill>
                <a:latin typeface="+mn-lt"/>
                <a:ea typeface="+mn-ea"/>
                <a:cs typeface="+mn-cs"/>
              </a:endParaRPr>
            </a:p>
          </p:txBody>
        </p:sp>
        <p:grpSp>
          <p:nvGrpSpPr>
            <p:cNvPr id="1063" name="Group 1062">
              <a:extLst>
                <a:ext uri="{FF2B5EF4-FFF2-40B4-BE49-F238E27FC236}">
                  <a16:creationId xmlns:a16="http://schemas.microsoft.com/office/drawing/2014/main" id="{6AA3AB75-1E31-F74B-69F6-90B8526BFA99}"/>
                </a:ext>
              </a:extLst>
            </p:cNvPr>
            <p:cNvGrpSpPr/>
            <p:nvPr/>
          </p:nvGrpSpPr>
          <p:grpSpPr>
            <a:xfrm>
              <a:off x="0" y="0"/>
              <a:ext cx="12188952" cy="6684264"/>
              <a:chOff x="0" y="0"/>
              <a:chExt cx="12188952" cy="6684264"/>
            </a:xfrm>
          </p:grpSpPr>
          <p:cxnSp>
            <p:nvCxnSpPr>
              <p:cNvPr id="1104" name="Straight Connector 1103">
                <a:extLst>
                  <a:ext uri="{FF2B5EF4-FFF2-40B4-BE49-F238E27FC236}">
                    <a16:creationId xmlns:a16="http://schemas.microsoft.com/office/drawing/2014/main" id="{98919064-A1F5-ADC3-FD0B-A5E5D60B7FD0}"/>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5" name="Straight Connector 1104">
                <a:extLst>
                  <a:ext uri="{FF2B5EF4-FFF2-40B4-BE49-F238E27FC236}">
                    <a16:creationId xmlns:a16="http://schemas.microsoft.com/office/drawing/2014/main" id="{E5359241-A763-D9CF-12E9-8A1E8EE69050}"/>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6" name="Straight Connector 1105">
                <a:extLst>
                  <a:ext uri="{FF2B5EF4-FFF2-40B4-BE49-F238E27FC236}">
                    <a16:creationId xmlns:a16="http://schemas.microsoft.com/office/drawing/2014/main" id="{BF3235D0-A131-F66F-B4C3-E419639B3F12}"/>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7" name="Straight Connector 1106">
                <a:extLst>
                  <a:ext uri="{FF2B5EF4-FFF2-40B4-BE49-F238E27FC236}">
                    <a16:creationId xmlns:a16="http://schemas.microsoft.com/office/drawing/2014/main" id="{64D292C2-A5D7-7C80-A60C-64FECDBDBDDB}"/>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8" name="Straight Connector 1107">
                <a:extLst>
                  <a:ext uri="{FF2B5EF4-FFF2-40B4-BE49-F238E27FC236}">
                    <a16:creationId xmlns:a16="http://schemas.microsoft.com/office/drawing/2014/main" id="{4E7B1CE0-442C-2520-6B7C-58E9BC74F7E0}"/>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9" name="Straight Connector 1108">
                <a:extLst>
                  <a:ext uri="{FF2B5EF4-FFF2-40B4-BE49-F238E27FC236}">
                    <a16:creationId xmlns:a16="http://schemas.microsoft.com/office/drawing/2014/main" id="{76D3CE7D-85AE-E2D1-4FBE-32DB2D51340B}"/>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0" name="Straight Connector 1109">
                <a:extLst>
                  <a:ext uri="{FF2B5EF4-FFF2-40B4-BE49-F238E27FC236}">
                    <a16:creationId xmlns:a16="http://schemas.microsoft.com/office/drawing/2014/main" id="{93B4DD76-430B-9080-2189-E56BD851C4A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1" name="Straight Connector 1110">
                <a:extLst>
                  <a:ext uri="{FF2B5EF4-FFF2-40B4-BE49-F238E27FC236}">
                    <a16:creationId xmlns:a16="http://schemas.microsoft.com/office/drawing/2014/main" id="{59A6BADB-9382-6980-565D-AABEB094977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2" name="Straight Connector 1111">
                <a:extLst>
                  <a:ext uri="{FF2B5EF4-FFF2-40B4-BE49-F238E27FC236}">
                    <a16:creationId xmlns:a16="http://schemas.microsoft.com/office/drawing/2014/main" id="{3DD7A837-69F3-3D53-027D-5178B54BB90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3" name="Straight Connector 1112">
                <a:extLst>
                  <a:ext uri="{FF2B5EF4-FFF2-40B4-BE49-F238E27FC236}">
                    <a16:creationId xmlns:a16="http://schemas.microsoft.com/office/drawing/2014/main" id="{F05C363B-4A20-737B-7FB9-C55C22CE23BC}"/>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4" name="Straight Connector 1113">
                <a:extLst>
                  <a:ext uri="{FF2B5EF4-FFF2-40B4-BE49-F238E27FC236}">
                    <a16:creationId xmlns:a16="http://schemas.microsoft.com/office/drawing/2014/main" id="{F7652C89-EBC0-733A-069D-8D8E70091D1C}"/>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5" name="Straight Connector 1114">
                <a:extLst>
                  <a:ext uri="{FF2B5EF4-FFF2-40B4-BE49-F238E27FC236}">
                    <a16:creationId xmlns:a16="http://schemas.microsoft.com/office/drawing/2014/main" id="{3C98E4C4-9EB3-2C92-A655-D98302D96F3F}"/>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6" name="Straight Connector 1115">
                <a:extLst>
                  <a:ext uri="{FF2B5EF4-FFF2-40B4-BE49-F238E27FC236}">
                    <a16:creationId xmlns:a16="http://schemas.microsoft.com/office/drawing/2014/main" id="{21CFD18E-4D44-12C8-85AB-F9D9A6A46BA8}"/>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7" name="Straight Connector 1116">
                <a:extLst>
                  <a:ext uri="{FF2B5EF4-FFF2-40B4-BE49-F238E27FC236}">
                    <a16:creationId xmlns:a16="http://schemas.microsoft.com/office/drawing/2014/main" id="{9F57D19E-A73A-6978-9696-994A58F4A5C3}"/>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8" name="Straight Connector 1117">
                <a:extLst>
                  <a:ext uri="{FF2B5EF4-FFF2-40B4-BE49-F238E27FC236}">
                    <a16:creationId xmlns:a16="http://schemas.microsoft.com/office/drawing/2014/main" id="{ED54820A-4B93-0A99-C309-043CDFB58917}"/>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9" name="Straight Connector 1118">
                <a:extLst>
                  <a:ext uri="{FF2B5EF4-FFF2-40B4-BE49-F238E27FC236}">
                    <a16:creationId xmlns:a16="http://schemas.microsoft.com/office/drawing/2014/main" id="{763FA378-CA3D-3E78-F38A-6FDC309F3042}"/>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0" name="Straight Connector 1119">
                <a:extLst>
                  <a:ext uri="{FF2B5EF4-FFF2-40B4-BE49-F238E27FC236}">
                    <a16:creationId xmlns:a16="http://schemas.microsoft.com/office/drawing/2014/main" id="{CAEC124F-A4AF-889F-101C-B9369A878649}"/>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CDEF959A-62D9-B129-4F71-6DF34B383B64}"/>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61688C35-8489-3E11-A875-20BEF06B0254}"/>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3" name="Straight Connector 1122">
                <a:extLst>
                  <a:ext uri="{FF2B5EF4-FFF2-40B4-BE49-F238E27FC236}">
                    <a16:creationId xmlns:a16="http://schemas.microsoft.com/office/drawing/2014/main" id="{FAB5388A-4A08-ABC1-7BA9-D7D0D9AE16A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4" name="Straight Connector 1123">
                <a:extLst>
                  <a:ext uri="{FF2B5EF4-FFF2-40B4-BE49-F238E27FC236}">
                    <a16:creationId xmlns:a16="http://schemas.microsoft.com/office/drawing/2014/main" id="{E47A8889-459D-303D-FC62-602329E6C95F}"/>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5" name="Straight Connector 1124">
                <a:extLst>
                  <a:ext uri="{FF2B5EF4-FFF2-40B4-BE49-F238E27FC236}">
                    <a16:creationId xmlns:a16="http://schemas.microsoft.com/office/drawing/2014/main" id="{E17CD526-A88D-2450-5E63-8C83D89C0B74}"/>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6" name="Straight Connector 1125">
                <a:extLst>
                  <a:ext uri="{FF2B5EF4-FFF2-40B4-BE49-F238E27FC236}">
                    <a16:creationId xmlns:a16="http://schemas.microsoft.com/office/drawing/2014/main" id="{D7FD5663-8014-8948-AC80-2815E329E6C4}"/>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7" name="Straight Connector 1126">
                <a:extLst>
                  <a:ext uri="{FF2B5EF4-FFF2-40B4-BE49-F238E27FC236}">
                    <a16:creationId xmlns:a16="http://schemas.microsoft.com/office/drawing/2014/main" id="{C8336B50-BEBE-C9DC-5096-FC2A96046478}"/>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8" name="Straight Connector 1127">
                <a:extLst>
                  <a:ext uri="{FF2B5EF4-FFF2-40B4-BE49-F238E27FC236}">
                    <a16:creationId xmlns:a16="http://schemas.microsoft.com/office/drawing/2014/main" id="{3BD54233-23E6-7FCC-F7FE-77131FD3E694}"/>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9" name="Straight Connector 1128">
                <a:extLst>
                  <a:ext uri="{FF2B5EF4-FFF2-40B4-BE49-F238E27FC236}">
                    <a16:creationId xmlns:a16="http://schemas.microsoft.com/office/drawing/2014/main" id="{35DECE7F-2188-1AC3-7AC9-DBAE89D664A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0" name="Straight Connector 1129">
                <a:extLst>
                  <a:ext uri="{FF2B5EF4-FFF2-40B4-BE49-F238E27FC236}">
                    <a16:creationId xmlns:a16="http://schemas.microsoft.com/office/drawing/2014/main" id="{2F6EFC7D-9B95-AF7E-F915-04CD51344662}"/>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1" name="Straight Connector 1130">
                <a:extLst>
                  <a:ext uri="{FF2B5EF4-FFF2-40B4-BE49-F238E27FC236}">
                    <a16:creationId xmlns:a16="http://schemas.microsoft.com/office/drawing/2014/main" id="{6B9CA575-F235-942D-9350-E34D32E59BFA}"/>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2" name="Straight Connector 1131">
                <a:extLst>
                  <a:ext uri="{FF2B5EF4-FFF2-40B4-BE49-F238E27FC236}">
                    <a16:creationId xmlns:a16="http://schemas.microsoft.com/office/drawing/2014/main" id="{845DEDFF-875A-B525-D2D9-A1093C37AF79}"/>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3" name="Straight Connector 1132">
                <a:extLst>
                  <a:ext uri="{FF2B5EF4-FFF2-40B4-BE49-F238E27FC236}">
                    <a16:creationId xmlns:a16="http://schemas.microsoft.com/office/drawing/2014/main" id="{99A91F1B-5B8D-BBB4-905F-A906DCECBCE6}"/>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4" name="Straight Connector 1133">
                <a:extLst>
                  <a:ext uri="{FF2B5EF4-FFF2-40B4-BE49-F238E27FC236}">
                    <a16:creationId xmlns:a16="http://schemas.microsoft.com/office/drawing/2014/main" id="{AD653E02-D4BC-B82B-A774-84C6E8FDC75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5" name="Straight Connector 1134">
                <a:extLst>
                  <a:ext uri="{FF2B5EF4-FFF2-40B4-BE49-F238E27FC236}">
                    <a16:creationId xmlns:a16="http://schemas.microsoft.com/office/drawing/2014/main" id="{40C06A65-DC14-B672-CA43-29C29582B717}"/>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6" name="Straight Connector 1135">
                <a:extLst>
                  <a:ext uri="{FF2B5EF4-FFF2-40B4-BE49-F238E27FC236}">
                    <a16:creationId xmlns:a16="http://schemas.microsoft.com/office/drawing/2014/main" id="{39825702-9109-5861-7E7C-06A73FB5DA3E}"/>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7" name="Straight Connector 1136">
                <a:extLst>
                  <a:ext uri="{FF2B5EF4-FFF2-40B4-BE49-F238E27FC236}">
                    <a16:creationId xmlns:a16="http://schemas.microsoft.com/office/drawing/2014/main" id="{4BEAF119-41D6-C94B-6DE8-25CC63DB18B8}"/>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8" name="Straight Connector 1137">
                <a:extLst>
                  <a:ext uri="{FF2B5EF4-FFF2-40B4-BE49-F238E27FC236}">
                    <a16:creationId xmlns:a16="http://schemas.microsoft.com/office/drawing/2014/main" id="{3ED701B8-D8A9-107B-07A8-6C2A81921E76}"/>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9" name="Straight Connector 1138">
                <a:extLst>
                  <a:ext uri="{FF2B5EF4-FFF2-40B4-BE49-F238E27FC236}">
                    <a16:creationId xmlns:a16="http://schemas.microsoft.com/office/drawing/2014/main" id="{E4D95940-E099-8142-EBE6-79EB6FAAC9CC}"/>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0" name="Straight Connector 1139">
                <a:extLst>
                  <a:ext uri="{FF2B5EF4-FFF2-40B4-BE49-F238E27FC236}">
                    <a16:creationId xmlns:a16="http://schemas.microsoft.com/office/drawing/2014/main" id="{4934BD80-097C-6E23-570F-97E5887A4677}"/>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1" name="Straight Connector 1140">
                <a:extLst>
                  <a:ext uri="{FF2B5EF4-FFF2-40B4-BE49-F238E27FC236}">
                    <a16:creationId xmlns:a16="http://schemas.microsoft.com/office/drawing/2014/main" id="{254424D9-6367-C56E-ED02-EBB05A304079}"/>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2" name="Straight Connector 1141">
                <a:extLst>
                  <a:ext uri="{FF2B5EF4-FFF2-40B4-BE49-F238E27FC236}">
                    <a16:creationId xmlns:a16="http://schemas.microsoft.com/office/drawing/2014/main" id="{E8172D26-F7A4-4F10-9BDC-923C14998A02}"/>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3" name="Straight Connector 1142">
                <a:extLst>
                  <a:ext uri="{FF2B5EF4-FFF2-40B4-BE49-F238E27FC236}">
                    <a16:creationId xmlns:a16="http://schemas.microsoft.com/office/drawing/2014/main" id="{DFDDEBF0-D3B7-2E23-6C7F-9194105DD7E8}"/>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4" name="Straight Connector 1143">
                <a:extLst>
                  <a:ext uri="{FF2B5EF4-FFF2-40B4-BE49-F238E27FC236}">
                    <a16:creationId xmlns:a16="http://schemas.microsoft.com/office/drawing/2014/main" id="{34D26FBA-6363-B704-468E-A79715DD2144}"/>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5" name="Straight Connector 1144">
                <a:extLst>
                  <a:ext uri="{FF2B5EF4-FFF2-40B4-BE49-F238E27FC236}">
                    <a16:creationId xmlns:a16="http://schemas.microsoft.com/office/drawing/2014/main" id="{3BE5285C-BF95-6E90-CEA2-093F90E3489E}"/>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6" name="Straight Connector 1145">
                <a:extLst>
                  <a:ext uri="{FF2B5EF4-FFF2-40B4-BE49-F238E27FC236}">
                    <a16:creationId xmlns:a16="http://schemas.microsoft.com/office/drawing/2014/main" id="{10586B99-6C4D-6DEB-23D8-F8B59470B801}"/>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7" name="Straight Connector 1146">
                <a:extLst>
                  <a:ext uri="{FF2B5EF4-FFF2-40B4-BE49-F238E27FC236}">
                    <a16:creationId xmlns:a16="http://schemas.microsoft.com/office/drawing/2014/main" id="{6861B897-3382-709E-C6B4-640E4CA75D61}"/>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grpSp>
        <p:cxnSp>
          <p:nvCxnSpPr>
            <p:cNvPr id="1064" name="Straight Connector 1063">
              <a:extLst>
                <a:ext uri="{FF2B5EF4-FFF2-40B4-BE49-F238E27FC236}">
                  <a16:creationId xmlns:a16="http://schemas.microsoft.com/office/drawing/2014/main" id="{1D0DD211-5140-E9BF-B126-82F6E29B4EFD}"/>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065" name="Straight Connector 1064">
              <a:extLst>
                <a:ext uri="{FF2B5EF4-FFF2-40B4-BE49-F238E27FC236}">
                  <a16:creationId xmlns:a16="http://schemas.microsoft.com/office/drawing/2014/main" id="{6B1CBCA7-A1FA-3F1D-C163-CCBDCA4B95C2}"/>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066" name="Straight Connector 1065">
              <a:extLst>
                <a:ext uri="{FF2B5EF4-FFF2-40B4-BE49-F238E27FC236}">
                  <a16:creationId xmlns:a16="http://schemas.microsoft.com/office/drawing/2014/main" id="{D11749DD-FBD3-C87E-7AC7-5D8F020D0916}"/>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AAF052DE-3E8F-0E21-8363-9E59C4DA87F1}"/>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068" name="Straight Connector 1067">
              <a:extLst>
                <a:ext uri="{FF2B5EF4-FFF2-40B4-BE49-F238E27FC236}">
                  <a16:creationId xmlns:a16="http://schemas.microsoft.com/office/drawing/2014/main" id="{EE7CEAEF-5360-C446-F79B-C679C081510D}"/>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069" name="Straight Connector 1068">
              <a:extLst>
                <a:ext uri="{FF2B5EF4-FFF2-40B4-BE49-F238E27FC236}">
                  <a16:creationId xmlns:a16="http://schemas.microsoft.com/office/drawing/2014/main" id="{8CAC8151-BDB6-9EEB-57BE-CD2898CE9E37}"/>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070" name="Straight Connector 1069">
              <a:extLst>
                <a:ext uri="{FF2B5EF4-FFF2-40B4-BE49-F238E27FC236}">
                  <a16:creationId xmlns:a16="http://schemas.microsoft.com/office/drawing/2014/main" id="{67115770-AFB8-4C3F-D3E0-2804E91A4A01}"/>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071" name="Straight Connector 1070">
              <a:extLst>
                <a:ext uri="{FF2B5EF4-FFF2-40B4-BE49-F238E27FC236}">
                  <a16:creationId xmlns:a16="http://schemas.microsoft.com/office/drawing/2014/main" id="{A6A377C5-1F12-F1D6-705A-B70978DE32BD}"/>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072" name="Straight Connector 1071">
              <a:extLst>
                <a:ext uri="{FF2B5EF4-FFF2-40B4-BE49-F238E27FC236}">
                  <a16:creationId xmlns:a16="http://schemas.microsoft.com/office/drawing/2014/main" id="{364EEF3F-66AA-857F-0234-DF9AE56D0CC7}"/>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073" name="Straight Connector 1072">
              <a:extLst>
                <a:ext uri="{FF2B5EF4-FFF2-40B4-BE49-F238E27FC236}">
                  <a16:creationId xmlns:a16="http://schemas.microsoft.com/office/drawing/2014/main" id="{1251A38B-5230-1DD4-E04D-7E86565AD097}"/>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074" name="Straight Connector 1073">
              <a:extLst>
                <a:ext uri="{FF2B5EF4-FFF2-40B4-BE49-F238E27FC236}">
                  <a16:creationId xmlns:a16="http://schemas.microsoft.com/office/drawing/2014/main" id="{45B29876-CDDA-1AA9-CDD3-577B126DDA32}"/>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075" name="Straight Connector 1074">
              <a:extLst>
                <a:ext uri="{FF2B5EF4-FFF2-40B4-BE49-F238E27FC236}">
                  <a16:creationId xmlns:a16="http://schemas.microsoft.com/office/drawing/2014/main" id="{45AC8E4B-904C-1045-21AF-0B69FB14F1D9}"/>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1076" name="Freeform: Shape 1075">
              <a:extLst>
                <a:ext uri="{FF2B5EF4-FFF2-40B4-BE49-F238E27FC236}">
                  <a16:creationId xmlns:a16="http://schemas.microsoft.com/office/drawing/2014/main" id="{3A2E7413-53A9-C209-5AFA-13616F489A01}"/>
                </a:ext>
              </a:extLst>
            </p:cNvPr>
            <p:cNvSpPr/>
            <p:nvPr/>
          </p:nvSpPr>
          <p:spPr bwMode="invGray">
            <a:xfrm>
              <a:off x="0"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77" name="Freeform: Shape 1076">
              <a:extLst>
                <a:ext uri="{FF2B5EF4-FFF2-40B4-BE49-F238E27FC236}">
                  <a16:creationId xmlns:a16="http://schemas.microsoft.com/office/drawing/2014/main" id="{0336660E-40C3-8651-6586-464224B12909}"/>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78" name="Freeform: Shape 1077">
              <a:extLst>
                <a:ext uri="{FF2B5EF4-FFF2-40B4-BE49-F238E27FC236}">
                  <a16:creationId xmlns:a16="http://schemas.microsoft.com/office/drawing/2014/main" id="{432E0E0F-08A6-AF7E-53EB-0FB3BBE9D3D3}"/>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79" name="Freeform: Shape 1078">
              <a:extLst>
                <a:ext uri="{FF2B5EF4-FFF2-40B4-BE49-F238E27FC236}">
                  <a16:creationId xmlns:a16="http://schemas.microsoft.com/office/drawing/2014/main" id="{7C634D03-8E5A-AC06-531D-C308220EAD7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80" name="Freeform: Shape 1079">
              <a:extLst>
                <a:ext uri="{FF2B5EF4-FFF2-40B4-BE49-F238E27FC236}">
                  <a16:creationId xmlns:a16="http://schemas.microsoft.com/office/drawing/2014/main" id="{0C78D789-AF74-2721-A83D-90437604EFE7}"/>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81" name="Freeform: Shape 1080">
              <a:extLst>
                <a:ext uri="{FF2B5EF4-FFF2-40B4-BE49-F238E27FC236}">
                  <a16:creationId xmlns:a16="http://schemas.microsoft.com/office/drawing/2014/main" id="{C741F8FA-99B0-9B3E-9810-4BE326B5890F}"/>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82" name="Freeform: Shape 1081">
              <a:extLst>
                <a:ext uri="{FF2B5EF4-FFF2-40B4-BE49-F238E27FC236}">
                  <a16:creationId xmlns:a16="http://schemas.microsoft.com/office/drawing/2014/main" id="{FB271C17-1D94-CA82-971B-2C8EF1AE3829}"/>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83" name="Freeform: Shape 1082">
              <a:extLst>
                <a:ext uri="{FF2B5EF4-FFF2-40B4-BE49-F238E27FC236}">
                  <a16:creationId xmlns:a16="http://schemas.microsoft.com/office/drawing/2014/main" id="{FECD812E-6B23-EE37-2B3E-7DE1D2DF708A}"/>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84" name="Freeform: Shape 1083">
              <a:extLst>
                <a:ext uri="{FF2B5EF4-FFF2-40B4-BE49-F238E27FC236}">
                  <a16:creationId xmlns:a16="http://schemas.microsoft.com/office/drawing/2014/main" id="{29552DBE-DBE9-63F2-307A-F08C8C364F5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85" name="Freeform: Shape 1084">
              <a:extLst>
                <a:ext uri="{FF2B5EF4-FFF2-40B4-BE49-F238E27FC236}">
                  <a16:creationId xmlns:a16="http://schemas.microsoft.com/office/drawing/2014/main" id="{9D43AE91-6C8A-8FC5-4DFB-9B0B5BAE0D2E}"/>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86" name="Freeform: Shape 1085">
              <a:extLst>
                <a:ext uri="{FF2B5EF4-FFF2-40B4-BE49-F238E27FC236}">
                  <a16:creationId xmlns:a16="http://schemas.microsoft.com/office/drawing/2014/main" id="{3D6C0A60-025A-497A-6C52-7A18B56AD755}"/>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87" name="Freeform: Shape 1086">
              <a:extLst>
                <a:ext uri="{FF2B5EF4-FFF2-40B4-BE49-F238E27FC236}">
                  <a16:creationId xmlns:a16="http://schemas.microsoft.com/office/drawing/2014/main" id="{C5D66E89-EE53-62FB-EA48-8C1FAF28E3D8}"/>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88" name="Freeform: Shape 1087">
              <a:extLst>
                <a:ext uri="{FF2B5EF4-FFF2-40B4-BE49-F238E27FC236}">
                  <a16:creationId xmlns:a16="http://schemas.microsoft.com/office/drawing/2014/main" id="{3594F737-A181-BB2D-C58B-329E71CB06F7}"/>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89" name="Freeform: Shape 1088">
              <a:extLst>
                <a:ext uri="{FF2B5EF4-FFF2-40B4-BE49-F238E27FC236}">
                  <a16:creationId xmlns:a16="http://schemas.microsoft.com/office/drawing/2014/main" id="{750D971E-BF79-F5A1-29D0-8A9AD8DEF748}"/>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90" name="Freeform: Shape 1089">
              <a:extLst>
                <a:ext uri="{FF2B5EF4-FFF2-40B4-BE49-F238E27FC236}">
                  <a16:creationId xmlns:a16="http://schemas.microsoft.com/office/drawing/2014/main" id="{23B4D2FF-C5F4-8384-CBCB-1A3126985599}"/>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91" name="Freeform: Shape 1090">
              <a:extLst>
                <a:ext uri="{FF2B5EF4-FFF2-40B4-BE49-F238E27FC236}">
                  <a16:creationId xmlns:a16="http://schemas.microsoft.com/office/drawing/2014/main" id="{10F6FB21-F438-227A-250D-613A2628E289}"/>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92" name="Freeform: Shape 1091">
              <a:extLst>
                <a:ext uri="{FF2B5EF4-FFF2-40B4-BE49-F238E27FC236}">
                  <a16:creationId xmlns:a16="http://schemas.microsoft.com/office/drawing/2014/main" id="{4E72D17A-9F63-1524-2798-E33C0D279C1A}"/>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93" name="Freeform: Shape 1092">
              <a:extLst>
                <a:ext uri="{FF2B5EF4-FFF2-40B4-BE49-F238E27FC236}">
                  <a16:creationId xmlns:a16="http://schemas.microsoft.com/office/drawing/2014/main" id="{639C1A60-C54D-877E-9E3A-CA0D61DF6130}"/>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94" name="Freeform: Shape 1093">
              <a:extLst>
                <a:ext uri="{FF2B5EF4-FFF2-40B4-BE49-F238E27FC236}">
                  <a16:creationId xmlns:a16="http://schemas.microsoft.com/office/drawing/2014/main" id="{F8F543E5-8D6D-043C-B9AE-1F2AB0BBC234}"/>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95" name="Freeform: Shape 1094">
              <a:extLst>
                <a:ext uri="{FF2B5EF4-FFF2-40B4-BE49-F238E27FC236}">
                  <a16:creationId xmlns:a16="http://schemas.microsoft.com/office/drawing/2014/main" id="{D0206D5D-A70A-DACC-43D8-5EEF393914D0}"/>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96" name="Freeform: Shape 1095">
              <a:extLst>
                <a:ext uri="{FF2B5EF4-FFF2-40B4-BE49-F238E27FC236}">
                  <a16:creationId xmlns:a16="http://schemas.microsoft.com/office/drawing/2014/main" id="{1B7CFB3A-0A91-BB24-27F3-34D94A0A8305}"/>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97" name="Freeform: Shape 1096">
              <a:extLst>
                <a:ext uri="{FF2B5EF4-FFF2-40B4-BE49-F238E27FC236}">
                  <a16:creationId xmlns:a16="http://schemas.microsoft.com/office/drawing/2014/main" id="{191B5981-2A48-1A4C-1C7B-975CE00C10D2}"/>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98" name="Freeform: Shape 1097">
              <a:extLst>
                <a:ext uri="{FF2B5EF4-FFF2-40B4-BE49-F238E27FC236}">
                  <a16:creationId xmlns:a16="http://schemas.microsoft.com/office/drawing/2014/main" id="{452A11B4-1177-D949-974A-D8F7CD334E30}"/>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099" name="Freeform: Shape 1098">
              <a:extLst>
                <a:ext uri="{FF2B5EF4-FFF2-40B4-BE49-F238E27FC236}">
                  <a16:creationId xmlns:a16="http://schemas.microsoft.com/office/drawing/2014/main" id="{D18B927F-1F9C-E45A-8832-70D9A0DCE258}"/>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100" name="Freeform: Shape 1099">
              <a:extLst>
                <a:ext uri="{FF2B5EF4-FFF2-40B4-BE49-F238E27FC236}">
                  <a16:creationId xmlns:a16="http://schemas.microsoft.com/office/drawing/2014/main" id="{77D0C277-20EB-CEEF-06A4-1D53CE135A82}"/>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1101" name="main body box">
              <a:extLst>
                <a:ext uri="{FF2B5EF4-FFF2-40B4-BE49-F238E27FC236}">
                  <a16:creationId xmlns:a16="http://schemas.microsoft.com/office/drawing/2014/main" id="{F86F4C97-2ABD-A651-1E21-D0168FD5C685}"/>
                </a:ext>
              </a:extLst>
            </p:cNvPr>
            <p:cNvSpPr/>
            <p:nvPr userDrawn="1"/>
          </p:nvSpPr>
          <p:spPr bwMode="invGray">
            <a:xfrm>
              <a:off x="554736" y="1709928"/>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a typeface="+mn-ea"/>
                <a:cs typeface="+mn-cs"/>
              </a:endParaRPr>
            </a:p>
          </p:txBody>
        </p:sp>
        <p:cxnSp>
          <p:nvCxnSpPr>
            <p:cNvPr id="1102" name="Straight Connector 1101">
              <a:extLst>
                <a:ext uri="{FF2B5EF4-FFF2-40B4-BE49-F238E27FC236}">
                  <a16:creationId xmlns:a16="http://schemas.microsoft.com/office/drawing/2014/main" id="{59F9088F-EE9C-D43A-7025-F11832CE97C0}"/>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103" name="Straight Connector 1102">
              <a:extLst>
                <a:ext uri="{FF2B5EF4-FFF2-40B4-BE49-F238E27FC236}">
                  <a16:creationId xmlns:a16="http://schemas.microsoft.com/office/drawing/2014/main" id="{03C1D4D8-64EC-40F2-6460-03AB5AD73E86}"/>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2" name="Rectangle 1" hidden="1">
            <a:extLst>
              <a:ext uri="{FF2B5EF4-FFF2-40B4-BE49-F238E27FC236}">
                <a16:creationId xmlns:a16="http://schemas.microsoft.com/office/drawing/2014/main" id="{15B28737-798E-48D4-BBDB-8EB35CB9FFFB}"/>
              </a:ext>
            </a:extLst>
          </p:cNvPr>
          <p:cNvSpPr/>
          <p:nvPr userDrawn="1">
            <p:custDataLst>
              <p:tags r:id="rId3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2"/>
            </p:custDataLst>
          </p:nvPr>
        </p:nvSpPr>
        <p:spPr>
          <a:xfrm>
            <a:off x="553972" y="6211726"/>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3"/>
            </p:custDataLst>
          </p:nvPr>
        </p:nvSpPr>
        <p:spPr>
          <a:xfrm>
            <a:off x="554738" y="291751"/>
            <a:ext cx="9729907" cy="492443"/>
          </a:xfrm>
          <a:prstGeom prst="rect">
            <a:avLst/>
          </a:prstGeom>
        </p:spPr>
        <p:txBody>
          <a:bodyPr vert="horz" wrap="square" lIns="0" tIns="0" rIns="0" bIns="0" rtlCol="0" anchor="ctr" anchorCtr="0">
            <a:sp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4464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4"/>
            </p:custDataLst>
          </p:nvPr>
        </p:nvSpPr>
        <p:spPr>
          <a:xfrm>
            <a:off x="5987739"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latin typeface="+mn-lt"/>
                <a:ea typeface="+mn-ea"/>
                <a:cs typeface="+mn-cs"/>
              </a:rPr>
              <a:t>Above Chart Exhibit Title</a:t>
            </a:r>
          </a:p>
          <a:p>
            <a:pPr lvl="0"/>
            <a:r>
              <a:rPr lang="en-US" sz="1600"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63688"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hidden="1">
            <a:extLst>
              <a:ext uri="{FF2B5EF4-FFF2-40B4-BE49-F238E27FC236}">
                <a16:creationId xmlns:a16="http://schemas.microsoft.com/office/drawing/2014/main" id="{E9C4C3DC-DB0A-9A0C-5B65-C9F82D4BCF3D}"/>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a:off x="152400" y="152400"/>
            <a:ext cx="12192000" cy="6858000"/>
          </a:xfrm>
          <a:prstGeom prst="rect">
            <a:avLst/>
          </a:prstGeom>
        </p:spPr>
      </p:pic>
      <p:grpSp>
        <p:nvGrpSpPr>
          <p:cNvPr id="6" name="LegendLines" hidden="1">
            <a:extLst>
              <a:ext uri="{FF2B5EF4-FFF2-40B4-BE49-F238E27FC236}">
                <a16:creationId xmlns:a16="http://schemas.microsoft.com/office/drawing/2014/main" id="{88AC02F7-FD31-9D86-9715-1CB16F81D113}"/>
              </a:ext>
            </a:extLst>
          </p:cNvPr>
          <p:cNvGrpSpPr/>
          <p:nvPr userDrawn="1"/>
        </p:nvGrpSpPr>
        <p:grpSpPr>
          <a:xfrm>
            <a:off x="10317304" y="3150225"/>
            <a:ext cx="1251160" cy="958287"/>
            <a:chOff x="10162879" y="3243772"/>
            <a:chExt cx="1251160" cy="958286"/>
          </a:xfrm>
        </p:grpSpPr>
        <p:sp>
          <p:nvSpPr>
            <p:cNvPr id="20" name="Legend1" hidden="1">
              <a:extLst>
                <a:ext uri="{FF2B5EF4-FFF2-40B4-BE49-F238E27FC236}">
                  <a16:creationId xmlns:a16="http://schemas.microsoft.com/office/drawing/2014/main" id="{5B0C8B91-CBB2-C351-EB3D-7A131D2B29B7}"/>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1" name="Legend2" hidden="1">
              <a:extLst>
                <a:ext uri="{FF2B5EF4-FFF2-40B4-BE49-F238E27FC236}">
                  <a16:creationId xmlns:a16="http://schemas.microsoft.com/office/drawing/2014/main" id="{8E21DE17-308C-F6CE-0614-192E70A64043}"/>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 name="Legend3" hidden="1">
              <a:extLst>
                <a:ext uri="{FF2B5EF4-FFF2-40B4-BE49-F238E27FC236}">
                  <a16:creationId xmlns:a16="http://schemas.microsoft.com/office/drawing/2014/main" id="{CEE51C9C-4EFC-7174-EDCD-41A336F9C415}"/>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3" name="LineLegend3" hidden="1">
              <a:extLst>
                <a:ext uri="{FF2B5EF4-FFF2-40B4-BE49-F238E27FC236}">
                  <a16:creationId xmlns:a16="http://schemas.microsoft.com/office/drawing/2014/main" id="{BB074686-1D92-9383-CE62-0DC30C3F720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sp>
          <p:nvSpPr>
            <p:cNvPr id="24" name="LineLegend2" hidden="1">
              <a:extLst>
                <a:ext uri="{FF2B5EF4-FFF2-40B4-BE49-F238E27FC236}">
                  <a16:creationId xmlns:a16="http://schemas.microsoft.com/office/drawing/2014/main" id="{409B5C22-705B-829F-95BF-48DE2769B65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sp>
          <p:nvSpPr>
            <p:cNvPr id="25" name="LineLegend1" hidden="1">
              <a:extLst>
                <a:ext uri="{FF2B5EF4-FFF2-40B4-BE49-F238E27FC236}">
                  <a16:creationId xmlns:a16="http://schemas.microsoft.com/office/drawing/2014/main" id="{ED615EE1-FEAE-BF25-EE33-D8B1FB66848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grpSp>
      <p:grpSp>
        <p:nvGrpSpPr>
          <p:cNvPr id="26" name="LegendMoons" hidden="1">
            <a:extLst>
              <a:ext uri="{FF2B5EF4-FFF2-40B4-BE49-F238E27FC236}">
                <a16:creationId xmlns:a16="http://schemas.microsoft.com/office/drawing/2014/main" id="{6C56B340-4734-992A-0596-1ADC43586C35}"/>
              </a:ext>
            </a:extLst>
          </p:cNvPr>
          <p:cNvGrpSpPr/>
          <p:nvPr userDrawn="1"/>
        </p:nvGrpSpPr>
        <p:grpSpPr>
          <a:xfrm>
            <a:off x="10688315" y="1145374"/>
            <a:ext cx="880149" cy="1731859"/>
            <a:chOff x="7723680" y="1702457"/>
            <a:chExt cx="880149" cy="1731859"/>
          </a:xfrm>
        </p:grpSpPr>
        <p:sp>
          <p:nvSpPr>
            <p:cNvPr id="27" name="Legend1" hidden="1">
              <a:extLst>
                <a:ext uri="{FF2B5EF4-FFF2-40B4-BE49-F238E27FC236}">
                  <a16:creationId xmlns:a16="http://schemas.microsoft.com/office/drawing/2014/main" id="{F080EB25-052C-31A7-ED4C-4E10216928A1}"/>
                </a:ext>
              </a:extLst>
            </p:cNvPr>
            <p:cNvSpPr txBox="1"/>
            <p:nvPr/>
          </p:nvSpPr>
          <p:spPr>
            <a:xfrm>
              <a:off x="8076312" y="1709816"/>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8" name="Legend2" hidden="1">
              <a:extLst>
                <a:ext uri="{FF2B5EF4-FFF2-40B4-BE49-F238E27FC236}">
                  <a16:creationId xmlns:a16="http://schemas.microsoft.com/office/drawing/2014/main" id="{3CD5E488-4DAC-605D-0F13-9035C86CFA9A}"/>
                </a:ext>
              </a:extLst>
            </p:cNvPr>
            <p:cNvSpPr txBox="1"/>
            <p:nvPr/>
          </p:nvSpPr>
          <p:spPr>
            <a:xfrm>
              <a:off x="8076312" y="2085275"/>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9" name="Legend3" hidden="1">
              <a:extLst>
                <a:ext uri="{FF2B5EF4-FFF2-40B4-BE49-F238E27FC236}">
                  <a16:creationId xmlns:a16="http://schemas.microsoft.com/office/drawing/2014/main" id="{157EB7EA-5D33-4C36-8EF8-DC93E8CC063B}"/>
                </a:ext>
              </a:extLst>
            </p:cNvPr>
            <p:cNvSpPr txBox="1"/>
            <p:nvPr/>
          </p:nvSpPr>
          <p:spPr>
            <a:xfrm>
              <a:off x="8076312" y="246073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30" name="Legend4" hidden="1">
              <a:extLst>
                <a:ext uri="{FF2B5EF4-FFF2-40B4-BE49-F238E27FC236}">
                  <a16:creationId xmlns:a16="http://schemas.microsoft.com/office/drawing/2014/main" id="{AE38CF87-732B-31C3-8D20-5A5F90554C14}"/>
                </a:ext>
              </a:extLst>
            </p:cNvPr>
            <p:cNvSpPr txBox="1"/>
            <p:nvPr/>
          </p:nvSpPr>
          <p:spPr>
            <a:xfrm>
              <a:off x="8076312" y="2836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31" name="Legend5" hidden="1">
              <a:extLst>
                <a:ext uri="{FF2B5EF4-FFF2-40B4-BE49-F238E27FC236}">
                  <a16:creationId xmlns:a16="http://schemas.microsoft.com/office/drawing/2014/main" id="{7D16C942-A2E3-B049-EB5D-F563DD85D400}"/>
                </a:ext>
              </a:extLst>
            </p:cNvPr>
            <p:cNvSpPr txBox="1"/>
            <p:nvPr/>
          </p:nvSpPr>
          <p:spPr>
            <a:xfrm>
              <a:off x="8076312" y="321165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grpSp>
          <p:nvGrpSpPr>
            <p:cNvPr id="32" name="MoonLegend1" hidden="1">
              <a:extLst>
                <a:ext uri="{FF2B5EF4-FFF2-40B4-BE49-F238E27FC236}">
                  <a16:creationId xmlns:a16="http://schemas.microsoft.com/office/drawing/2014/main" id="{68828B25-CDAC-B708-7C95-ED0494691A62}"/>
                </a:ext>
              </a:extLst>
            </p:cNvPr>
            <p:cNvGrpSpPr>
              <a:grpSpLocks noChangeAspect="1"/>
            </p:cNvGrpSpPr>
            <p:nvPr>
              <p:custDataLst>
                <p:tags r:id="rId37"/>
              </p:custDataLst>
            </p:nvPr>
          </p:nvGrpSpPr>
          <p:grpSpPr>
            <a:xfrm>
              <a:off x="7723680" y="1702457"/>
              <a:ext cx="228600" cy="228600"/>
              <a:chOff x="762000" y="1270000"/>
              <a:chExt cx="254000" cy="254000"/>
            </a:xfrm>
          </p:grpSpPr>
          <p:sp>
            <p:nvSpPr>
              <p:cNvPr id="45" name="Oval 44" hidden="1">
                <a:extLst>
                  <a:ext uri="{FF2B5EF4-FFF2-40B4-BE49-F238E27FC236}">
                    <a16:creationId xmlns:a16="http://schemas.microsoft.com/office/drawing/2014/main" id="{BCDDB89C-0FF2-A5DA-1A71-E1A821550525}"/>
                  </a:ext>
                </a:extLst>
              </p:cNvPr>
              <p:cNvSpPr/>
              <p:nvPr>
                <p:custDataLst>
                  <p:tags r:id="rId5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46" name="Arc 45" hidden="1">
                <a:extLst>
                  <a:ext uri="{FF2B5EF4-FFF2-40B4-BE49-F238E27FC236}">
                    <a16:creationId xmlns:a16="http://schemas.microsoft.com/office/drawing/2014/main" id="{3EACCF7D-090B-BD56-38AE-6FEB3499E422}"/>
                  </a:ext>
                </a:extLst>
              </p:cNvPr>
              <p:cNvSpPr/>
              <p:nvPr>
                <p:custDataLst>
                  <p:tags r:id="rId5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33" name="MoonLegend2" hidden="1">
              <a:extLst>
                <a:ext uri="{FF2B5EF4-FFF2-40B4-BE49-F238E27FC236}">
                  <a16:creationId xmlns:a16="http://schemas.microsoft.com/office/drawing/2014/main" id="{3EA34922-BC17-44AA-5618-67EC84DA5A7F}"/>
                </a:ext>
              </a:extLst>
            </p:cNvPr>
            <p:cNvGrpSpPr>
              <a:grpSpLocks noChangeAspect="1"/>
            </p:cNvGrpSpPr>
            <p:nvPr>
              <p:custDataLst>
                <p:tags r:id="rId38"/>
              </p:custDataLst>
            </p:nvPr>
          </p:nvGrpSpPr>
          <p:grpSpPr>
            <a:xfrm>
              <a:off x="7723680" y="2078270"/>
              <a:ext cx="228600" cy="228600"/>
              <a:chOff x="762000" y="1270000"/>
              <a:chExt cx="254000" cy="254000"/>
            </a:xfrm>
          </p:grpSpPr>
          <p:sp>
            <p:nvSpPr>
              <p:cNvPr id="43" name="Oval 42" hidden="1">
                <a:extLst>
                  <a:ext uri="{FF2B5EF4-FFF2-40B4-BE49-F238E27FC236}">
                    <a16:creationId xmlns:a16="http://schemas.microsoft.com/office/drawing/2014/main" id="{1FCE1059-11B3-C433-079C-F88A9504807E}"/>
                  </a:ext>
                </a:extLst>
              </p:cNvPr>
              <p:cNvSpPr/>
              <p:nvPr>
                <p:custDataLst>
                  <p:tags r:id="rId4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44" name="Arc 43" hidden="1">
                <a:extLst>
                  <a:ext uri="{FF2B5EF4-FFF2-40B4-BE49-F238E27FC236}">
                    <a16:creationId xmlns:a16="http://schemas.microsoft.com/office/drawing/2014/main" id="{56D6371A-B83B-3F3C-F241-769E62B0B089}"/>
                  </a:ext>
                </a:extLst>
              </p:cNvPr>
              <p:cNvSpPr/>
              <p:nvPr>
                <p:custDataLst>
                  <p:tags r:id="rId4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34" name="MoonLegend3" hidden="1">
              <a:extLst>
                <a:ext uri="{FF2B5EF4-FFF2-40B4-BE49-F238E27FC236}">
                  <a16:creationId xmlns:a16="http://schemas.microsoft.com/office/drawing/2014/main" id="{9A131296-6DED-11F5-D3F6-762DB553FC38}"/>
                </a:ext>
              </a:extLst>
            </p:cNvPr>
            <p:cNvGrpSpPr>
              <a:grpSpLocks noChangeAspect="1"/>
            </p:cNvGrpSpPr>
            <p:nvPr>
              <p:custDataLst>
                <p:tags r:id="rId39"/>
              </p:custDataLst>
            </p:nvPr>
          </p:nvGrpSpPr>
          <p:grpSpPr>
            <a:xfrm>
              <a:off x="7723680" y="2454085"/>
              <a:ext cx="228600" cy="228600"/>
              <a:chOff x="762000" y="1270000"/>
              <a:chExt cx="254000" cy="254000"/>
            </a:xfrm>
          </p:grpSpPr>
          <p:sp>
            <p:nvSpPr>
              <p:cNvPr id="41" name="Oval 40" hidden="1">
                <a:extLst>
                  <a:ext uri="{FF2B5EF4-FFF2-40B4-BE49-F238E27FC236}">
                    <a16:creationId xmlns:a16="http://schemas.microsoft.com/office/drawing/2014/main" id="{849BC5D2-2B1B-A6BC-FD42-DFF0EED388D1}"/>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42" name="Arc 41" hidden="1">
                <a:extLst>
                  <a:ext uri="{FF2B5EF4-FFF2-40B4-BE49-F238E27FC236}">
                    <a16:creationId xmlns:a16="http://schemas.microsoft.com/office/drawing/2014/main" id="{36DADF9E-4153-49EF-B1A9-6487F725D9E5}"/>
                  </a:ext>
                </a:extLst>
              </p:cNvPr>
              <p:cNvSpPr/>
              <p:nvPr>
                <p:custDataLst>
                  <p:tags r:id="rId4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35" name="MoonLegend4" hidden="1">
              <a:extLst>
                <a:ext uri="{FF2B5EF4-FFF2-40B4-BE49-F238E27FC236}">
                  <a16:creationId xmlns:a16="http://schemas.microsoft.com/office/drawing/2014/main" id="{7A8FF4C9-37AD-28D0-1DE1-12202B91B335}"/>
                </a:ext>
              </a:extLst>
            </p:cNvPr>
            <p:cNvGrpSpPr>
              <a:grpSpLocks noChangeAspect="1"/>
            </p:cNvGrpSpPr>
            <p:nvPr>
              <p:custDataLst>
                <p:tags r:id="rId40"/>
              </p:custDataLst>
            </p:nvPr>
          </p:nvGrpSpPr>
          <p:grpSpPr>
            <a:xfrm>
              <a:off x="7723680" y="2829900"/>
              <a:ext cx="228600" cy="228600"/>
              <a:chOff x="762000" y="1270000"/>
              <a:chExt cx="254000" cy="254000"/>
            </a:xfrm>
          </p:grpSpPr>
          <p:sp>
            <p:nvSpPr>
              <p:cNvPr id="39" name="Oval 38" hidden="1">
                <a:extLst>
                  <a:ext uri="{FF2B5EF4-FFF2-40B4-BE49-F238E27FC236}">
                    <a16:creationId xmlns:a16="http://schemas.microsoft.com/office/drawing/2014/main" id="{6A01C0F4-1CB2-FDE0-CCD5-71B42B991B47}"/>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40" name="Arc 39" hidden="1">
                <a:extLst>
                  <a:ext uri="{FF2B5EF4-FFF2-40B4-BE49-F238E27FC236}">
                    <a16:creationId xmlns:a16="http://schemas.microsoft.com/office/drawing/2014/main" id="{8702EB8E-1108-E378-ADA0-527FEDCE2B5B}"/>
                  </a:ext>
                </a:extLst>
              </p:cNvPr>
              <p:cNvSpPr/>
              <p:nvPr>
                <p:custDataLst>
                  <p:tags r:id="rId4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36" name="MoonLegend5" hidden="1">
              <a:extLst>
                <a:ext uri="{FF2B5EF4-FFF2-40B4-BE49-F238E27FC236}">
                  <a16:creationId xmlns:a16="http://schemas.microsoft.com/office/drawing/2014/main" id="{D035C0F0-D3B0-AABA-5195-E0ADA55E683D}"/>
                </a:ext>
              </a:extLst>
            </p:cNvPr>
            <p:cNvGrpSpPr>
              <a:grpSpLocks noChangeAspect="1"/>
            </p:cNvGrpSpPr>
            <p:nvPr>
              <p:custDataLst>
                <p:tags r:id="rId41"/>
              </p:custDataLst>
            </p:nvPr>
          </p:nvGrpSpPr>
          <p:grpSpPr>
            <a:xfrm>
              <a:off x="7723680" y="3205716"/>
              <a:ext cx="228600" cy="228600"/>
              <a:chOff x="762000" y="1270000"/>
              <a:chExt cx="254000" cy="254000"/>
            </a:xfrm>
          </p:grpSpPr>
          <p:sp>
            <p:nvSpPr>
              <p:cNvPr id="37" name="Oval 36" hidden="1">
                <a:extLst>
                  <a:ext uri="{FF2B5EF4-FFF2-40B4-BE49-F238E27FC236}">
                    <a16:creationId xmlns:a16="http://schemas.microsoft.com/office/drawing/2014/main" id="{633D6527-7F9D-24EE-E8C9-65F0C587A544}"/>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38" name="Arc 37" hidden="1">
                <a:extLst>
                  <a:ext uri="{FF2B5EF4-FFF2-40B4-BE49-F238E27FC236}">
                    <a16:creationId xmlns:a16="http://schemas.microsoft.com/office/drawing/2014/main" id="{36668FCA-833A-EAA2-CBD2-6BD71E6376F2}"/>
                  </a:ext>
                </a:extLst>
              </p:cNvPr>
              <p:cNvSpPr/>
              <p:nvPr>
                <p:custDataLst>
                  <p:tags r:id="rId4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grpSp>
        <p:nvGrpSpPr>
          <p:cNvPr id="47" name="LegendBoxes" hidden="1">
            <a:extLst>
              <a:ext uri="{FF2B5EF4-FFF2-40B4-BE49-F238E27FC236}">
                <a16:creationId xmlns:a16="http://schemas.microsoft.com/office/drawing/2014/main" id="{F91FCC21-BA18-2971-EE52-A3CF885DCBE6}"/>
              </a:ext>
            </a:extLst>
          </p:cNvPr>
          <p:cNvGrpSpPr/>
          <p:nvPr userDrawn="1"/>
        </p:nvGrpSpPr>
        <p:grpSpPr>
          <a:xfrm>
            <a:off x="10714793" y="4381501"/>
            <a:ext cx="853663" cy="1717282"/>
            <a:chOff x="10652400" y="4322824"/>
            <a:chExt cx="853663" cy="1717282"/>
          </a:xfrm>
        </p:grpSpPr>
        <p:sp>
          <p:nvSpPr>
            <p:cNvPr id="48" name="RectangleLegend1" hidden="1">
              <a:extLst>
                <a:ext uri="{FF2B5EF4-FFF2-40B4-BE49-F238E27FC236}">
                  <a16:creationId xmlns:a16="http://schemas.microsoft.com/office/drawing/2014/main" id="{38BCFDBC-007B-7352-6A2C-D2AADD166138}"/>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49" name="RectangleLegend2" hidden="1">
              <a:extLst>
                <a:ext uri="{FF2B5EF4-FFF2-40B4-BE49-F238E27FC236}">
                  <a16:creationId xmlns:a16="http://schemas.microsoft.com/office/drawing/2014/main" id="{BC58C2F3-9370-266B-599E-71E82FE468F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50" name="RectangleLegend3" hidden="1">
              <a:extLst>
                <a:ext uri="{FF2B5EF4-FFF2-40B4-BE49-F238E27FC236}">
                  <a16:creationId xmlns:a16="http://schemas.microsoft.com/office/drawing/2014/main" id="{A6775EF9-6334-4945-CE14-B925AB116A4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51" name="RectangleLegend4" hidden="1">
              <a:extLst>
                <a:ext uri="{FF2B5EF4-FFF2-40B4-BE49-F238E27FC236}">
                  <a16:creationId xmlns:a16="http://schemas.microsoft.com/office/drawing/2014/main" id="{EF85B2EB-2022-D80A-BB1F-B56EC323B573}"/>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52" name="RectangleLegend5" hidden="1">
              <a:extLst>
                <a:ext uri="{FF2B5EF4-FFF2-40B4-BE49-F238E27FC236}">
                  <a16:creationId xmlns:a16="http://schemas.microsoft.com/office/drawing/2014/main" id="{A4C0B336-12DE-2549-C571-552036E12296}"/>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53" name="Legend1" hidden="1">
              <a:extLst>
                <a:ext uri="{FF2B5EF4-FFF2-40B4-BE49-F238E27FC236}">
                  <a16:creationId xmlns:a16="http://schemas.microsoft.com/office/drawing/2014/main" id="{C05AC559-BCA0-B976-A574-FC5F7E197DCD}"/>
                </a:ext>
              </a:extLst>
            </p:cNvPr>
            <p:cNvSpPr txBox="1"/>
            <p:nvPr/>
          </p:nvSpPr>
          <p:spPr>
            <a:xfrm>
              <a:off x="1097854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54" name="Legend2" hidden="1">
              <a:extLst>
                <a:ext uri="{FF2B5EF4-FFF2-40B4-BE49-F238E27FC236}">
                  <a16:creationId xmlns:a16="http://schemas.microsoft.com/office/drawing/2014/main" id="{5580FBC6-95BB-FEC3-F614-FBC78E03C24C}"/>
                </a:ext>
              </a:extLst>
            </p:cNvPr>
            <p:cNvSpPr txBox="1"/>
            <p:nvPr/>
          </p:nvSpPr>
          <p:spPr>
            <a:xfrm>
              <a:off x="1097854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55" name="Legend3" hidden="1">
              <a:extLst>
                <a:ext uri="{FF2B5EF4-FFF2-40B4-BE49-F238E27FC236}">
                  <a16:creationId xmlns:a16="http://schemas.microsoft.com/office/drawing/2014/main" id="{75717BE8-E12C-C87D-05FF-27BD8107C468}"/>
                </a:ext>
              </a:extLst>
            </p:cNvPr>
            <p:cNvSpPr txBox="1"/>
            <p:nvPr/>
          </p:nvSpPr>
          <p:spPr>
            <a:xfrm>
              <a:off x="10978546" y="5081819"/>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56" name="Legend4" hidden="1">
              <a:extLst>
                <a:ext uri="{FF2B5EF4-FFF2-40B4-BE49-F238E27FC236}">
                  <a16:creationId xmlns:a16="http://schemas.microsoft.com/office/drawing/2014/main" id="{8B440681-813A-DA40-1CF7-D3A074591049}"/>
                </a:ext>
              </a:extLst>
            </p:cNvPr>
            <p:cNvSpPr txBox="1"/>
            <p:nvPr/>
          </p:nvSpPr>
          <p:spPr>
            <a:xfrm>
              <a:off x="1097854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58" name="Legend5" hidden="1">
              <a:extLst>
                <a:ext uri="{FF2B5EF4-FFF2-40B4-BE49-F238E27FC236}">
                  <a16:creationId xmlns:a16="http://schemas.microsoft.com/office/drawing/2014/main" id="{092DD91E-4371-C176-88A9-B6D997C75351}"/>
                </a:ext>
              </a:extLst>
            </p:cNvPr>
            <p:cNvSpPr txBox="1"/>
            <p:nvPr/>
          </p:nvSpPr>
          <p:spPr>
            <a:xfrm>
              <a:off x="1097854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grpSp>
      <p:pic>
        <p:nvPicPr>
          <p:cNvPr id="1026" name="Picture 2" descr="Home — Make Polio History">
            <a:extLst>
              <a:ext uri="{FF2B5EF4-FFF2-40B4-BE49-F238E27FC236}">
                <a16:creationId xmlns:a16="http://schemas.microsoft.com/office/drawing/2014/main" id="{2A13F6DB-A91F-1AF5-3BEB-50DA432241AB}"/>
              </a:ext>
            </a:extLst>
          </p:cNvPr>
          <p:cNvPicPr>
            <a:picLocks noChangeAspect="1" noChangeArrowheads="1"/>
          </p:cNvPicPr>
          <p:nvPr userDrawn="1"/>
        </p:nvPicPr>
        <p:blipFill>
          <a:blip r:embed="rId56" cstate="screen">
            <a:extLst>
              <a:ext uri="{28A0092B-C50C-407E-A947-70E740481C1C}">
                <a14:useLocalDpi xmlns:a14="http://schemas.microsoft.com/office/drawing/2010/main" val="0"/>
              </a:ext>
            </a:extLst>
          </a:blip>
          <a:srcRect/>
          <a:stretch>
            <a:fillRect/>
          </a:stretch>
        </p:blipFill>
        <p:spPr bwMode="ltGray">
          <a:xfrm>
            <a:off x="10349196" y="351259"/>
            <a:ext cx="1285592" cy="40526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Light">
            <a:extLst>
              <a:ext uri="{FF2B5EF4-FFF2-40B4-BE49-F238E27FC236}">
                <a16:creationId xmlns:a16="http://schemas.microsoft.com/office/drawing/2014/main" id="{CF0ED1E6-A4EE-5595-98C0-1A4167583748}"/>
              </a:ext>
            </a:extLst>
          </p:cNvPr>
          <p:cNvSpPr/>
          <p:nvPr userDrawn="1">
            <p:custDataLst>
              <p:tags r:id="rId35"/>
            </p:custDataLst>
          </p:nvPr>
        </p:nvSpPr>
        <p:spPr bwMode="ltGray">
          <a:xfrm>
            <a:off x="0" y="6624780"/>
            <a:ext cx="2643738" cy="23322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endParaRPr lang="en-US" sz="1800" noProof="0">
              <a:solidFill>
                <a:srgbClr val="F0F0F0"/>
              </a:solidFill>
              <a:latin typeface="+mn-lt"/>
              <a:ea typeface="+mn-ea"/>
              <a:cs typeface="+mn-cs"/>
            </a:endParaRPr>
          </a:p>
        </p:txBody>
      </p:sp>
      <p:sp>
        <p:nvSpPr>
          <p:cNvPr id="12" name="RectangleLight">
            <a:extLst>
              <a:ext uri="{FF2B5EF4-FFF2-40B4-BE49-F238E27FC236}">
                <a16:creationId xmlns:a16="http://schemas.microsoft.com/office/drawing/2014/main" id="{E031F062-9903-73CA-D75B-AD1FC41B05B8}"/>
              </a:ext>
            </a:extLst>
          </p:cNvPr>
          <p:cNvSpPr/>
          <p:nvPr userDrawn="1">
            <p:custDataLst>
              <p:tags r:id="rId36"/>
            </p:custDataLst>
          </p:nvPr>
        </p:nvSpPr>
        <p:spPr bwMode="ltGray">
          <a:xfrm>
            <a:off x="2705100" y="6624780"/>
            <a:ext cx="9486900" cy="23322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lvl="0" algn="ctr">
              <a:buClr>
                <a:schemeClr val="lt1"/>
              </a:buClr>
            </a:pPr>
            <a:endParaRPr lang="en-US" sz="1800" noProof="0">
              <a:latin typeface="+mn-lt"/>
              <a:ea typeface="+mn-ea"/>
              <a:cs typeface="+mn-cs"/>
            </a:endParaRPr>
          </a:p>
        </p:txBody>
      </p:sp>
    </p:spTree>
    <p:extLst>
      <p:ext uri="{BB962C8B-B14F-4D97-AF65-F5344CB8AC3E}">
        <p14:creationId xmlns:p14="http://schemas.microsoft.com/office/powerpoint/2010/main" val="1588271447"/>
      </p:ext>
    </p:extLst>
  </p:cSld>
  <p:clrMap bg1="lt1" tx1="dk1" bg2="lt2" tx2="dk2" accent1="accent1" accent2="accent2" accent3="accent3" accent4="accent4" accent5="accent5" accent6="accent6" hlink="hlink" folHlink="folHlink"/>
  <p:sldLayoutIdLst>
    <p:sldLayoutId id="2147484182" r:id="rId1"/>
    <p:sldLayoutId id="2147484183" r:id="rId2"/>
    <p:sldLayoutId id="2147484184" r:id="rId3"/>
    <p:sldLayoutId id="2147484185" r:id="rId4"/>
    <p:sldLayoutId id="2147484186" r:id="rId5"/>
    <p:sldLayoutId id="2147484187" r:id="rId6"/>
    <p:sldLayoutId id="2147484188" r:id="rId7"/>
    <p:sldLayoutId id="2147484189" r:id="rId8"/>
    <p:sldLayoutId id="2147484190" r:id="rId9"/>
    <p:sldLayoutId id="2147484191" r:id="rId10"/>
    <p:sldLayoutId id="2147484192" r:id="rId11"/>
    <p:sldLayoutId id="2147484193" r:id="rId12"/>
    <p:sldLayoutId id="2147484194" r:id="rId13"/>
    <p:sldLayoutId id="2147484195" r:id="rId14"/>
    <p:sldLayoutId id="2147484196" r:id="rId15"/>
    <p:sldLayoutId id="2147484197" r:id="rId16"/>
    <p:sldLayoutId id="2147484198" r:id="rId17"/>
    <p:sldLayoutId id="2147484199" r:id="rId18"/>
    <p:sldLayoutId id="2147484200" r:id="rId19"/>
    <p:sldLayoutId id="2147484201" r:id="rId20"/>
    <p:sldLayoutId id="2147484202" r:id="rId21"/>
    <p:sldLayoutId id="2147484203" r:id="rId22"/>
    <p:sldLayoutId id="2147484204" r:id="rId23"/>
    <p:sldLayoutId id="2147484205" r:id="rId24"/>
    <p:sldLayoutId id="2147484206" r:id="rId25"/>
    <p:sldLayoutId id="2147484207" r:id="rId26"/>
    <p:sldLayoutId id="2147484208" r:id="rId27"/>
    <p:sldLayoutId id="2147484209" r:id="rId28"/>
  </p:sldLayoutIdLst>
  <p:hf hdr="0" ftr="0" dt="0"/>
  <p:txStyles>
    <p:titleStyle>
      <a:lvl1pPr algn="l" defTabSz="914358" rtl="0" eaLnBrk="1" latinLnBrk="0" hangingPunct="1">
        <a:lnSpc>
          <a:spcPct val="100000"/>
        </a:lnSpc>
        <a:spcBef>
          <a:spcPct val="0"/>
        </a:spcBef>
        <a:buNone/>
        <a:defRPr lang="en-US" sz="3200" b="1" kern="1200" spc="0" baseline="0" dirty="0">
          <a:ln w="6350" cap="flat">
            <a:noFill/>
            <a:miter lim="800000"/>
          </a:ln>
          <a:solidFill>
            <a:srgbClr val="025295"/>
          </a:solidFill>
          <a:latin typeface="+mj-lt"/>
          <a:ea typeface="+mj-ea"/>
          <a:cs typeface="+mj-cs"/>
        </a:defRPr>
      </a:lvl1pPr>
    </p:titleStyle>
    <p:bodyStyle>
      <a:lvl1pPr marL="0" indent="0" algn="l" defTabSz="914358"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589" indent="-228589" algn="l" defTabSz="914358"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892" indent="-210302" algn="l" defTabSz="914358"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33" indent="-155441"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778" indent="-146297"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p15:clr>
            <a:srgbClr val="5ACBF0"/>
          </p15:clr>
        </p15:guide>
        <p15:guide id="4" orient="horz" pos="1075">
          <p15:clr>
            <a:srgbClr val="F26B43"/>
          </p15:clr>
        </p15:guide>
        <p15:guide id="5" pos="7329">
          <p15:clr>
            <a:srgbClr val="F26B43"/>
          </p15:clr>
        </p15:guide>
        <p15:guide id="6" pos="345">
          <p15:clr>
            <a:srgbClr val="F26B43"/>
          </p15:clr>
        </p15:guide>
        <p15:guide id="8" orient="horz" pos="417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F2E6A7A-594E-05B6-A109-591420DF9C3D}"/>
              </a:ext>
            </a:extLst>
          </p:cNvPr>
          <p:cNvGraphicFramePr>
            <a:graphicFrameLocks noChangeAspect="1"/>
          </p:cNvGraphicFramePr>
          <p:nvPr userDrawn="1">
            <p:custDataLst>
              <p:tags r:id="rId29"/>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0" imgW="405" imgH="405" progId="TCLayout.ActiveDocument.1">
                  <p:embed/>
                </p:oleObj>
              </mc:Choice>
              <mc:Fallback>
                <p:oleObj name="think-cell Slide" r:id="rId30" imgW="405" imgH="405" progId="TCLayout.ActiveDocument.1">
                  <p:embed/>
                  <p:pic>
                    <p:nvPicPr>
                      <p:cNvPr id="7" name="think-cell data - do not delete" hidden="1">
                        <a:extLst>
                          <a:ext uri="{FF2B5EF4-FFF2-40B4-BE49-F238E27FC236}">
                            <a16:creationId xmlns:a16="http://schemas.microsoft.com/office/drawing/2014/main" id="{6F2E6A7A-594E-05B6-A109-591420DF9C3D}"/>
                          </a:ext>
                        </a:extLst>
                      </p:cNvPr>
                      <p:cNvPicPr/>
                      <p:nvPr/>
                    </p:nvPicPr>
                    <p:blipFill>
                      <a:blip r:embed="rId31"/>
                      <a:stretch>
                        <a:fillRect/>
                      </a:stretch>
                    </p:blipFill>
                    <p:spPr>
                      <a:xfrm>
                        <a:off x="1588"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1"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1" y="1825626"/>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9C44B8F-6FB1-E142-BB39-118BD22826E4}"/>
              </a:ext>
            </a:extLst>
          </p:cNvPr>
          <p:cNvSpPr>
            <a:spLocks noGrp="1"/>
          </p:cNvSpPr>
          <p:nvPr>
            <p:ph type="ftr" sz="quarter" idx="3"/>
          </p:nvPr>
        </p:nvSpPr>
        <p:spPr>
          <a:xfrm>
            <a:off x="6200173" y="6397385"/>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r>
              <a:rPr lang="en-US"/>
              <a:t>Joint SAGE/MPAG session on malaria vaccines 3 vs 4 dose schedule, Sept 2025</a:t>
            </a:r>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570614983"/>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6" r:id="rId26"/>
    <p:sldLayoutId id="2147484237" r:id="rId27"/>
  </p:sldLayoutIdLst>
  <p:hf hdr="0" dt="0"/>
  <p:txStyles>
    <p:titleStyle>
      <a:lvl1pPr algn="l" defTabSz="914358"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589" indent="-228589" algn="l" defTabSz="914358"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768"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2947"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126"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305"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pos="7392">
          <p15:clr>
            <a:srgbClr val="F26B43"/>
          </p15:clr>
        </p15:guide>
        <p15:guide id="6" orient="horz" pos="3888">
          <p15:clr>
            <a:srgbClr val="F26B43"/>
          </p15:clr>
        </p15:guide>
        <p15:guide id="7" orient="horz" pos="4032">
          <p15:clr>
            <a:srgbClr val="F26B43"/>
          </p15:clr>
        </p15:guide>
        <p15:guide id="8" orient="horz" pos="432">
          <p15:clr>
            <a:srgbClr val="F26B43"/>
          </p15:clr>
        </p15:guide>
        <p15:guide id="9" pos="2592">
          <p15:clr>
            <a:srgbClr val="F26B43"/>
          </p15:clr>
        </p15:guide>
        <p15:guide id="10" pos="2688">
          <p15:clr>
            <a:srgbClr val="F26B43"/>
          </p15:clr>
        </p15:guide>
        <p15:guide id="11" pos="4992">
          <p15:clr>
            <a:srgbClr val="F26B43"/>
          </p15:clr>
        </p15:guide>
        <p15:guide id="12" pos="5088">
          <p15:clr>
            <a:srgbClr val="F26B43"/>
          </p15:clr>
        </p15:guide>
        <p15:guide id="13" orient="horz" pos="1152">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1"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1" y="1825626"/>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
        <p:nvSpPr>
          <p:cNvPr id="4" name="Footer Placeholder 4">
            <a:extLst>
              <a:ext uri="{FF2B5EF4-FFF2-40B4-BE49-F238E27FC236}">
                <a16:creationId xmlns:a16="http://schemas.microsoft.com/office/drawing/2014/main" id="{76FCB857-0D21-D10D-9A97-7D80B6C37AEF}"/>
              </a:ext>
            </a:extLst>
          </p:cNvPr>
          <p:cNvSpPr>
            <a:spLocks noGrp="1"/>
          </p:cNvSpPr>
          <p:nvPr>
            <p:ph type="ftr" sz="quarter" idx="3"/>
          </p:nvPr>
        </p:nvSpPr>
        <p:spPr>
          <a:xfrm>
            <a:off x="6200173" y="6397385"/>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Tree>
    <p:extLst>
      <p:ext uri="{BB962C8B-B14F-4D97-AF65-F5344CB8AC3E}">
        <p14:creationId xmlns:p14="http://schemas.microsoft.com/office/powerpoint/2010/main" val="811530120"/>
      </p:ext>
    </p:extLst>
  </p:cSld>
  <p:clrMap bg1="lt1" tx1="dk1" bg2="lt2" tx2="dk2" accent1="accent1" accent2="accent2" accent3="accent3" accent4="accent4" accent5="accent5" accent6="accent6" hlink="hlink" folHlink="folHlink"/>
  <p:sldLayoutIdLst>
    <p:sldLayoutId id="2147484239" r:id="rId1"/>
    <p:sldLayoutId id="2147484240" r:id="rId2"/>
    <p:sldLayoutId id="2147484241" r:id="rId3"/>
    <p:sldLayoutId id="2147484242" r:id="rId4"/>
    <p:sldLayoutId id="2147484243" r:id="rId5"/>
    <p:sldLayoutId id="2147484244" r:id="rId6"/>
    <p:sldLayoutId id="2147484245" r:id="rId7"/>
    <p:sldLayoutId id="2147484246" r:id="rId8"/>
    <p:sldLayoutId id="2147484247" r:id="rId9"/>
    <p:sldLayoutId id="2147484248" r:id="rId10"/>
    <p:sldLayoutId id="2147484249" r:id="rId11"/>
    <p:sldLayoutId id="2147484250" r:id="rId12"/>
    <p:sldLayoutId id="2147484251" r:id="rId13"/>
    <p:sldLayoutId id="2147484252" r:id="rId14"/>
    <p:sldLayoutId id="2147484253" r:id="rId15"/>
    <p:sldLayoutId id="2147484254" r:id="rId16"/>
    <p:sldLayoutId id="2147484255" r:id="rId17"/>
    <p:sldLayoutId id="2147484256" r:id="rId18"/>
    <p:sldLayoutId id="2147484257" r:id="rId19"/>
    <p:sldLayoutId id="2147484258" r:id="rId20"/>
    <p:sldLayoutId id="2147484259" r:id="rId21"/>
    <p:sldLayoutId id="2147484260" r:id="rId22"/>
    <p:sldLayoutId id="2147484261" r:id="rId23"/>
    <p:sldLayoutId id="2147484262" r:id="rId24"/>
    <p:sldLayoutId id="2147484263" r:id="rId25"/>
    <p:sldLayoutId id="2147484264" r:id="rId26"/>
    <p:sldLayoutId id="2147484265" r:id="rId27"/>
    <p:sldLayoutId id="2147484266" r:id="rId28"/>
    <p:sldLayoutId id="2147484267" r:id="rId29"/>
    <p:sldLayoutId id="2147484268" r:id="rId30"/>
    <p:sldLayoutId id="2147484269" r:id="rId31"/>
    <p:sldLayoutId id="2147484270" r:id="rId32"/>
    <p:sldLayoutId id="2147484271" r:id="rId33"/>
    <p:sldLayoutId id="2147484272" r:id="rId34"/>
    <p:sldLayoutId id="2147484273" r:id="rId35"/>
    <p:sldLayoutId id="2147484274" r:id="rId36"/>
    <p:sldLayoutId id="2147484275" r:id="rId37"/>
    <p:sldLayoutId id="2147484276" r:id="rId38"/>
    <p:sldLayoutId id="2147484277" r:id="rId39"/>
    <p:sldLayoutId id="2147484278" r:id="rId40"/>
    <p:sldLayoutId id="2147484279" r:id="rId41"/>
    <p:sldLayoutId id="2147484280" r:id="rId42"/>
    <p:sldLayoutId id="2147484281" r:id="rId43"/>
    <p:sldLayoutId id="2147484282" r:id="rId44"/>
    <p:sldLayoutId id="2147484283" r:id="rId45"/>
    <p:sldLayoutId id="2147484284" r:id="rId46"/>
    <p:sldLayoutId id="2147484285" r:id="rId47"/>
    <p:sldLayoutId id="2147484286" r:id="rId48"/>
    <p:sldLayoutId id="2147484287" r:id="rId49"/>
    <p:sldLayoutId id="2147484288" r:id="rId50"/>
    <p:sldLayoutId id="2147484289" r:id="rId51"/>
    <p:sldLayoutId id="2147484290" r:id="rId52"/>
    <p:sldLayoutId id="2147484291" r:id="rId53"/>
    <p:sldLayoutId id="2147484292" r:id="rId54"/>
    <p:sldLayoutId id="2147484293" r:id="rId55"/>
    <p:sldLayoutId id="2147484294" r:id="rId56"/>
    <p:sldLayoutId id="2147484295" r:id="rId57"/>
    <p:sldLayoutId id="2147484296" r:id="rId58"/>
    <p:sldLayoutId id="2147484297" r:id="rId59"/>
    <p:sldLayoutId id="2147484298" r:id="rId60"/>
    <p:sldLayoutId id="2147484299" r:id="rId61"/>
    <p:sldLayoutId id="2147484300" r:id="rId62"/>
    <p:sldLayoutId id="2147484301" r:id="rId63"/>
    <p:sldLayoutId id="2147484302" r:id="rId64"/>
    <p:sldLayoutId id="2147484303" r:id="rId65"/>
    <p:sldLayoutId id="2147484304" r:id="rId66"/>
    <p:sldLayoutId id="2147484305" r:id="rId67"/>
    <p:sldLayoutId id="2147484306" r:id="rId68"/>
    <p:sldLayoutId id="2147484307" r:id="rId69"/>
    <p:sldLayoutId id="2147484308" r:id="rId70"/>
    <p:sldLayoutId id="2147484309" r:id="rId71"/>
    <p:sldLayoutId id="2147484310" r:id="rId72"/>
    <p:sldLayoutId id="2147484311" r:id="rId73"/>
    <p:sldLayoutId id="2147484312" r:id="rId74"/>
    <p:sldLayoutId id="2147484313" r:id="rId75"/>
    <p:sldLayoutId id="2147484314" r:id="rId76"/>
    <p:sldLayoutId id="2147484315" r:id="rId77"/>
    <p:sldLayoutId id="2147484316" r:id="rId78"/>
    <p:sldLayoutId id="2147484317" r:id="rId79"/>
    <p:sldLayoutId id="2147484318" r:id="rId80"/>
    <p:sldLayoutId id="2147484319" r:id="rId81"/>
    <p:sldLayoutId id="2147484320" r:id="rId82"/>
    <p:sldLayoutId id="2147484321" r:id="rId83"/>
    <p:sldLayoutId id="2147484322" r:id="rId84"/>
    <p:sldLayoutId id="2147484323" r:id="rId85"/>
    <p:sldLayoutId id="2147484324" r:id="rId86"/>
    <p:sldLayoutId id="2147484325" r:id="rId87"/>
    <p:sldLayoutId id="2147484326" r:id="rId88"/>
    <p:sldLayoutId id="2147484327" r:id="rId89"/>
    <p:sldLayoutId id="2147484328" r:id="rId90"/>
    <p:sldLayoutId id="2147484329" r:id="rId91"/>
    <p:sldLayoutId id="2147484330" r:id="rId92"/>
    <p:sldLayoutId id="2147484331" r:id="rId93"/>
    <p:sldLayoutId id="2147484332" r:id="rId94"/>
    <p:sldLayoutId id="2147484333" r:id="rId95"/>
    <p:sldLayoutId id="2147484334" r:id="rId96"/>
    <p:sldLayoutId id="2147484335" r:id="rId97"/>
    <p:sldLayoutId id="2147484336" r:id="rId98"/>
    <p:sldLayoutId id="2147484337" r:id="rId99"/>
    <p:sldLayoutId id="2147484338" r:id="rId100"/>
    <p:sldLayoutId id="2147484339" r:id="rId101"/>
    <p:sldLayoutId id="2147484340" r:id="rId102"/>
    <p:sldLayoutId id="2147484341" r:id="rId103"/>
    <p:sldLayoutId id="2147484342" r:id="rId104"/>
    <p:sldLayoutId id="2147484343" r:id="rId105"/>
    <p:sldLayoutId id="2147484344" r:id="rId106"/>
    <p:sldLayoutId id="2147484345" r:id="rId107"/>
    <p:sldLayoutId id="2147484346" r:id="rId108"/>
    <p:sldLayoutId id="2147484347" r:id="rId109"/>
    <p:sldLayoutId id="2147484348" r:id="rId110"/>
    <p:sldLayoutId id="2147484349" r:id="rId111"/>
    <p:sldLayoutId id="2147484350" r:id="rId112"/>
    <p:sldLayoutId id="2147484351" r:id="rId113"/>
    <p:sldLayoutId id="2147484352" r:id="rId114"/>
    <p:sldLayoutId id="2147484353" r:id="rId115"/>
    <p:sldLayoutId id="2147484354" r:id="rId116"/>
    <p:sldLayoutId id="2147484355" r:id="rId117"/>
    <p:sldLayoutId id="2147484356" r:id="rId118"/>
    <p:sldLayoutId id="2147484357" r:id="rId119"/>
    <p:sldLayoutId id="2147484358" r:id="rId120"/>
    <p:sldLayoutId id="2147484359" r:id="rId121"/>
    <p:sldLayoutId id="2147484360" r:id="rId122"/>
    <p:sldLayoutId id="2147484361" r:id="rId123"/>
    <p:sldLayoutId id="2147484362" r:id="rId124"/>
    <p:sldLayoutId id="2147484363" r:id="rId125"/>
    <p:sldLayoutId id="2147484364" r:id="rId126"/>
    <p:sldLayoutId id="2147484365" r:id="rId127"/>
    <p:sldLayoutId id="2147484366" r:id="rId128"/>
    <p:sldLayoutId id="2147484367" r:id="rId129"/>
    <p:sldLayoutId id="2147484368" r:id="rId130"/>
    <p:sldLayoutId id="2147484369" r:id="rId131"/>
    <p:sldLayoutId id="2147484370" r:id="rId132"/>
    <p:sldLayoutId id="2147484371" r:id="rId133"/>
    <p:sldLayoutId id="2147484372" r:id="rId134"/>
    <p:sldLayoutId id="2147484373" r:id="rId135"/>
    <p:sldLayoutId id="2147484374" r:id="rId136"/>
    <p:sldLayoutId id="2147484375" r:id="rId137"/>
    <p:sldLayoutId id="2147484376" r:id="rId138"/>
    <p:sldLayoutId id="2147484377" r:id="rId139"/>
    <p:sldLayoutId id="2147484378" r:id="rId140"/>
    <p:sldLayoutId id="2147484379" r:id="rId141"/>
    <p:sldLayoutId id="2147484380" r:id="rId142"/>
    <p:sldLayoutId id="2147484381" r:id="rId143"/>
    <p:sldLayoutId id="2147484382" r:id="rId144"/>
    <p:sldLayoutId id="2147484383" r:id="rId145"/>
    <p:sldLayoutId id="2147484384" r:id="rId146"/>
    <p:sldLayoutId id="2147484385" r:id="rId147"/>
    <p:sldLayoutId id="2147484386" r:id="rId148"/>
    <p:sldLayoutId id="2147484387" r:id="rId149"/>
    <p:sldLayoutId id="2147484388" r:id="rId150"/>
    <p:sldLayoutId id="2147484389" r:id="rId151"/>
    <p:sldLayoutId id="2147484390" r:id="rId152"/>
    <p:sldLayoutId id="2147484391" r:id="rId153"/>
    <p:sldLayoutId id="2147484392" r:id="rId154"/>
    <p:sldLayoutId id="2147484393" r:id="rId155"/>
    <p:sldLayoutId id="2147484394" r:id="rId156"/>
    <p:sldLayoutId id="2147484395" r:id="rId157"/>
    <p:sldLayoutId id="2147484396" r:id="rId158"/>
    <p:sldLayoutId id="2147484397" r:id="rId159"/>
    <p:sldLayoutId id="2147484398" r:id="rId160"/>
    <p:sldLayoutId id="2147484399" r:id="rId161"/>
    <p:sldLayoutId id="2147484400" r:id="rId162"/>
    <p:sldLayoutId id="2147484401" r:id="rId163"/>
    <p:sldLayoutId id="2147484402" r:id="rId164"/>
    <p:sldLayoutId id="2147484403" r:id="rId165"/>
    <p:sldLayoutId id="2147484404" r:id="rId166"/>
    <p:sldLayoutId id="2147484405" r:id="rId167"/>
    <p:sldLayoutId id="2147484406" r:id="rId168"/>
    <p:sldLayoutId id="2147484407" r:id="rId169"/>
    <p:sldLayoutId id="2147484408" r:id="rId170"/>
    <p:sldLayoutId id="2147484409" r:id="rId171"/>
    <p:sldLayoutId id="2147484410" r:id="rId172"/>
    <p:sldLayoutId id="2147484411" r:id="rId173"/>
    <p:sldLayoutId id="2147484412" r:id="rId174"/>
    <p:sldLayoutId id="2147484413" r:id="rId175"/>
    <p:sldLayoutId id="2147484414" r:id="rId176"/>
    <p:sldLayoutId id="2147484415" r:id="rId177"/>
    <p:sldLayoutId id="2147484416" r:id="rId178"/>
    <p:sldLayoutId id="2147484417" r:id="rId179"/>
    <p:sldLayoutId id="2147484418" r:id="rId180"/>
    <p:sldLayoutId id="2147484419" r:id="rId181"/>
    <p:sldLayoutId id="2147484420" r:id="rId182"/>
    <p:sldLayoutId id="2147484421" r:id="rId183"/>
    <p:sldLayoutId id="2147484422" r:id="rId184"/>
    <p:sldLayoutId id="2147484423" r:id="rId185"/>
    <p:sldLayoutId id="2147484424" r:id="rId186"/>
    <p:sldLayoutId id="2147484425" r:id="rId187"/>
    <p:sldLayoutId id="2147484426" r:id="rId188"/>
    <p:sldLayoutId id="2147484427" r:id="rId189"/>
    <p:sldLayoutId id="2147484428" r:id="rId190"/>
    <p:sldLayoutId id="2147484429" r:id="rId191"/>
    <p:sldLayoutId id="2147484430" r:id="rId192"/>
    <p:sldLayoutId id="2147484431" r:id="rId193"/>
    <p:sldLayoutId id="2147484432" r:id="rId194"/>
    <p:sldLayoutId id="2147484433" r:id="rId195"/>
    <p:sldLayoutId id="2147484434" r:id="rId196"/>
    <p:sldLayoutId id="2147484435" r:id="rId197"/>
    <p:sldLayoutId id="2147484436" r:id="rId198"/>
    <p:sldLayoutId id="2147484437" r:id="rId199"/>
    <p:sldLayoutId id="2147484438" r:id="rId200"/>
    <p:sldLayoutId id="2147484439" r:id="rId201"/>
    <p:sldLayoutId id="2147484440" r:id="rId202"/>
    <p:sldLayoutId id="2147484441" r:id="rId203"/>
    <p:sldLayoutId id="2147484442" r:id="rId204"/>
    <p:sldLayoutId id="2147484443" r:id="rId205"/>
    <p:sldLayoutId id="2147484444" r:id="rId206"/>
    <p:sldLayoutId id="2147484445" r:id="rId207"/>
    <p:sldLayoutId id="2147484446" r:id="rId208"/>
    <p:sldLayoutId id="2147484447" r:id="rId209"/>
    <p:sldLayoutId id="2147484448" r:id="rId210"/>
    <p:sldLayoutId id="2147484449" r:id="rId211"/>
    <p:sldLayoutId id="2147484450" r:id="rId212"/>
    <p:sldLayoutId id="2147484451" r:id="rId213"/>
    <p:sldLayoutId id="2147484452" r:id="rId214"/>
    <p:sldLayoutId id="2147484453" r:id="rId215"/>
    <p:sldLayoutId id="2147484454" r:id="rId216"/>
    <p:sldLayoutId id="2147484455" r:id="rId217"/>
    <p:sldLayoutId id="2147484456" r:id="rId218"/>
    <p:sldLayoutId id="2147484457" r:id="rId219"/>
    <p:sldLayoutId id="2147484458" r:id="rId220"/>
    <p:sldLayoutId id="2147484459" r:id="rId221"/>
  </p:sldLayoutIdLst>
  <p:hf hdr="0" dt="0"/>
  <p:txStyles>
    <p:titleStyle>
      <a:lvl1pPr algn="l" defTabSz="914358"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589" indent="-228589" algn="l" defTabSz="914358"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768"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2947"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126"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305"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pos="7392">
          <p15:clr>
            <a:srgbClr val="F26B43"/>
          </p15:clr>
        </p15:guide>
        <p15:guide id="6" orient="horz" pos="3888">
          <p15:clr>
            <a:srgbClr val="F26B43"/>
          </p15:clr>
        </p15:guide>
        <p15:guide id="7" orient="horz" pos="4032">
          <p15:clr>
            <a:srgbClr val="F26B43"/>
          </p15:clr>
        </p15:guide>
        <p15:guide id="8" orient="horz" pos="432">
          <p15:clr>
            <a:srgbClr val="F26B43"/>
          </p15:clr>
        </p15:guide>
        <p15:guide id="9" pos="2592">
          <p15:clr>
            <a:srgbClr val="F26B43"/>
          </p15:clr>
        </p15:guide>
        <p15:guide id="10" pos="2688">
          <p15:clr>
            <a:srgbClr val="F26B43"/>
          </p15:clr>
        </p15:guide>
        <p15:guide id="11" pos="4992">
          <p15:clr>
            <a:srgbClr val="F26B43"/>
          </p15:clr>
        </p15:guide>
        <p15:guide id="12" pos="5088">
          <p15:clr>
            <a:srgbClr val="F26B43"/>
          </p15:clr>
        </p15:guide>
        <p15:guide id="13" orient="horz" pos="1152">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9AC36B-56E8-4FFB-A981-B63AD7E4AFC7}"/>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00BEC1C-0706-49A2-AC9E-1163E3B318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0F43A10-DD8C-4735-89B2-2A30B5E3437E}"/>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81043845-D1B1-4A58-91D6-B1C8A879DCF6}"/>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oint SAGE/MPAG session on malaria vaccines 3 vs 4 dose schedule, Sept 2025</a:t>
            </a:r>
            <a:endParaRPr lang="en-GB"/>
          </a:p>
        </p:txBody>
      </p:sp>
      <p:sp>
        <p:nvSpPr>
          <p:cNvPr id="6" name="Slide Number Placeholder 5">
            <a:extLst>
              <a:ext uri="{FF2B5EF4-FFF2-40B4-BE49-F238E27FC236}">
                <a16:creationId xmlns:a16="http://schemas.microsoft.com/office/drawing/2014/main" id="{D6E1D175-E90B-4C3B-8D54-2C0416A9C8F4}"/>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F789369-E377-4DCE-A813-49D05CD88A1A}" type="slidenum">
              <a:rPr lang="en-GB" smtClean="0"/>
              <a:t>‹#›</a:t>
            </a:fld>
            <a:endParaRPr lang="en-GB"/>
          </a:p>
        </p:txBody>
      </p:sp>
    </p:spTree>
    <p:extLst>
      <p:ext uri="{BB962C8B-B14F-4D97-AF65-F5344CB8AC3E}">
        <p14:creationId xmlns:p14="http://schemas.microsoft.com/office/powerpoint/2010/main" val="2093473373"/>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6" r:id="rId6"/>
    <p:sldLayoutId id="2147484467" r:id="rId7"/>
    <p:sldLayoutId id="2147484468" r:id="rId8"/>
    <p:sldLayoutId id="2147484469" r:id="rId9"/>
    <p:sldLayoutId id="2147484470" r:id="rId10"/>
    <p:sldLayoutId id="2147484471" r:id="rId11"/>
  </p:sldLayoutIdLst>
  <p:hf hdr="0" dt="0"/>
  <p:txStyles>
    <p:titleStyle>
      <a:lvl1pPr algn="l" defTabSz="91435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8" indent="-228589" algn="l" defTabSz="91435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7" indent="-228589" algn="l" defTabSz="91435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6"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05"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9"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4"/>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06620142"/>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 id="2147484480" r:id="rId8"/>
    <p:sldLayoutId id="2147484481" r:id="rId9"/>
    <p:sldLayoutId id="2147484482" r:id="rId10"/>
    <p:sldLayoutId id="2147484483" r:id="rId11"/>
    <p:sldLayoutId id="2147484484" r:id="rId12"/>
    <p:sldLayoutId id="2147484485" r:id="rId13"/>
    <p:sldLayoutId id="2147484486" r:id="rId14"/>
    <p:sldLayoutId id="2147484487" r:id="rId15"/>
    <p:sldLayoutId id="2147484488" r:id="rId16"/>
    <p:sldLayoutId id="2147484489" r:id="rId17"/>
    <p:sldLayoutId id="2147484490" r:id="rId18"/>
    <p:sldLayoutId id="2147484491" r:id="rId19"/>
    <p:sldLayoutId id="2147484492" r:id="rId20"/>
    <p:sldLayoutId id="2147484493" r:id="rId21"/>
    <p:sldLayoutId id="2147484494" r:id="rId22"/>
    <p:sldLayoutId id="2147484495" r:id="rId23"/>
    <p:sldLayoutId id="2147484496" r:id="rId24"/>
    <p:sldLayoutId id="2147484497" r:id="rId25"/>
    <p:sldLayoutId id="2147484498" r:id="rId26"/>
    <p:sldLayoutId id="2147484499" r:id="rId27"/>
    <p:sldLayoutId id="2147484500" r:id="rId28"/>
    <p:sldLayoutId id="2147484501" r:id="rId29"/>
    <p:sldLayoutId id="2147484502" r:id="rId30"/>
    <p:sldLayoutId id="2147484503" r:id="rId31"/>
    <p:sldLayoutId id="2147484504" r:id="rId32"/>
    <p:sldLayoutId id="2147484505" r:id="rId33"/>
    <p:sldLayoutId id="2147484506" r:id="rId34"/>
    <p:sldLayoutId id="2147484507" r:id="rId35"/>
    <p:sldLayoutId id="2147484508" r:id="rId36"/>
    <p:sldLayoutId id="2147484509" r:id="rId37"/>
    <p:sldLayoutId id="2147484510" r:id="rId38"/>
    <p:sldLayoutId id="2147484511" r:id="rId39"/>
    <p:sldLayoutId id="2147484512" r:id="rId40"/>
    <p:sldLayoutId id="2147484513" r:id="rId41"/>
    <p:sldLayoutId id="2147484514" r:id="rId42"/>
    <p:sldLayoutId id="2147484515" r:id="rId43"/>
    <p:sldLayoutId id="2147484516" r:id="rId44"/>
    <p:sldLayoutId id="2147484517" r:id="rId45"/>
    <p:sldLayoutId id="2147484518" r:id="rId46"/>
    <p:sldLayoutId id="2147484519" r:id="rId47"/>
    <p:sldLayoutId id="2147484520" r:id="rId48"/>
    <p:sldLayoutId id="2147484521" r:id="rId49"/>
    <p:sldLayoutId id="2147484522" r:id="rId50"/>
    <p:sldLayoutId id="2147484523" r:id="rId51"/>
    <p:sldLayoutId id="2147484524" r:id="rId52"/>
    <p:sldLayoutId id="2147484525" r:id="rId53"/>
    <p:sldLayoutId id="2147484526" r:id="rId54"/>
    <p:sldLayoutId id="2147484527" r:id="rId55"/>
    <p:sldLayoutId id="2147484528" r:id="rId56"/>
    <p:sldLayoutId id="2147484529" r:id="rId57"/>
    <p:sldLayoutId id="2147484530" r:id="rId58"/>
    <p:sldLayoutId id="2147484531" r:id="rId59"/>
    <p:sldLayoutId id="2147484532" r:id="rId60"/>
    <p:sldLayoutId id="2147484533" r:id="rId61"/>
    <p:sldLayoutId id="2147484534" r:id="rId6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66"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66"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47" indent="-174635" algn="l" defTabSz="554466"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41" indent="-174635" algn="l" defTabSz="554466"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34" indent="-174635" algn="l" defTabSz="554466"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28" indent="-174635" algn="l" defTabSz="554466"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782" indent="-138616" algn="l" defTabSz="554466"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016" indent="-138616" algn="l" defTabSz="554466"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250" indent="-138616" algn="l" defTabSz="554466"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483" indent="-138616" algn="l" defTabSz="554466"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66" rtl="0" eaLnBrk="1" latinLnBrk="0" hangingPunct="1">
        <a:defRPr sz="1092" kern="1200">
          <a:solidFill>
            <a:schemeClr val="tx1"/>
          </a:solidFill>
          <a:latin typeface="+mn-lt"/>
          <a:ea typeface="+mn-ea"/>
          <a:cs typeface="+mn-cs"/>
        </a:defRPr>
      </a:lvl1pPr>
      <a:lvl2pPr marL="277233" algn="l" defTabSz="554466" rtl="0" eaLnBrk="1" latinLnBrk="0" hangingPunct="1">
        <a:defRPr sz="1092" kern="1200">
          <a:solidFill>
            <a:schemeClr val="tx1"/>
          </a:solidFill>
          <a:latin typeface="+mn-lt"/>
          <a:ea typeface="+mn-ea"/>
          <a:cs typeface="+mn-cs"/>
        </a:defRPr>
      </a:lvl2pPr>
      <a:lvl3pPr marL="554466" algn="l" defTabSz="554466" rtl="0" eaLnBrk="1" latinLnBrk="0" hangingPunct="1">
        <a:defRPr sz="1092" kern="1200">
          <a:solidFill>
            <a:schemeClr val="tx1"/>
          </a:solidFill>
          <a:latin typeface="+mn-lt"/>
          <a:ea typeface="+mn-ea"/>
          <a:cs typeface="+mn-cs"/>
        </a:defRPr>
      </a:lvl3pPr>
      <a:lvl4pPr marL="831699" algn="l" defTabSz="554466" rtl="0" eaLnBrk="1" latinLnBrk="0" hangingPunct="1">
        <a:defRPr sz="1092" kern="1200">
          <a:solidFill>
            <a:schemeClr val="tx1"/>
          </a:solidFill>
          <a:latin typeface="+mn-lt"/>
          <a:ea typeface="+mn-ea"/>
          <a:cs typeface="+mn-cs"/>
        </a:defRPr>
      </a:lvl4pPr>
      <a:lvl5pPr marL="1108933" algn="l" defTabSz="554466" rtl="0" eaLnBrk="1" latinLnBrk="0" hangingPunct="1">
        <a:defRPr sz="1092" kern="1200">
          <a:solidFill>
            <a:schemeClr val="tx1"/>
          </a:solidFill>
          <a:latin typeface="+mn-lt"/>
          <a:ea typeface="+mn-ea"/>
          <a:cs typeface="+mn-cs"/>
        </a:defRPr>
      </a:lvl5pPr>
      <a:lvl6pPr marL="1386166" algn="l" defTabSz="554466" rtl="0" eaLnBrk="1" latinLnBrk="0" hangingPunct="1">
        <a:defRPr sz="1092" kern="1200">
          <a:solidFill>
            <a:schemeClr val="tx1"/>
          </a:solidFill>
          <a:latin typeface="+mn-lt"/>
          <a:ea typeface="+mn-ea"/>
          <a:cs typeface="+mn-cs"/>
        </a:defRPr>
      </a:lvl6pPr>
      <a:lvl7pPr marL="1663399" algn="l" defTabSz="554466" rtl="0" eaLnBrk="1" latinLnBrk="0" hangingPunct="1">
        <a:defRPr sz="1092" kern="1200">
          <a:solidFill>
            <a:schemeClr val="tx1"/>
          </a:solidFill>
          <a:latin typeface="+mn-lt"/>
          <a:ea typeface="+mn-ea"/>
          <a:cs typeface="+mn-cs"/>
        </a:defRPr>
      </a:lvl7pPr>
      <a:lvl8pPr marL="1940633" algn="l" defTabSz="554466" rtl="0" eaLnBrk="1" latinLnBrk="0" hangingPunct="1">
        <a:defRPr sz="1092" kern="1200">
          <a:solidFill>
            <a:schemeClr val="tx1"/>
          </a:solidFill>
          <a:latin typeface="+mn-lt"/>
          <a:ea typeface="+mn-ea"/>
          <a:cs typeface="+mn-cs"/>
        </a:defRPr>
      </a:lvl8pPr>
      <a:lvl9pPr marL="2217866" algn="l" defTabSz="554466"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40"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5"/>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135201852"/>
      </p:ext>
    </p:extLst>
  </p:cSld>
  <p:clrMap bg1="lt1" tx1="dk1" bg2="lt2" tx2="dk2" accent1="accent1" accent2="accent2" accent3="accent3" accent4="accent4" accent5="accent5" accent6="accent6" hlink="hlink" folHlink="folHlink"/>
  <p:sldLayoutIdLst>
    <p:sldLayoutId id="2147484536" r:id="rId1"/>
    <p:sldLayoutId id="2147484537" r:id="rId2"/>
    <p:sldLayoutId id="2147484538" r:id="rId3"/>
    <p:sldLayoutId id="2147484539" r:id="rId4"/>
    <p:sldLayoutId id="2147484540" r:id="rId5"/>
    <p:sldLayoutId id="2147484541" r:id="rId6"/>
    <p:sldLayoutId id="2147484542" r:id="rId7"/>
    <p:sldLayoutId id="2147484543" r:id="rId8"/>
    <p:sldLayoutId id="2147484544" r:id="rId9"/>
    <p:sldLayoutId id="2147484545" r:id="rId10"/>
    <p:sldLayoutId id="2147484546" r:id="rId11"/>
    <p:sldLayoutId id="2147484547" r:id="rId12"/>
    <p:sldLayoutId id="2147484548" r:id="rId13"/>
    <p:sldLayoutId id="2147484549" r:id="rId14"/>
    <p:sldLayoutId id="2147484550" r:id="rId15"/>
    <p:sldLayoutId id="2147484551" r:id="rId16"/>
    <p:sldLayoutId id="2147484552" r:id="rId17"/>
    <p:sldLayoutId id="2147484553" r:id="rId18"/>
    <p:sldLayoutId id="2147484554" r:id="rId19"/>
    <p:sldLayoutId id="2147484555" r:id="rId20"/>
    <p:sldLayoutId id="2147484556" r:id="rId21"/>
    <p:sldLayoutId id="2147484557" r:id="rId22"/>
    <p:sldLayoutId id="2147484558" r:id="rId23"/>
    <p:sldLayoutId id="2147484559" r:id="rId24"/>
    <p:sldLayoutId id="2147484560" r:id="rId25"/>
    <p:sldLayoutId id="2147484561" r:id="rId26"/>
    <p:sldLayoutId id="2147484562" r:id="rId27"/>
    <p:sldLayoutId id="2147484563" r:id="rId28"/>
    <p:sldLayoutId id="2147484564" r:id="rId29"/>
    <p:sldLayoutId id="2147484565" r:id="rId30"/>
    <p:sldLayoutId id="2147484566" r:id="rId31"/>
    <p:sldLayoutId id="2147484567" r:id="rId32"/>
    <p:sldLayoutId id="2147484568" r:id="rId33"/>
    <p:sldLayoutId id="2147484569" r:id="rId34"/>
    <p:sldLayoutId id="2147484570" r:id="rId35"/>
    <p:sldLayoutId id="2147484571" r:id="rId36"/>
    <p:sldLayoutId id="2147484572" r:id="rId37"/>
    <p:sldLayoutId id="2147484573" r:id="rId38"/>
    <p:sldLayoutId id="2147484574" r:id="rId39"/>
    <p:sldLayoutId id="2147484575" r:id="rId40"/>
    <p:sldLayoutId id="2147484576" r:id="rId41"/>
    <p:sldLayoutId id="2147484577" r:id="rId42"/>
    <p:sldLayoutId id="2147484578" r:id="rId43"/>
    <p:sldLayoutId id="2147484579" r:id="rId44"/>
    <p:sldLayoutId id="2147484580" r:id="rId45"/>
    <p:sldLayoutId id="2147484581" r:id="rId46"/>
    <p:sldLayoutId id="2147484582" r:id="rId47"/>
    <p:sldLayoutId id="2147484583" r:id="rId48"/>
    <p:sldLayoutId id="2147484584" r:id="rId49"/>
    <p:sldLayoutId id="2147484585" r:id="rId50"/>
    <p:sldLayoutId id="2147484586" r:id="rId51"/>
    <p:sldLayoutId id="2147484587" r:id="rId52"/>
    <p:sldLayoutId id="2147484588" r:id="rId53"/>
    <p:sldLayoutId id="2147484589" r:id="rId54"/>
    <p:sldLayoutId id="2147484590" r:id="rId55"/>
    <p:sldLayoutId id="2147484591" r:id="rId56"/>
    <p:sldLayoutId id="2147484592" r:id="rId57"/>
    <p:sldLayoutId id="2147484593"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40"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40"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25" indent="-174627" algn="l" defTabSz="554440"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09" indent="-174627" algn="l" defTabSz="554440"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791" indent="-174627" algn="l" defTabSz="554440"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075" indent="-174627" algn="l" defTabSz="554440"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712" indent="-138610" algn="l" defTabSz="55444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1932" indent="-138610" algn="l" defTabSz="55444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153" indent="-138610" algn="l" defTabSz="55444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373" indent="-138610" algn="l" defTabSz="55444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40" rtl="0" eaLnBrk="1" latinLnBrk="0" hangingPunct="1">
        <a:defRPr sz="1092" kern="1200">
          <a:solidFill>
            <a:schemeClr val="tx1"/>
          </a:solidFill>
          <a:latin typeface="+mn-lt"/>
          <a:ea typeface="+mn-ea"/>
          <a:cs typeface="+mn-cs"/>
        </a:defRPr>
      </a:lvl1pPr>
      <a:lvl2pPr marL="277220" algn="l" defTabSz="554440" rtl="0" eaLnBrk="1" latinLnBrk="0" hangingPunct="1">
        <a:defRPr sz="1092" kern="1200">
          <a:solidFill>
            <a:schemeClr val="tx1"/>
          </a:solidFill>
          <a:latin typeface="+mn-lt"/>
          <a:ea typeface="+mn-ea"/>
          <a:cs typeface="+mn-cs"/>
        </a:defRPr>
      </a:lvl2pPr>
      <a:lvl3pPr marL="554440" algn="l" defTabSz="554440" rtl="0" eaLnBrk="1" latinLnBrk="0" hangingPunct="1">
        <a:defRPr sz="1092" kern="1200">
          <a:solidFill>
            <a:schemeClr val="tx1"/>
          </a:solidFill>
          <a:latin typeface="+mn-lt"/>
          <a:ea typeface="+mn-ea"/>
          <a:cs typeface="+mn-cs"/>
        </a:defRPr>
      </a:lvl3pPr>
      <a:lvl4pPr marL="831661" algn="l" defTabSz="554440" rtl="0" eaLnBrk="1" latinLnBrk="0" hangingPunct="1">
        <a:defRPr sz="1092" kern="1200">
          <a:solidFill>
            <a:schemeClr val="tx1"/>
          </a:solidFill>
          <a:latin typeface="+mn-lt"/>
          <a:ea typeface="+mn-ea"/>
          <a:cs typeface="+mn-cs"/>
        </a:defRPr>
      </a:lvl4pPr>
      <a:lvl5pPr marL="1108882" algn="l" defTabSz="554440" rtl="0" eaLnBrk="1" latinLnBrk="0" hangingPunct="1">
        <a:defRPr sz="1092" kern="1200">
          <a:solidFill>
            <a:schemeClr val="tx1"/>
          </a:solidFill>
          <a:latin typeface="+mn-lt"/>
          <a:ea typeface="+mn-ea"/>
          <a:cs typeface="+mn-cs"/>
        </a:defRPr>
      </a:lvl5pPr>
      <a:lvl6pPr marL="1386102" algn="l" defTabSz="554440" rtl="0" eaLnBrk="1" latinLnBrk="0" hangingPunct="1">
        <a:defRPr sz="1092" kern="1200">
          <a:solidFill>
            <a:schemeClr val="tx1"/>
          </a:solidFill>
          <a:latin typeface="+mn-lt"/>
          <a:ea typeface="+mn-ea"/>
          <a:cs typeface="+mn-cs"/>
        </a:defRPr>
      </a:lvl6pPr>
      <a:lvl7pPr marL="1663322" algn="l" defTabSz="554440" rtl="0" eaLnBrk="1" latinLnBrk="0" hangingPunct="1">
        <a:defRPr sz="1092" kern="1200">
          <a:solidFill>
            <a:schemeClr val="tx1"/>
          </a:solidFill>
          <a:latin typeface="+mn-lt"/>
          <a:ea typeface="+mn-ea"/>
          <a:cs typeface="+mn-cs"/>
        </a:defRPr>
      </a:lvl7pPr>
      <a:lvl8pPr marL="1940543" algn="l" defTabSz="554440" rtl="0" eaLnBrk="1" latinLnBrk="0" hangingPunct="1">
        <a:defRPr sz="1092" kern="1200">
          <a:solidFill>
            <a:schemeClr val="tx1"/>
          </a:solidFill>
          <a:latin typeface="+mn-lt"/>
          <a:ea typeface="+mn-ea"/>
          <a:cs typeface="+mn-cs"/>
        </a:defRPr>
      </a:lvl8pPr>
      <a:lvl9pPr marL="2217763" algn="l" defTabSz="554440"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pic>
        <p:nvPicPr>
          <p:cNvPr id="7" name="Graphic 6">
            <a:extLst>
              <a:ext uri="{FF2B5EF4-FFF2-40B4-BE49-F238E27FC236}">
                <a16:creationId xmlns:a16="http://schemas.microsoft.com/office/drawing/2014/main" id="{0B0BCA4E-577C-9B34-5BCD-C738959E6B4A}"/>
              </a:ext>
            </a:extLst>
          </p:cNvPr>
          <p:cNvPicPr>
            <a:picLocks noChangeAspect="1"/>
          </p:cNvPicPr>
          <p:nvPr userDrawn="1"/>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33982" y="6256647"/>
            <a:ext cx="1928611" cy="412280"/>
          </a:xfrm>
          <a:prstGeom prst="rect">
            <a:avLst/>
          </a:prstGeom>
        </p:spPr>
      </p:pic>
    </p:spTree>
    <p:extLst>
      <p:ext uri="{BB962C8B-B14F-4D97-AF65-F5344CB8AC3E}">
        <p14:creationId xmlns:p14="http://schemas.microsoft.com/office/powerpoint/2010/main" val="281731858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2AC9F-514D-1EBA-F01F-8D1EE4FF2DB1}"/>
              </a:ext>
            </a:extLst>
          </p:cNvPr>
          <p:cNvSpPr/>
          <p:nvPr userDrawn="1"/>
        </p:nvSpPr>
        <p:spPr>
          <a:xfrm>
            <a:off x="0" y="0"/>
            <a:ext cx="12192000" cy="142288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8" name="think-cell data - do not delete" hidden="1">
            <a:extLst>
              <a:ext uri="{FF2B5EF4-FFF2-40B4-BE49-F238E27FC236}">
                <a16:creationId xmlns:a16="http://schemas.microsoft.com/office/drawing/2014/main" id="{16B20230-4E7B-F4C6-6A57-5C947227030C}"/>
              </a:ext>
            </a:extLst>
          </p:cNvPr>
          <p:cNvGraphicFramePr>
            <a:graphicFrameLocks noChangeAspect="1"/>
          </p:cNvGraphicFramePr>
          <p:nvPr userDrawn="1">
            <p:custDataLst>
              <p:tags r:id="rId53"/>
            </p:custDataLst>
            <p:extLst>
              <p:ext uri="{D42A27DB-BD31-4B8C-83A1-F6EECF244321}">
                <p14:modId xmlns:p14="http://schemas.microsoft.com/office/powerpoint/2010/main" val="147137464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54" imgW="443" imgH="443" progId="TCLayout.ActiveDocument.1">
                  <p:embed/>
                </p:oleObj>
              </mc:Choice>
              <mc:Fallback>
                <p:oleObj name="think-cell Slide" r:id="rId54" imgW="443" imgH="443" progId="TCLayout.ActiveDocument.1">
                  <p:embed/>
                  <p:pic>
                    <p:nvPicPr>
                      <p:cNvPr id="8" name="think-cell data - do not delete" hidden="1">
                        <a:extLst>
                          <a:ext uri="{FF2B5EF4-FFF2-40B4-BE49-F238E27FC236}">
                            <a16:creationId xmlns:a16="http://schemas.microsoft.com/office/drawing/2014/main" id="{16B20230-4E7B-F4C6-6A57-5C947227030C}"/>
                          </a:ext>
                        </a:extLst>
                      </p:cNvPr>
                      <p:cNvPicPr/>
                      <p:nvPr/>
                    </p:nvPicPr>
                    <p:blipFill>
                      <a:blip r:embed="rId55"/>
                      <a:stretch>
                        <a:fillRect/>
                      </a:stretch>
                    </p:blipFill>
                    <p:spPr>
                      <a:xfrm>
                        <a:off x="1588"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40"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r>
              <a:rPr lang="en-GB"/>
              <a:t>IVB 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80098802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69" r:id="rId29"/>
    <p:sldLayoutId id="2147483770" r:id="rId30"/>
    <p:sldLayoutId id="2147483771" r:id="rId31"/>
    <p:sldLayoutId id="2147483772" r:id="rId32"/>
    <p:sldLayoutId id="2147483773" r:id="rId33"/>
    <p:sldLayoutId id="2147483774" r:id="rId34"/>
    <p:sldLayoutId id="2147483775" r:id="rId35"/>
    <p:sldLayoutId id="2147483776" r:id="rId36"/>
    <p:sldLayoutId id="2147483777" r:id="rId37"/>
    <p:sldLayoutId id="2147483778" r:id="rId38"/>
    <p:sldLayoutId id="2147483779" r:id="rId39"/>
    <p:sldLayoutId id="2147483780" r:id="rId40"/>
    <p:sldLayoutId id="2147483781" r:id="rId41"/>
    <p:sldLayoutId id="2147483782" r:id="rId42"/>
    <p:sldLayoutId id="2147483783" r:id="rId43"/>
    <p:sldLayoutId id="2147483784" r:id="rId44"/>
    <p:sldLayoutId id="2147483785" r:id="rId45"/>
    <p:sldLayoutId id="2147483786" r:id="rId46"/>
    <p:sldLayoutId id="2147483787" r:id="rId47"/>
    <p:sldLayoutId id="2147483788" r:id="rId48"/>
    <p:sldLayoutId id="2147483789" r:id="rId49"/>
    <p:sldLayoutId id="2147483790" r:id="rId50"/>
    <p:sldLayoutId id="2147483791" r:id="rId5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40"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40"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25" indent="-174627" algn="l" defTabSz="554440"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09" indent="-174627" algn="l" defTabSz="554440"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791" indent="-174627" algn="l" defTabSz="554440"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075" indent="-174627" algn="l" defTabSz="554440"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712" indent="-138610" algn="l" defTabSz="55444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1932" indent="-138610" algn="l" defTabSz="55444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153" indent="-138610" algn="l" defTabSz="55444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373" indent="-138610" algn="l" defTabSz="55444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40" rtl="0" eaLnBrk="1" latinLnBrk="0" hangingPunct="1">
        <a:defRPr sz="1092" kern="1200">
          <a:solidFill>
            <a:schemeClr val="tx1"/>
          </a:solidFill>
          <a:latin typeface="+mn-lt"/>
          <a:ea typeface="+mn-ea"/>
          <a:cs typeface="+mn-cs"/>
        </a:defRPr>
      </a:lvl1pPr>
      <a:lvl2pPr marL="277220" algn="l" defTabSz="554440" rtl="0" eaLnBrk="1" latinLnBrk="0" hangingPunct="1">
        <a:defRPr sz="1092" kern="1200">
          <a:solidFill>
            <a:schemeClr val="tx1"/>
          </a:solidFill>
          <a:latin typeface="+mn-lt"/>
          <a:ea typeface="+mn-ea"/>
          <a:cs typeface="+mn-cs"/>
        </a:defRPr>
      </a:lvl2pPr>
      <a:lvl3pPr marL="554440" algn="l" defTabSz="554440" rtl="0" eaLnBrk="1" latinLnBrk="0" hangingPunct="1">
        <a:defRPr sz="1092" kern="1200">
          <a:solidFill>
            <a:schemeClr val="tx1"/>
          </a:solidFill>
          <a:latin typeface="+mn-lt"/>
          <a:ea typeface="+mn-ea"/>
          <a:cs typeface="+mn-cs"/>
        </a:defRPr>
      </a:lvl3pPr>
      <a:lvl4pPr marL="831661" algn="l" defTabSz="554440" rtl="0" eaLnBrk="1" latinLnBrk="0" hangingPunct="1">
        <a:defRPr sz="1092" kern="1200">
          <a:solidFill>
            <a:schemeClr val="tx1"/>
          </a:solidFill>
          <a:latin typeface="+mn-lt"/>
          <a:ea typeface="+mn-ea"/>
          <a:cs typeface="+mn-cs"/>
        </a:defRPr>
      </a:lvl4pPr>
      <a:lvl5pPr marL="1108882" algn="l" defTabSz="554440" rtl="0" eaLnBrk="1" latinLnBrk="0" hangingPunct="1">
        <a:defRPr sz="1092" kern="1200">
          <a:solidFill>
            <a:schemeClr val="tx1"/>
          </a:solidFill>
          <a:latin typeface="+mn-lt"/>
          <a:ea typeface="+mn-ea"/>
          <a:cs typeface="+mn-cs"/>
        </a:defRPr>
      </a:lvl5pPr>
      <a:lvl6pPr marL="1386102" algn="l" defTabSz="554440" rtl="0" eaLnBrk="1" latinLnBrk="0" hangingPunct="1">
        <a:defRPr sz="1092" kern="1200">
          <a:solidFill>
            <a:schemeClr val="tx1"/>
          </a:solidFill>
          <a:latin typeface="+mn-lt"/>
          <a:ea typeface="+mn-ea"/>
          <a:cs typeface="+mn-cs"/>
        </a:defRPr>
      </a:lvl6pPr>
      <a:lvl7pPr marL="1663322" algn="l" defTabSz="554440" rtl="0" eaLnBrk="1" latinLnBrk="0" hangingPunct="1">
        <a:defRPr sz="1092" kern="1200">
          <a:solidFill>
            <a:schemeClr val="tx1"/>
          </a:solidFill>
          <a:latin typeface="+mn-lt"/>
          <a:ea typeface="+mn-ea"/>
          <a:cs typeface="+mn-cs"/>
        </a:defRPr>
      </a:lvl7pPr>
      <a:lvl8pPr marL="1940543" algn="l" defTabSz="554440" rtl="0" eaLnBrk="1" latinLnBrk="0" hangingPunct="1">
        <a:defRPr sz="1092" kern="1200">
          <a:solidFill>
            <a:schemeClr val="tx1"/>
          </a:solidFill>
          <a:latin typeface="+mn-lt"/>
          <a:ea typeface="+mn-ea"/>
          <a:cs typeface="+mn-cs"/>
        </a:defRPr>
      </a:lvl8pPr>
      <a:lvl9pPr marL="2217763" algn="l" defTabSz="554440"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0"/>
            </p:custDataLst>
            <p:extLst>
              <p:ext uri="{D42A27DB-BD31-4B8C-83A1-F6EECF244321}">
                <p14:modId xmlns:p14="http://schemas.microsoft.com/office/powerpoint/2010/main" val="287760905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01" imgW="270" imgH="270" progId="TCLayout.ActiveDocument.1">
                  <p:embed/>
                </p:oleObj>
              </mc:Choice>
              <mc:Fallback>
                <p:oleObj name="think-cell Slide" r:id="rId101" imgW="270" imgH="270" progId="TCLayout.ActiveDocument.1">
                  <p:embed/>
                  <p:pic>
                    <p:nvPicPr>
                      <p:cNvPr id="2" name="Object 1" hidden="1"/>
                      <p:cNvPicPr/>
                      <p:nvPr/>
                    </p:nvPicPr>
                    <p:blipFill>
                      <a:blip r:embed="rId102"/>
                      <a:stretch>
                        <a:fillRect/>
                      </a:stretch>
                    </p:blipFill>
                    <p:spPr>
                      <a:xfrm>
                        <a:off x="1589" y="1589"/>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38150" y="1816918"/>
            <a:ext cx="11315702" cy="40798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9" name="Title Placeholder 1"/>
          <p:cNvSpPr>
            <a:spLocks noGrp="1"/>
          </p:cNvSpPr>
          <p:nvPr>
            <p:ph type="title"/>
          </p:nvPr>
        </p:nvSpPr>
        <p:spPr>
          <a:xfrm>
            <a:off x="438150" y="377826"/>
            <a:ext cx="9105900" cy="307777"/>
          </a:xfrm>
          <a:prstGeom prst="rect">
            <a:avLst/>
          </a:prstGeom>
        </p:spPr>
        <p:txBody>
          <a:bodyPr vert="horz" wrap="square" lIns="0" tIns="0" rIns="0" bIns="0" rtlCol="0" anchor="t">
            <a:noAutofit/>
          </a:bodyPr>
          <a:lstStyle/>
          <a:p>
            <a:r>
              <a:rPr lang="en-US"/>
              <a:t>Click to add title</a:t>
            </a:r>
          </a:p>
        </p:txBody>
      </p:sp>
      <p:sp>
        <p:nvSpPr>
          <p:cNvPr id="20" name="Slide Number Placeholder 5">
            <a:extLst>
              <a:ext uri="{FF2B5EF4-FFF2-40B4-BE49-F238E27FC236}">
                <a16:creationId xmlns:a16="http://schemas.microsoft.com/office/drawing/2014/main" id="{A2A32D38-8118-4A66-9D5B-4CFF173E44FB}"/>
              </a:ext>
            </a:extLst>
          </p:cNvPr>
          <p:cNvSpPr txBox="1">
            <a:spLocks/>
          </p:cNvSpPr>
          <p:nvPr userDrawn="1"/>
        </p:nvSpPr>
        <p:spPr>
          <a:xfrm>
            <a:off x="11172826" y="6442917"/>
            <a:ext cx="574675" cy="153888"/>
          </a:xfrm>
          <a:prstGeom prst="rect">
            <a:avLst/>
          </a:prstGeom>
        </p:spPr>
        <p:txBody>
          <a:bodyPr vert="horz" wrap="square" lIns="0" tIns="0" rIns="0" bIns="0" rtlCol="0" anchor="ctr">
            <a:spAutoFit/>
          </a:bodyPr>
          <a:lstStyle>
            <a:defPPr>
              <a:defRPr lang="en-US"/>
            </a:defPPr>
            <a:lvl1pPr marR="0" lvl="0" indent="0" algn="r" fontAlgn="auto">
              <a:lnSpc>
                <a:spcPct val="100000"/>
              </a:lnSpc>
              <a:spcBef>
                <a:spcPts val="0"/>
              </a:spcBef>
              <a:spcAft>
                <a:spcPts val="0"/>
              </a:spcAft>
              <a:buClrTx/>
              <a:buSzPts val="1000"/>
              <a:buFontTx/>
              <a:buNone/>
              <a:tabLst/>
              <a:defRPr kumimoji="0" sz="1000" b="0" i="0" u="none" strike="noStrike" cap="none" spc="0" normalizeH="0" baseline="0">
                <a:ln>
                  <a:noFill/>
                </a:ln>
                <a:solidFill>
                  <a:srgbClr val="1F4675"/>
                </a:solidFill>
                <a:effectLst/>
                <a:uLnTx/>
                <a:uFillTx/>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buSzPts val="1000"/>
            </a:pPr>
            <a:fld id="{9B797D88-1BB3-5243-BDF3-B6074CC31C78}" type="slidenum">
              <a:rPr kumimoji="0" lang="en-US" sz="1000" u="none" strike="noStrike" cap="none" spc="0" smtClean="0"/>
              <a:pPr marL="0" lvl="0" indent="0">
                <a:buSzPts val="1000"/>
              </a:pPr>
              <a:t>‹#›</a:t>
            </a:fld>
            <a:endParaRPr kumimoji="0" lang="en-US" sz="1000" u="none" strike="noStrike" cap="none" spc="0"/>
          </a:p>
        </p:txBody>
      </p:sp>
      <p:cxnSp>
        <p:nvCxnSpPr>
          <p:cNvPr id="3" name="Straight Connector 2">
            <a:extLst>
              <a:ext uri="{FF2B5EF4-FFF2-40B4-BE49-F238E27FC236}">
                <a16:creationId xmlns:a16="http://schemas.microsoft.com/office/drawing/2014/main" id="{BBCC59D0-AB70-031D-1BAA-A224BE8DF50A}"/>
              </a:ext>
            </a:extLst>
          </p:cNvPr>
          <p:cNvCxnSpPr>
            <a:cxnSpLocks/>
          </p:cNvCxnSpPr>
          <p:nvPr userDrawn="1"/>
        </p:nvCxnSpPr>
        <p:spPr>
          <a:xfrm>
            <a:off x="457201" y="6352539"/>
            <a:ext cx="11277600" cy="0"/>
          </a:xfrm>
          <a:prstGeom prst="line">
            <a:avLst/>
          </a:prstGeom>
          <a:noFill/>
          <a:ln w="12700" cap="flat" cmpd="sng" algn="ctr">
            <a:solidFill>
              <a:srgbClr val="1F4675"/>
            </a:solidFill>
            <a:prstDash val="solid"/>
            <a:miter lim="800000"/>
          </a:ln>
          <a:effectLst/>
        </p:spPr>
      </p:cxnSp>
    </p:spTree>
    <p:extLst>
      <p:ext uri="{BB962C8B-B14F-4D97-AF65-F5344CB8AC3E}">
        <p14:creationId xmlns:p14="http://schemas.microsoft.com/office/powerpoint/2010/main" val="4221953749"/>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 id="2147483830" r:id="rId38"/>
    <p:sldLayoutId id="2147483831" r:id="rId39"/>
    <p:sldLayoutId id="2147483832" r:id="rId40"/>
    <p:sldLayoutId id="2147483833" r:id="rId41"/>
    <p:sldLayoutId id="2147483834" r:id="rId42"/>
    <p:sldLayoutId id="2147483835" r:id="rId43"/>
    <p:sldLayoutId id="2147483836" r:id="rId44"/>
    <p:sldLayoutId id="2147483837" r:id="rId45"/>
    <p:sldLayoutId id="2147483838" r:id="rId46"/>
    <p:sldLayoutId id="2147483839" r:id="rId47"/>
    <p:sldLayoutId id="2147483840" r:id="rId48"/>
    <p:sldLayoutId id="2147483841" r:id="rId49"/>
    <p:sldLayoutId id="2147483842" r:id="rId50"/>
    <p:sldLayoutId id="2147483843" r:id="rId51"/>
    <p:sldLayoutId id="2147483844" r:id="rId52"/>
    <p:sldLayoutId id="2147483845" r:id="rId53"/>
    <p:sldLayoutId id="2147483846" r:id="rId54"/>
    <p:sldLayoutId id="2147483847" r:id="rId55"/>
    <p:sldLayoutId id="2147483848" r:id="rId56"/>
    <p:sldLayoutId id="2147483849" r:id="rId57"/>
    <p:sldLayoutId id="2147483850" r:id="rId58"/>
    <p:sldLayoutId id="2147483851" r:id="rId59"/>
    <p:sldLayoutId id="2147483852" r:id="rId60"/>
    <p:sldLayoutId id="2147483853" r:id="rId61"/>
    <p:sldLayoutId id="2147483854" r:id="rId62"/>
    <p:sldLayoutId id="2147483855" r:id="rId63"/>
    <p:sldLayoutId id="2147483856" r:id="rId64"/>
    <p:sldLayoutId id="2147483857" r:id="rId65"/>
    <p:sldLayoutId id="2147483858" r:id="rId66"/>
    <p:sldLayoutId id="2147483859" r:id="rId67"/>
    <p:sldLayoutId id="2147483860" r:id="rId68"/>
    <p:sldLayoutId id="2147483861" r:id="rId69"/>
    <p:sldLayoutId id="2147483862" r:id="rId70"/>
    <p:sldLayoutId id="2147483863" r:id="rId71"/>
    <p:sldLayoutId id="2147483864" r:id="rId72"/>
    <p:sldLayoutId id="2147483865" r:id="rId73"/>
    <p:sldLayoutId id="2147483866" r:id="rId74"/>
    <p:sldLayoutId id="2147483867" r:id="rId75"/>
    <p:sldLayoutId id="2147483868" r:id="rId76"/>
    <p:sldLayoutId id="2147483869" r:id="rId77"/>
    <p:sldLayoutId id="2147483870" r:id="rId78"/>
    <p:sldLayoutId id="2147483871" r:id="rId79"/>
    <p:sldLayoutId id="2147483872" r:id="rId80"/>
    <p:sldLayoutId id="2147483873" r:id="rId81"/>
    <p:sldLayoutId id="2147483874" r:id="rId82"/>
    <p:sldLayoutId id="2147483875" r:id="rId83"/>
    <p:sldLayoutId id="2147483876" r:id="rId84"/>
    <p:sldLayoutId id="2147483877" r:id="rId85"/>
    <p:sldLayoutId id="2147483878" r:id="rId86"/>
    <p:sldLayoutId id="2147483879" r:id="rId87"/>
    <p:sldLayoutId id="2147483880" r:id="rId88"/>
    <p:sldLayoutId id="2147483881" r:id="rId89"/>
    <p:sldLayoutId id="2147483882" r:id="rId90"/>
    <p:sldLayoutId id="2147483883" r:id="rId91"/>
    <p:sldLayoutId id="2147483884" r:id="rId92"/>
    <p:sldLayoutId id="2147483885" r:id="rId93"/>
    <p:sldLayoutId id="2147483886" r:id="rId94"/>
    <p:sldLayoutId id="2147483887" r:id="rId95"/>
    <p:sldLayoutId id="2147483888" r:id="rId96"/>
    <p:sldLayoutId id="2147483889" r:id="rId97"/>
    <p:sldLayoutId id="2147483890" r:id="rId9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8" rtl="0" eaLnBrk="1" latinLnBrk="0" hangingPunct="1">
        <a:lnSpc>
          <a:spcPct val="100000"/>
        </a:lnSpc>
        <a:spcBef>
          <a:spcPct val="0"/>
        </a:spcBef>
        <a:buNone/>
        <a:defRPr sz="2000" b="1" kern="1200" cap="all" baseline="0">
          <a:solidFill>
            <a:schemeClr val="tx2"/>
          </a:solidFill>
          <a:latin typeface="+mj-lt"/>
          <a:ea typeface="+mj-ea"/>
          <a:cs typeface="+mj-cs"/>
          <a:sym typeface="Trebuchet MS" panose="020B0603020202020204" pitchFamily="34" charset="0"/>
        </a:defRPr>
      </a:lvl1pPr>
    </p:titleStyle>
    <p:bodyStyle>
      <a:lvl1pPr marL="0" indent="0" algn="l" defTabSz="914358"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25" indent="-219446" algn="l" defTabSz="914358"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194" indent="-219446" algn="l" defTabSz="914358"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358"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8"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25" indent="-219446" algn="l" defTabSz="914358"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358"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358"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358"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264">
          <p15:clr>
            <a:srgbClr val="F26B43"/>
          </p15:clr>
        </p15:guide>
        <p15:guide id="3" pos="7416">
          <p15:clr>
            <a:srgbClr val="F26B43"/>
          </p15:clr>
        </p15:guide>
        <p15:guide id="4" orient="horz" pos="37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B222B7-7F98-C8F1-627D-E1D3F1A391F1}"/>
              </a:ext>
            </a:extLst>
          </p:cNvPr>
          <p:cNvGraphicFramePr>
            <a:graphicFrameLocks noChangeAspect="1"/>
          </p:cNvGraphicFramePr>
          <p:nvPr userDrawn="1">
            <p:custDataLst>
              <p:tags r:id="rId29"/>
            </p:custDataLst>
            <p:extLst>
              <p:ext uri="{D42A27DB-BD31-4B8C-83A1-F6EECF244321}">
                <p14:modId xmlns:p14="http://schemas.microsoft.com/office/powerpoint/2010/main" val="219942029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0" imgW="416" imgH="416" progId="TCLayout.ActiveDocument.1">
                  <p:embed/>
                </p:oleObj>
              </mc:Choice>
              <mc:Fallback>
                <p:oleObj name="think-cell Slide" r:id="rId30" imgW="416" imgH="416" progId="TCLayout.ActiveDocument.1">
                  <p:embed/>
                  <p:pic>
                    <p:nvPicPr>
                      <p:cNvPr id="7" name="think-cell data - do not delete" hidden="1">
                        <a:extLst>
                          <a:ext uri="{FF2B5EF4-FFF2-40B4-BE49-F238E27FC236}">
                            <a16:creationId xmlns:a16="http://schemas.microsoft.com/office/drawing/2014/main" id="{A2B222B7-7F98-C8F1-627D-E1D3F1A391F1}"/>
                          </a:ext>
                        </a:extLst>
                      </p:cNvPr>
                      <p:cNvPicPr/>
                      <p:nvPr/>
                    </p:nvPicPr>
                    <p:blipFill>
                      <a:blip r:embed="rId31"/>
                      <a:stretch>
                        <a:fillRect/>
                      </a:stretch>
                    </p:blipFill>
                    <p:spPr>
                      <a:xfrm>
                        <a:off x="1588"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1"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1" y="1825626"/>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
        <p:nvSpPr>
          <p:cNvPr id="4" name="Footer Placeholder 4">
            <a:extLst>
              <a:ext uri="{FF2B5EF4-FFF2-40B4-BE49-F238E27FC236}">
                <a16:creationId xmlns:a16="http://schemas.microsoft.com/office/drawing/2014/main" id="{76FCB857-0D21-D10D-9A97-7D80B6C37AEF}"/>
              </a:ext>
            </a:extLst>
          </p:cNvPr>
          <p:cNvSpPr>
            <a:spLocks noGrp="1"/>
          </p:cNvSpPr>
          <p:nvPr>
            <p:ph type="ftr" sz="quarter" idx="3"/>
          </p:nvPr>
        </p:nvSpPr>
        <p:spPr>
          <a:xfrm>
            <a:off x="6200173" y="6397385"/>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Tree>
    <p:extLst>
      <p:ext uri="{BB962C8B-B14F-4D97-AF65-F5344CB8AC3E}">
        <p14:creationId xmlns:p14="http://schemas.microsoft.com/office/powerpoint/2010/main" val="274270173"/>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 id="2147483909" r:id="rId18"/>
    <p:sldLayoutId id="2147483910" r:id="rId19"/>
    <p:sldLayoutId id="2147483911" r:id="rId20"/>
    <p:sldLayoutId id="2147483912" r:id="rId21"/>
    <p:sldLayoutId id="2147483913" r:id="rId22"/>
    <p:sldLayoutId id="2147483914" r:id="rId23"/>
    <p:sldLayoutId id="2147483915" r:id="rId24"/>
    <p:sldLayoutId id="2147483916" r:id="rId25"/>
    <p:sldLayoutId id="2147483917" r:id="rId26"/>
    <p:sldLayoutId id="2147483918" r:id="rId27"/>
  </p:sldLayoutIdLst>
  <p:hf hdr="0" dt="0"/>
  <p:txStyles>
    <p:titleStyle>
      <a:lvl1pPr algn="l" defTabSz="914358"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589" indent="-228589" algn="l" defTabSz="914358"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768"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2947"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126"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305"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pos="7392">
          <p15:clr>
            <a:srgbClr val="F26B43"/>
          </p15:clr>
        </p15:guide>
        <p15:guide id="6" orient="horz" pos="3888">
          <p15:clr>
            <a:srgbClr val="F26B43"/>
          </p15:clr>
        </p15:guide>
        <p15:guide id="7" orient="horz" pos="4032">
          <p15:clr>
            <a:srgbClr val="F26B43"/>
          </p15:clr>
        </p15:guide>
        <p15:guide id="8" orient="horz" pos="432">
          <p15:clr>
            <a:srgbClr val="F26B43"/>
          </p15:clr>
        </p15:guide>
        <p15:guide id="9" pos="2592">
          <p15:clr>
            <a:srgbClr val="F26B43"/>
          </p15:clr>
        </p15:guide>
        <p15:guide id="10" pos="2688">
          <p15:clr>
            <a:srgbClr val="F26B43"/>
          </p15:clr>
        </p15:guide>
        <p15:guide id="11" pos="4992">
          <p15:clr>
            <a:srgbClr val="F26B43"/>
          </p15:clr>
        </p15:guide>
        <p15:guide id="12" pos="5088">
          <p15:clr>
            <a:srgbClr val="F26B43"/>
          </p15:clr>
        </p15:guide>
        <p15:guide id="13" orient="horz" pos="115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22C15C6-4B4C-62C9-0DE8-7D381DF19559}"/>
              </a:ext>
            </a:extLst>
          </p:cNvPr>
          <p:cNvGraphicFramePr>
            <a:graphicFrameLocks noChangeAspect="1"/>
          </p:cNvGraphicFramePr>
          <p:nvPr userDrawn="1">
            <p:custDataLst>
              <p:tags r:id="rId30"/>
            </p:custDataLst>
            <p:extLst>
              <p:ext uri="{D42A27DB-BD31-4B8C-83A1-F6EECF244321}">
                <p14:modId xmlns:p14="http://schemas.microsoft.com/office/powerpoint/2010/main" val="392014286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1" imgW="416" imgH="416" progId="TCLayout.ActiveDocument.1">
                  <p:embed/>
                </p:oleObj>
              </mc:Choice>
              <mc:Fallback>
                <p:oleObj name="think-cell Slide" r:id="rId31" imgW="416" imgH="416" progId="TCLayout.ActiveDocument.1">
                  <p:embed/>
                  <p:pic>
                    <p:nvPicPr>
                      <p:cNvPr id="7" name="Object 6" hidden="1">
                        <a:extLst>
                          <a:ext uri="{FF2B5EF4-FFF2-40B4-BE49-F238E27FC236}">
                            <a16:creationId xmlns:a16="http://schemas.microsoft.com/office/drawing/2014/main" id="{822C15C6-4B4C-62C9-0DE8-7D381DF19559}"/>
                          </a:ext>
                        </a:extLst>
                      </p:cNvPr>
                      <p:cNvPicPr/>
                      <p:nvPr/>
                    </p:nvPicPr>
                    <p:blipFill>
                      <a:blip r:embed="rId32"/>
                      <a:stretch>
                        <a:fillRect/>
                      </a:stretch>
                    </p:blipFill>
                    <p:spPr>
                      <a:xfrm>
                        <a:off x="1588"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1"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1" y="1825626"/>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9C44B8F-6FB1-E142-BB39-118BD22826E4}"/>
              </a:ext>
            </a:extLst>
          </p:cNvPr>
          <p:cNvSpPr>
            <a:spLocks noGrp="1"/>
          </p:cNvSpPr>
          <p:nvPr>
            <p:ph type="ftr" sz="quarter" idx="3"/>
          </p:nvPr>
        </p:nvSpPr>
        <p:spPr>
          <a:xfrm>
            <a:off x="6200173" y="6397385"/>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5"/>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952239861"/>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Lst>
  <p:hf hdr="0" dt="0"/>
  <p:txStyles>
    <p:titleStyle>
      <a:lvl1pPr algn="l" defTabSz="914358"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589" indent="-228589" algn="l" defTabSz="914358"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768"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2947"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126"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305" indent="-228589" algn="l" defTabSz="914358"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pos="7392">
          <p15:clr>
            <a:srgbClr val="F26B43"/>
          </p15:clr>
        </p15:guide>
        <p15:guide id="6" orient="horz" pos="3888">
          <p15:clr>
            <a:srgbClr val="F26B43"/>
          </p15:clr>
        </p15:guide>
        <p15:guide id="7" orient="horz" pos="4032">
          <p15:clr>
            <a:srgbClr val="F26B43"/>
          </p15:clr>
        </p15:guide>
        <p15:guide id="8" orient="horz" pos="432">
          <p15:clr>
            <a:srgbClr val="F26B43"/>
          </p15:clr>
        </p15:guide>
        <p15:guide id="9" pos="2592">
          <p15:clr>
            <a:srgbClr val="F26B43"/>
          </p15:clr>
        </p15:guide>
        <p15:guide id="10" pos="2688">
          <p15:clr>
            <a:srgbClr val="F26B43"/>
          </p15:clr>
        </p15:guide>
        <p15:guide id="11" pos="4992">
          <p15:clr>
            <a:srgbClr val="F26B43"/>
          </p15:clr>
        </p15:guide>
        <p15:guide id="12" pos="5088">
          <p15:clr>
            <a:srgbClr val="F26B43"/>
          </p15:clr>
        </p15:guide>
        <p15:guide id="13" orient="horz" pos="115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E80B318-1067-E8E1-DA41-942D514F84A9}"/>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426EDD-06A7-3039-DD9F-132B770EBE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F6057E-E692-8489-6DAB-EF3722B00F7E}"/>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3285299-C811-429F-97DD-3986AB069EC6}" type="datetimeFigureOut">
              <a:rPr lang="en-US" smtClean="0"/>
              <a:t>10/2/2025</a:t>
            </a:fld>
            <a:endParaRPr lang="en-US"/>
          </a:p>
        </p:txBody>
      </p:sp>
      <p:sp>
        <p:nvSpPr>
          <p:cNvPr id="5" name="Footer Placeholder 4">
            <a:extLst>
              <a:ext uri="{FF2B5EF4-FFF2-40B4-BE49-F238E27FC236}">
                <a16:creationId xmlns:a16="http://schemas.microsoft.com/office/drawing/2014/main" id="{7906401E-B675-F04A-CEA8-F2E15527E34A}"/>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DA186865-E0D2-35A3-9560-E51805B61369}"/>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262BF35-A3DC-468D-9D00-AF3B5281D7F5}" type="slidenum">
              <a:rPr lang="en-US" smtClean="0"/>
              <a:t>‹#›</a:t>
            </a:fld>
            <a:endParaRPr lang="en-US"/>
          </a:p>
        </p:txBody>
      </p:sp>
    </p:spTree>
    <p:extLst>
      <p:ext uri="{BB962C8B-B14F-4D97-AF65-F5344CB8AC3E}">
        <p14:creationId xmlns:p14="http://schemas.microsoft.com/office/powerpoint/2010/main" val="973844982"/>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Lst>
  <p:txStyles>
    <p:titleStyle>
      <a:lvl1pPr algn="l" defTabSz="91435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8" indent="-228589" algn="l" defTabSz="91435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7" indent="-228589" algn="l" defTabSz="91435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6"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05"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820983975"/>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 id="2147483997" r:id="rId37"/>
    <p:sldLayoutId id="2147483998" r:id="rId38"/>
    <p:sldLayoutId id="2147483999" r:id="rId39"/>
    <p:sldLayoutId id="2147484000" r:id="rId40"/>
    <p:sldLayoutId id="2147484001" r:id="rId41"/>
    <p:sldLayoutId id="2147484002" r:id="rId42"/>
    <p:sldLayoutId id="2147484003" r:id="rId43"/>
    <p:sldLayoutId id="2147484004" r:id="rId44"/>
    <p:sldLayoutId id="2147484005" r:id="rId45"/>
    <p:sldLayoutId id="2147484006" r:id="rId46"/>
    <p:sldLayoutId id="2147484007" r:id="rId47"/>
    <p:sldLayoutId id="2147484008" r:id="rId48"/>
    <p:sldLayoutId id="2147484009" r:id="rId49"/>
    <p:sldLayoutId id="2147484010" r:id="rId50"/>
    <p:sldLayoutId id="2147484011" r:id="rId51"/>
    <p:sldLayoutId id="2147484012" r:id="rId52"/>
    <p:sldLayoutId id="2147484013" r:id="rId53"/>
    <p:sldLayoutId id="2147484014" r:id="rId54"/>
    <p:sldLayoutId id="2147484015" r:id="rId55"/>
    <p:sldLayoutId id="2147484016" r:id="rId56"/>
    <p:sldLayoutId id="2147484017" r:id="rId57"/>
    <p:sldLayoutId id="2147484018" r:id="rId58"/>
    <p:sldLayoutId id="2147484019" r:id="rId59"/>
    <p:sldLayoutId id="2147484020" r:id="rId60"/>
    <p:sldLayoutId id="2147484021" r:id="rId61"/>
    <p:sldLayoutId id="2147484022" r:id="rId62"/>
    <p:sldLayoutId id="2147484023" r:id="rId63"/>
    <p:sldLayoutId id="2147484024" r:id="rId64"/>
    <p:sldLayoutId id="2147484025" r:id="rId6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stretch>
            <a:fillRect/>
          </a:stretch>
        </p:blipFill>
        <p:spPr>
          <a:xfrm>
            <a:off x="0" y="0"/>
            <a:ext cx="12192000" cy="6858000"/>
          </a:xfrm>
          <a:prstGeom prst="rect">
            <a:avLst/>
          </a:prstGeom>
        </p:spPr>
      </p:pic>
    </p:spTree>
    <p:extLst>
      <p:ext uri="{BB962C8B-B14F-4D97-AF65-F5344CB8AC3E}">
        <p14:creationId xmlns:p14="http://schemas.microsoft.com/office/powerpoint/2010/main" val="3044109632"/>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Lst>
  <p:txStyles>
    <p:titleStyle>
      <a:lvl1pPr algn="l" defTabSz="91435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8" indent="-228589" algn="l" defTabSz="91435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7" indent="-228589" algn="l" defTabSz="91435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6"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05"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91.jpeg"/><Relationship Id="rId7" Type="http://schemas.openxmlformats.org/officeDocument/2006/relationships/image" Target="../media/image170.svg"/><Relationship Id="rId2" Type="http://schemas.openxmlformats.org/officeDocument/2006/relationships/notesSlide" Target="../notesSlides/notesSlide6.xml"/><Relationship Id="rId1" Type="http://schemas.openxmlformats.org/officeDocument/2006/relationships/slideLayout" Target="../slideLayouts/slideLayout91.xml"/><Relationship Id="rId6" Type="http://schemas.openxmlformats.org/officeDocument/2006/relationships/image" Target="../media/image169.png"/><Relationship Id="rId5" Type="http://schemas.openxmlformats.org/officeDocument/2006/relationships/image" Target="../media/image193.png"/><Relationship Id="rId4" Type="http://schemas.openxmlformats.org/officeDocument/2006/relationships/image" Target="../media/image192.emf"/></Relationships>
</file>

<file path=ppt/slides/_rels/slide11.xml.rels><?xml version="1.0" encoding="UTF-8" standalone="yes"?>
<Relationships xmlns="http://schemas.openxmlformats.org/package/2006/relationships"><Relationship Id="rId8" Type="http://schemas.openxmlformats.org/officeDocument/2006/relationships/image" Target="../media/image197.svg"/><Relationship Id="rId3" Type="http://schemas.openxmlformats.org/officeDocument/2006/relationships/image" Target="../media/image194.png"/><Relationship Id="rId7" Type="http://schemas.openxmlformats.org/officeDocument/2006/relationships/image" Target="../media/image196.png"/><Relationship Id="rId2" Type="http://schemas.openxmlformats.org/officeDocument/2006/relationships/notesSlide" Target="../notesSlides/notesSlide7.xml"/><Relationship Id="rId1" Type="http://schemas.openxmlformats.org/officeDocument/2006/relationships/slideLayout" Target="../slideLayouts/slideLayout129.xml"/><Relationship Id="rId6" Type="http://schemas.openxmlformats.org/officeDocument/2006/relationships/image" Target="../media/image170.svg"/><Relationship Id="rId5" Type="http://schemas.openxmlformats.org/officeDocument/2006/relationships/image" Target="../media/image169.png"/><Relationship Id="rId10" Type="http://schemas.openxmlformats.org/officeDocument/2006/relationships/image" Target="../media/image199.svg"/><Relationship Id="rId4" Type="http://schemas.openxmlformats.org/officeDocument/2006/relationships/image" Target="../media/image195.svg"/><Relationship Id="rId9" Type="http://schemas.openxmlformats.org/officeDocument/2006/relationships/image" Target="../media/image198.png"/></Relationships>
</file>

<file path=ppt/slides/_rels/slide12.xml.rels><?xml version="1.0" encoding="UTF-8" standalone="yes"?>
<Relationships xmlns="http://schemas.openxmlformats.org/package/2006/relationships"><Relationship Id="rId8" Type="http://schemas.openxmlformats.org/officeDocument/2006/relationships/image" Target="../media/image203.svg"/><Relationship Id="rId3" Type="http://schemas.openxmlformats.org/officeDocument/2006/relationships/image" Target="../media/image200.png"/><Relationship Id="rId7" Type="http://schemas.openxmlformats.org/officeDocument/2006/relationships/image" Target="../media/image202.png"/><Relationship Id="rId12" Type="http://schemas.openxmlformats.org/officeDocument/2006/relationships/image" Target="../media/image170.svg"/><Relationship Id="rId2" Type="http://schemas.openxmlformats.org/officeDocument/2006/relationships/notesSlide" Target="../notesSlides/notesSlide8.xml"/><Relationship Id="rId1" Type="http://schemas.openxmlformats.org/officeDocument/2006/relationships/slideLayout" Target="../slideLayouts/slideLayout71.xml"/><Relationship Id="rId6" Type="http://schemas.openxmlformats.org/officeDocument/2006/relationships/image" Target="../media/image195.svg"/><Relationship Id="rId11" Type="http://schemas.openxmlformats.org/officeDocument/2006/relationships/image" Target="../media/image169.png"/><Relationship Id="rId5" Type="http://schemas.openxmlformats.org/officeDocument/2006/relationships/image" Target="../media/image194.png"/><Relationship Id="rId10" Type="http://schemas.openxmlformats.org/officeDocument/2006/relationships/image" Target="../media/image205.svg"/><Relationship Id="rId4" Type="http://schemas.openxmlformats.org/officeDocument/2006/relationships/image" Target="../media/image201.svg"/><Relationship Id="rId9" Type="http://schemas.openxmlformats.org/officeDocument/2006/relationships/image" Target="../media/image204.png"/></Relationships>
</file>

<file path=ppt/slides/_rels/slide13.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77.xml"/></Relationships>
</file>

<file path=ppt/slides/_rels/slide14.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tags" Target="../tags/tag296.xml"/><Relationship Id="rId39" Type="http://schemas.openxmlformats.org/officeDocument/2006/relationships/chart" Target="../charts/chart7.xml"/><Relationship Id="rId3" Type="http://schemas.openxmlformats.org/officeDocument/2006/relationships/tags" Target="../tags/tag273.xml"/><Relationship Id="rId21" Type="http://schemas.openxmlformats.org/officeDocument/2006/relationships/tags" Target="../tags/tag291.xml"/><Relationship Id="rId34" Type="http://schemas.openxmlformats.org/officeDocument/2006/relationships/image" Target="../media/image207.emf"/><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tags" Target="../tags/tag295.xml"/><Relationship Id="rId33" Type="http://schemas.openxmlformats.org/officeDocument/2006/relationships/oleObject" Target="../embeddings/oleObject45.bin"/><Relationship Id="rId38" Type="http://schemas.openxmlformats.org/officeDocument/2006/relationships/chart" Target="../charts/chart6.xml"/><Relationship Id="rId2" Type="http://schemas.openxmlformats.org/officeDocument/2006/relationships/tags" Target="../tags/tag272.xml"/><Relationship Id="rId16" Type="http://schemas.openxmlformats.org/officeDocument/2006/relationships/tags" Target="../tags/tag286.xml"/><Relationship Id="rId20" Type="http://schemas.openxmlformats.org/officeDocument/2006/relationships/tags" Target="../tags/tag290.xml"/><Relationship Id="rId29" Type="http://schemas.openxmlformats.org/officeDocument/2006/relationships/tags" Target="../tags/tag299.xm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tags" Target="../tags/tag281.xml"/><Relationship Id="rId24" Type="http://schemas.openxmlformats.org/officeDocument/2006/relationships/tags" Target="../tags/tag294.xml"/><Relationship Id="rId32" Type="http://schemas.openxmlformats.org/officeDocument/2006/relationships/notesSlide" Target="../notesSlides/notesSlide9.xml"/><Relationship Id="rId37" Type="http://schemas.openxmlformats.org/officeDocument/2006/relationships/chart" Target="../charts/chart5.xml"/><Relationship Id="rId40" Type="http://schemas.openxmlformats.org/officeDocument/2006/relationships/chart" Target="../charts/chart8.xml"/><Relationship Id="rId5" Type="http://schemas.openxmlformats.org/officeDocument/2006/relationships/tags" Target="../tags/tag275.xml"/><Relationship Id="rId15" Type="http://schemas.openxmlformats.org/officeDocument/2006/relationships/tags" Target="../tags/tag285.xml"/><Relationship Id="rId23" Type="http://schemas.openxmlformats.org/officeDocument/2006/relationships/tags" Target="../tags/tag293.xml"/><Relationship Id="rId28" Type="http://schemas.openxmlformats.org/officeDocument/2006/relationships/tags" Target="../tags/tag298.xml"/><Relationship Id="rId36" Type="http://schemas.openxmlformats.org/officeDocument/2006/relationships/chart" Target="../charts/chart4.xml"/><Relationship Id="rId10" Type="http://schemas.openxmlformats.org/officeDocument/2006/relationships/tags" Target="../tags/tag280.xml"/><Relationship Id="rId19" Type="http://schemas.openxmlformats.org/officeDocument/2006/relationships/tags" Target="../tags/tag289.xml"/><Relationship Id="rId31" Type="http://schemas.openxmlformats.org/officeDocument/2006/relationships/slideLayout" Target="../slideLayouts/slideLayout138.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tags" Target="../tags/tag292.xml"/><Relationship Id="rId27" Type="http://schemas.openxmlformats.org/officeDocument/2006/relationships/tags" Target="../tags/tag297.xml"/><Relationship Id="rId30" Type="http://schemas.openxmlformats.org/officeDocument/2006/relationships/tags" Target="../tags/tag300.xml"/><Relationship Id="rId35" Type="http://schemas.openxmlformats.org/officeDocument/2006/relationships/chart" Target="../charts/chart3.xml"/></Relationships>
</file>

<file path=ppt/slides/_rels/slide15.xml.rels><?xml version="1.0" encoding="UTF-8" standalone="yes"?>
<Relationships xmlns="http://schemas.openxmlformats.org/package/2006/relationships"><Relationship Id="rId8" Type="http://schemas.openxmlformats.org/officeDocument/2006/relationships/image" Target="../media/image213.svg"/><Relationship Id="rId3" Type="http://schemas.openxmlformats.org/officeDocument/2006/relationships/image" Target="../media/image208.png"/><Relationship Id="rId7" Type="http://schemas.openxmlformats.org/officeDocument/2006/relationships/image" Target="../media/image212.png"/><Relationship Id="rId2" Type="http://schemas.openxmlformats.org/officeDocument/2006/relationships/notesSlide" Target="../notesSlides/notesSlide10.xml"/><Relationship Id="rId1" Type="http://schemas.openxmlformats.org/officeDocument/2006/relationships/slideLayout" Target="../slideLayouts/slideLayout71.xml"/><Relationship Id="rId6" Type="http://schemas.openxmlformats.org/officeDocument/2006/relationships/image" Target="../media/image211.svg"/><Relationship Id="rId5" Type="http://schemas.openxmlformats.org/officeDocument/2006/relationships/image" Target="../media/image210.png"/><Relationship Id="rId4" Type="http://schemas.openxmlformats.org/officeDocument/2006/relationships/image" Target="../media/image209.svg"/><Relationship Id="rId9" Type="http://schemas.openxmlformats.org/officeDocument/2006/relationships/image" Target="../media/image162.png"/></Relationships>
</file>

<file path=ppt/slides/_rels/slide16.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1.xml"/><Relationship Id="rId1" Type="http://schemas.openxmlformats.org/officeDocument/2006/relationships/slideLayout" Target="../slideLayouts/slideLayout77.xml"/><Relationship Id="rId4" Type="http://schemas.openxmlformats.org/officeDocument/2006/relationships/image" Target="../media/image215.svg"/></Relationships>
</file>

<file path=ppt/slides/_rels/slide17.xml.rels><?xml version="1.0" encoding="UTF-8" standalone="yes"?>
<Relationships xmlns="http://schemas.openxmlformats.org/package/2006/relationships"><Relationship Id="rId8" Type="http://schemas.openxmlformats.org/officeDocument/2006/relationships/image" Target="../media/image215.svg"/><Relationship Id="rId3" Type="http://schemas.openxmlformats.org/officeDocument/2006/relationships/image" Target="../media/image216.png"/><Relationship Id="rId7" Type="http://schemas.openxmlformats.org/officeDocument/2006/relationships/image" Target="../media/image214.png"/><Relationship Id="rId2" Type="http://schemas.openxmlformats.org/officeDocument/2006/relationships/notesSlide" Target="../notesSlides/notesSlide12.xml"/><Relationship Id="rId1" Type="http://schemas.openxmlformats.org/officeDocument/2006/relationships/slideLayout" Target="../slideLayouts/slideLayout823.xml"/><Relationship Id="rId6" Type="http://schemas.openxmlformats.org/officeDocument/2006/relationships/image" Target="../media/image217.png"/><Relationship Id="rId5" Type="http://schemas.openxmlformats.org/officeDocument/2006/relationships/hyperlink" Target="https://www.fao.org/animal-health/situation-updates/global-aiv-with-zoonotic-potential" TargetMode="External"/><Relationship Id="rId4" Type="http://schemas.openxmlformats.org/officeDocument/2006/relationships/hyperlink" Target="https://www.woah.org/app/uploads/2025/09/hpai-report-74.pdf"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3.xml"/><Relationship Id="rId1" Type="http://schemas.openxmlformats.org/officeDocument/2006/relationships/slideLayout" Target="../slideLayouts/slideLayout823.xml"/><Relationship Id="rId5" Type="http://schemas.openxmlformats.org/officeDocument/2006/relationships/image" Target="../media/image215.svg"/><Relationship Id="rId4" Type="http://schemas.openxmlformats.org/officeDocument/2006/relationships/image" Target="../media/image214.png"/></Relationships>
</file>

<file path=ppt/slides/_rels/slide19.xml.rels><?xml version="1.0" encoding="UTF-8" standalone="yes"?>
<Relationships xmlns="http://schemas.openxmlformats.org/package/2006/relationships"><Relationship Id="rId3" Type="http://schemas.openxmlformats.org/officeDocument/2006/relationships/image" Target="../media/image215.svg"/><Relationship Id="rId2" Type="http://schemas.openxmlformats.org/officeDocument/2006/relationships/image" Target="../media/image214.png"/><Relationship Id="rId1" Type="http://schemas.openxmlformats.org/officeDocument/2006/relationships/slideLayout" Target="../slideLayouts/slideLayout857.xml"/></Relationships>
</file>

<file path=ppt/slides/_rels/slide2.xml.rels><?xml version="1.0" encoding="UTF-8" standalone="yes"?>
<Relationships xmlns="http://schemas.openxmlformats.org/package/2006/relationships"><Relationship Id="rId8" Type="http://schemas.openxmlformats.org/officeDocument/2006/relationships/image" Target="../media/image156.svg"/><Relationship Id="rId13" Type="http://schemas.openxmlformats.org/officeDocument/2006/relationships/image" Target="../media/image161.svg"/><Relationship Id="rId18" Type="http://schemas.openxmlformats.org/officeDocument/2006/relationships/image" Target="../media/image166.svg"/><Relationship Id="rId3" Type="http://schemas.openxmlformats.org/officeDocument/2006/relationships/image" Target="../media/image9.png"/><Relationship Id="rId7" Type="http://schemas.openxmlformats.org/officeDocument/2006/relationships/image" Target="../media/image155.png"/><Relationship Id="rId12" Type="http://schemas.openxmlformats.org/officeDocument/2006/relationships/image" Target="../media/image160.png"/><Relationship Id="rId17" Type="http://schemas.openxmlformats.org/officeDocument/2006/relationships/image" Target="../media/image165.png"/><Relationship Id="rId2" Type="http://schemas.openxmlformats.org/officeDocument/2006/relationships/notesSlide" Target="../notesSlides/notesSlide1.xml"/><Relationship Id="rId16" Type="http://schemas.openxmlformats.org/officeDocument/2006/relationships/image" Target="../media/image164.svg"/><Relationship Id="rId1" Type="http://schemas.openxmlformats.org/officeDocument/2006/relationships/slideLayout" Target="../slideLayouts/slideLayout77.xml"/><Relationship Id="rId6" Type="http://schemas.openxmlformats.org/officeDocument/2006/relationships/image" Target="../media/image154.svg"/><Relationship Id="rId11" Type="http://schemas.openxmlformats.org/officeDocument/2006/relationships/image" Target="../media/image159.svg"/><Relationship Id="rId5" Type="http://schemas.openxmlformats.org/officeDocument/2006/relationships/image" Target="../media/image153.png"/><Relationship Id="rId15" Type="http://schemas.openxmlformats.org/officeDocument/2006/relationships/image" Target="../media/image163.png"/><Relationship Id="rId10" Type="http://schemas.openxmlformats.org/officeDocument/2006/relationships/image" Target="../media/image158.png"/><Relationship Id="rId4" Type="http://schemas.openxmlformats.org/officeDocument/2006/relationships/image" Target="../media/image10.svg"/><Relationship Id="rId9" Type="http://schemas.openxmlformats.org/officeDocument/2006/relationships/image" Target="../media/image157.png"/><Relationship Id="rId14" Type="http://schemas.openxmlformats.org/officeDocument/2006/relationships/image" Target="../media/image162.png"/></Relationships>
</file>

<file path=ppt/slides/_rels/slide2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image" Target="../media/image219.png"/><Relationship Id="rId1" Type="http://schemas.openxmlformats.org/officeDocument/2006/relationships/slideLayout" Target="../slideLayouts/slideLayout816.xml"/><Relationship Id="rId4" Type="http://schemas.openxmlformats.org/officeDocument/2006/relationships/image" Target="../media/image215.svg"/></Relationships>
</file>

<file path=ppt/slides/_rels/slide21.xml.rels><?xml version="1.0" encoding="UTF-8" standalone="yes"?>
<Relationships xmlns="http://schemas.openxmlformats.org/package/2006/relationships"><Relationship Id="rId3" Type="http://schemas.openxmlformats.org/officeDocument/2006/relationships/hyperlink" Target="https://www.who.int/publications/i/item/WER8901" TargetMode="External"/><Relationship Id="rId7" Type="http://schemas.openxmlformats.org/officeDocument/2006/relationships/image" Target="../media/image215.svg"/><Relationship Id="rId2" Type="http://schemas.openxmlformats.org/officeDocument/2006/relationships/hyperlink" Target="https://www.who.int/publications/i/item/WER8424" TargetMode="External"/><Relationship Id="rId1" Type="http://schemas.openxmlformats.org/officeDocument/2006/relationships/slideLayout" Target="../slideLayouts/slideLayout892.xml"/><Relationship Id="rId6" Type="http://schemas.openxmlformats.org/officeDocument/2006/relationships/image" Target="../media/image214.png"/><Relationship Id="rId5" Type="http://schemas.openxmlformats.org/officeDocument/2006/relationships/image" Target="../media/image221.png"/><Relationship Id="rId4" Type="http://schemas.openxmlformats.org/officeDocument/2006/relationships/image" Target="../media/image220.png"/></Relationships>
</file>

<file path=ppt/slides/_rels/slide22.xml.rels><?xml version="1.0" encoding="UTF-8" standalone="yes"?>
<Relationships xmlns="http://schemas.openxmlformats.org/package/2006/relationships"><Relationship Id="rId8" Type="http://schemas.openxmlformats.org/officeDocument/2006/relationships/image" Target="../media/image227.svg"/><Relationship Id="rId3" Type="http://schemas.openxmlformats.org/officeDocument/2006/relationships/image" Target="../media/image222.png"/><Relationship Id="rId7" Type="http://schemas.openxmlformats.org/officeDocument/2006/relationships/image" Target="../media/image226.png"/><Relationship Id="rId2" Type="http://schemas.openxmlformats.org/officeDocument/2006/relationships/notesSlide" Target="../notesSlides/notesSlide14.xml"/><Relationship Id="rId1" Type="http://schemas.openxmlformats.org/officeDocument/2006/relationships/slideLayout" Target="../slideLayouts/slideLayout71.xml"/><Relationship Id="rId6" Type="http://schemas.openxmlformats.org/officeDocument/2006/relationships/image" Target="../media/image225.svg"/><Relationship Id="rId5" Type="http://schemas.openxmlformats.org/officeDocument/2006/relationships/image" Target="../media/image224.png"/><Relationship Id="rId10" Type="http://schemas.openxmlformats.org/officeDocument/2006/relationships/image" Target="../media/image215.svg"/><Relationship Id="rId4" Type="http://schemas.openxmlformats.org/officeDocument/2006/relationships/image" Target="../media/image223.svg"/><Relationship Id="rId9" Type="http://schemas.openxmlformats.org/officeDocument/2006/relationships/image" Target="../media/image214.png"/></Relationships>
</file>

<file path=ppt/slides/_rels/slide23.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5.xml"/><Relationship Id="rId1" Type="http://schemas.openxmlformats.org/officeDocument/2006/relationships/slideLayout" Target="../slideLayouts/slideLayout77.xml"/><Relationship Id="rId4" Type="http://schemas.openxmlformats.org/officeDocument/2006/relationships/image" Target="../media/image229.svg"/></Relationships>
</file>

<file path=ppt/slides/_rels/slide24.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image" Target="../media/image230.png"/><Relationship Id="rId1" Type="http://schemas.openxmlformats.org/officeDocument/2006/relationships/slideLayout" Target="../slideLayouts/slideLayout242.xml"/><Relationship Id="rId6" Type="http://schemas.openxmlformats.org/officeDocument/2006/relationships/image" Target="../media/image233.svg"/><Relationship Id="rId5" Type="http://schemas.openxmlformats.org/officeDocument/2006/relationships/image" Target="../media/image232.png"/><Relationship Id="rId4" Type="http://schemas.openxmlformats.org/officeDocument/2006/relationships/hyperlink" Target="https://data.who.int/dashboards/covid19/deaths?n=o" TargetMode="Externa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82.xml"/><Relationship Id="rId1" Type="http://schemas.openxmlformats.org/officeDocument/2006/relationships/tags" Target="../tags/tag301.xml"/><Relationship Id="rId6" Type="http://schemas.openxmlformats.org/officeDocument/2006/relationships/image" Target="../media/image233.svg"/><Relationship Id="rId5" Type="http://schemas.openxmlformats.org/officeDocument/2006/relationships/image" Target="../media/image232.png"/><Relationship Id="rId4" Type="http://schemas.openxmlformats.org/officeDocument/2006/relationships/image" Target="../media/image234.bmp"/></Relationships>
</file>

<file path=ppt/slides/_rels/slide26.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235.png"/><Relationship Id="rId7" Type="http://schemas.openxmlformats.org/officeDocument/2006/relationships/image" Target="../media/image239.png"/><Relationship Id="rId2" Type="http://schemas.openxmlformats.org/officeDocument/2006/relationships/notesSlide" Target="../notesSlides/notesSlide17.xml"/><Relationship Id="rId1" Type="http://schemas.openxmlformats.org/officeDocument/2006/relationships/slideLayout" Target="../slideLayouts/slideLayout284.xml"/><Relationship Id="rId6" Type="http://schemas.openxmlformats.org/officeDocument/2006/relationships/image" Target="../media/image238.svg"/><Relationship Id="rId5" Type="http://schemas.openxmlformats.org/officeDocument/2006/relationships/image" Target="../media/image237.png"/><Relationship Id="rId10" Type="http://schemas.openxmlformats.org/officeDocument/2006/relationships/image" Target="../media/image233.svg"/><Relationship Id="rId4" Type="http://schemas.openxmlformats.org/officeDocument/2006/relationships/image" Target="../media/image236.svg"/><Relationship Id="rId9" Type="http://schemas.openxmlformats.org/officeDocument/2006/relationships/image" Target="../media/image232.png"/></Relationships>
</file>

<file path=ppt/slides/_rels/slide27.xml.rels><?xml version="1.0" encoding="UTF-8" standalone="yes"?>
<Relationships xmlns="http://schemas.openxmlformats.org/package/2006/relationships"><Relationship Id="rId8" Type="http://schemas.openxmlformats.org/officeDocument/2006/relationships/image" Target="../media/image244.svg"/><Relationship Id="rId3" Type="http://schemas.openxmlformats.org/officeDocument/2006/relationships/image" Target="../media/image202.png"/><Relationship Id="rId7" Type="http://schemas.openxmlformats.org/officeDocument/2006/relationships/image" Target="../media/image243.png"/><Relationship Id="rId12" Type="http://schemas.openxmlformats.org/officeDocument/2006/relationships/image" Target="../media/image233.svg"/><Relationship Id="rId2" Type="http://schemas.openxmlformats.org/officeDocument/2006/relationships/notesSlide" Target="../notesSlides/notesSlide18.xml"/><Relationship Id="rId1" Type="http://schemas.openxmlformats.org/officeDocument/2006/relationships/slideLayout" Target="../slideLayouts/slideLayout71.xml"/><Relationship Id="rId6" Type="http://schemas.openxmlformats.org/officeDocument/2006/relationships/image" Target="../media/image242.svg"/><Relationship Id="rId11" Type="http://schemas.openxmlformats.org/officeDocument/2006/relationships/image" Target="../media/image232.png"/><Relationship Id="rId5" Type="http://schemas.openxmlformats.org/officeDocument/2006/relationships/image" Target="../media/image241.png"/><Relationship Id="rId10" Type="http://schemas.openxmlformats.org/officeDocument/2006/relationships/image" Target="../media/image246.svg"/><Relationship Id="rId4" Type="http://schemas.openxmlformats.org/officeDocument/2006/relationships/image" Target="../media/image203.svg"/><Relationship Id="rId9" Type="http://schemas.openxmlformats.org/officeDocument/2006/relationships/image" Target="../media/image245.png"/></Relationships>
</file>

<file path=ppt/slides/_rels/slide28.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77.xml"/></Relationships>
</file>

<file path=ppt/slides/_rels/slide29.xml.rels><?xml version="1.0" encoding="UTF-8" standalone="yes"?>
<Relationships xmlns="http://schemas.openxmlformats.org/package/2006/relationships"><Relationship Id="rId3" Type="http://schemas.openxmlformats.org/officeDocument/2006/relationships/image" Target="../media/image247.jpeg"/><Relationship Id="rId2" Type="http://schemas.openxmlformats.org/officeDocument/2006/relationships/notesSlide" Target="../notesSlides/notesSlide19.xml"/><Relationship Id="rId1" Type="http://schemas.openxmlformats.org/officeDocument/2006/relationships/slideLayout" Target="../slideLayouts/slideLayout312.xml"/><Relationship Id="rId4" Type="http://schemas.openxmlformats.org/officeDocument/2006/relationships/image" Target="../media/image157.png"/></Relationships>
</file>

<file path=ppt/slides/_rels/slide3.xml.rels><?xml version="1.0" encoding="UTF-8" standalone="yes"?>
<Relationships xmlns="http://schemas.openxmlformats.org/package/2006/relationships"><Relationship Id="rId2" Type="http://schemas.openxmlformats.org/officeDocument/2006/relationships/image" Target="../media/image167.jpeg"/><Relationship Id="rId1" Type="http://schemas.openxmlformats.org/officeDocument/2006/relationships/slideLayout" Target="../slideLayouts/slideLayout62.xml"/></Relationships>
</file>

<file path=ppt/slides/_rels/slide30.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367.xml"/></Relationships>
</file>

<file path=ppt/slides/_rels/slide31.xml.rels><?xml version="1.0" encoding="UTF-8" standalone="yes"?>
<Relationships xmlns="http://schemas.openxmlformats.org/package/2006/relationships"><Relationship Id="rId8" Type="http://schemas.openxmlformats.org/officeDocument/2006/relationships/image" Target="../media/image249.svg"/><Relationship Id="rId3" Type="http://schemas.openxmlformats.org/officeDocument/2006/relationships/image" Target="../media/image241.png"/><Relationship Id="rId7" Type="http://schemas.openxmlformats.org/officeDocument/2006/relationships/image" Target="../media/image248.png"/><Relationship Id="rId12" Type="http://schemas.openxmlformats.org/officeDocument/2006/relationships/image" Target="../media/image253.svg"/><Relationship Id="rId2" Type="http://schemas.openxmlformats.org/officeDocument/2006/relationships/notesSlide" Target="../notesSlides/notesSlide20.xml"/><Relationship Id="rId1" Type="http://schemas.openxmlformats.org/officeDocument/2006/relationships/slideLayout" Target="../slideLayouts/slideLayout71.xml"/><Relationship Id="rId6" Type="http://schemas.openxmlformats.org/officeDocument/2006/relationships/image" Target="../media/image246.svg"/><Relationship Id="rId11" Type="http://schemas.openxmlformats.org/officeDocument/2006/relationships/image" Target="../media/image252.png"/><Relationship Id="rId5" Type="http://schemas.openxmlformats.org/officeDocument/2006/relationships/image" Target="../media/image245.png"/><Relationship Id="rId10" Type="http://schemas.openxmlformats.org/officeDocument/2006/relationships/image" Target="../media/image251.svg"/><Relationship Id="rId4" Type="http://schemas.openxmlformats.org/officeDocument/2006/relationships/image" Target="../media/image242.svg"/><Relationship Id="rId9" Type="http://schemas.openxmlformats.org/officeDocument/2006/relationships/image" Target="../media/image250.png"/></Relationships>
</file>

<file path=ppt/slides/_rels/slide32.xml.rels><?xml version="1.0" encoding="UTF-8" standalone="yes"?>
<Relationships xmlns="http://schemas.openxmlformats.org/package/2006/relationships"><Relationship Id="rId3" Type="http://schemas.openxmlformats.org/officeDocument/2006/relationships/image" Target="../media/image255.svg"/><Relationship Id="rId2" Type="http://schemas.openxmlformats.org/officeDocument/2006/relationships/image" Target="../media/image254.png"/><Relationship Id="rId1" Type="http://schemas.openxmlformats.org/officeDocument/2006/relationships/slideLayout" Target="../slideLayouts/slideLayout77.xml"/></Relationships>
</file>

<file path=ppt/slides/_rels/slide33.xml.rels><?xml version="1.0" encoding="UTF-8" standalone="yes"?>
<Relationships xmlns="http://schemas.openxmlformats.org/package/2006/relationships"><Relationship Id="rId8" Type="http://schemas.openxmlformats.org/officeDocument/2006/relationships/image" Target="../media/image165.png"/><Relationship Id="rId3" Type="http://schemas.microsoft.com/office/2018/10/relationships/comments" Target="../comments/modernComment_7FFFF078_5A764120.xml"/><Relationship Id="rId7" Type="http://schemas.openxmlformats.org/officeDocument/2006/relationships/image" Target="../media/image259.svg"/><Relationship Id="rId2" Type="http://schemas.openxmlformats.org/officeDocument/2006/relationships/notesSlide" Target="../notesSlides/notesSlide21.xml"/><Relationship Id="rId1" Type="http://schemas.openxmlformats.org/officeDocument/2006/relationships/slideLayout" Target="../slideLayouts/slideLayout376.xml"/><Relationship Id="rId6" Type="http://schemas.openxmlformats.org/officeDocument/2006/relationships/image" Target="../media/image258.png"/><Relationship Id="rId5" Type="http://schemas.openxmlformats.org/officeDocument/2006/relationships/image" Target="../media/image257.png"/><Relationship Id="rId4" Type="http://schemas.openxmlformats.org/officeDocument/2006/relationships/image" Target="../media/image256.png"/><Relationship Id="rId9" Type="http://schemas.openxmlformats.org/officeDocument/2006/relationships/image" Target="../media/image166.svg"/></Relationships>
</file>

<file path=ppt/slides/_rels/slide34.xml.rels><?xml version="1.0" encoding="UTF-8" standalone="yes"?>
<Relationships xmlns="http://schemas.openxmlformats.org/package/2006/relationships"><Relationship Id="rId3" Type="http://schemas.microsoft.com/office/2018/10/relationships/comments" Target="../comments/modernComment_7FFE64FC_E2C6D4CC.xml"/><Relationship Id="rId2" Type="http://schemas.openxmlformats.org/officeDocument/2006/relationships/notesSlide" Target="../notesSlides/notesSlide22.xml"/><Relationship Id="rId1" Type="http://schemas.openxmlformats.org/officeDocument/2006/relationships/slideLayout" Target="../slideLayouts/slideLayout378.xml"/><Relationship Id="rId5" Type="http://schemas.openxmlformats.org/officeDocument/2006/relationships/image" Target="../media/image166.svg"/><Relationship Id="rId4" Type="http://schemas.openxmlformats.org/officeDocument/2006/relationships/image" Target="../media/image165.png"/></Relationships>
</file>

<file path=ppt/slides/_rels/slide35.xml.rels><?xml version="1.0" encoding="UTF-8" standalone="yes"?>
<Relationships xmlns="http://schemas.openxmlformats.org/package/2006/relationships"><Relationship Id="rId8" Type="http://schemas.openxmlformats.org/officeDocument/2006/relationships/image" Target="../media/image166.svg"/><Relationship Id="rId3" Type="http://schemas.openxmlformats.org/officeDocument/2006/relationships/image" Target="../media/image260.png"/><Relationship Id="rId7" Type="http://schemas.openxmlformats.org/officeDocument/2006/relationships/image" Target="../media/image165.png"/><Relationship Id="rId2" Type="http://schemas.openxmlformats.org/officeDocument/2006/relationships/notesSlide" Target="../notesSlides/notesSlide23.xml"/><Relationship Id="rId1" Type="http://schemas.openxmlformats.org/officeDocument/2006/relationships/slideLayout" Target="../slideLayouts/slideLayout376.xml"/><Relationship Id="rId6" Type="http://schemas.openxmlformats.org/officeDocument/2006/relationships/image" Target="../media/image263.png"/><Relationship Id="rId5" Type="http://schemas.openxmlformats.org/officeDocument/2006/relationships/image" Target="../media/image262.png"/><Relationship Id="rId4" Type="http://schemas.openxmlformats.org/officeDocument/2006/relationships/image" Target="../media/image261.png"/></Relationships>
</file>

<file path=ppt/slides/_rels/slide36.xml.rels><?xml version="1.0" encoding="UTF-8" standalone="yes"?>
<Relationships xmlns="http://schemas.openxmlformats.org/package/2006/relationships"><Relationship Id="rId8" Type="http://schemas.openxmlformats.org/officeDocument/2006/relationships/image" Target="../media/image267.svg"/><Relationship Id="rId3" Type="http://schemas.openxmlformats.org/officeDocument/2006/relationships/image" Target="../media/image241.png"/><Relationship Id="rId7" Type="http://schemas.openxmlformats.org/officeDocument/2006/relationships/image" Target="../media/image266.png"/><Relationship Id="rId2" Type="http://schemas.openxmlformats.org/officeDocument/2006/relationships/notesSlide" Target="../notesSlides/notesSlide24.xml"/><Relationship Id="rId1" Type="http://schemas.openxmlformats.org/officeDocument/2006/relationships/slideLayout" Target="../slideLayouts/slideLayout71.xml"/><Relationship Id="rId6" Type="http://schemas.openxmlformats.org/officeDocument/2006/relationships/image" Target="../media/image265.svg"/><Relationship Id="rId5" Type="http://schemas.openxmlformats.org/officeDocument/2006/relationships/image" Target="../media/image264.png"/><Relationship Id="rId10" Type="http://schemas.openxmlformats.org/officeDocument/2006/relationships/image" Target="../media/image269.svg"/><Relationship Id="rId4" Type="http://schemas.openxmlformats.org/officeDocument/2006/relationships/image" Target="../media/image242.svg"/><Relationship Id="rId9" Type="http://schemas.openxmlformats.org/officeDocument/2006/relationships/image" Target="../media/image268.png"/></Relationships>
</file>

<file path=ppt/slides/_rels/slide37.xml.rels><?xml version="1.0" encoding="UTF-8" standalone="yes"?>
<Relationships xmlns="http://schemas.openxmlformats.org/package/2006/relationships"><Relationship Id="rId3" Type="http://schemas.openxmlformats.org/officeDocument/2006/relationships/image" Target="../media/image271.svg"/><Relationship Id="rId2" Type="http://schemas.openxmlformats.org/officeDocument/2006/relationships/image" Target="../media/image270.png"/><Relationship Id="rId1" Type="http://schemas.openxmlformats.org/officeDocument/2006/relationships/slideLayout" Target="../slideLayouts/slideLayout7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12.xml"/></Relationships>
</file>

<file path=ppt/slides/_rels/slide39.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image" Target="../media/image272.png"/><Relationship Id="rId1" Type="http://schemas.openxmlformats.org/officeDocument/2006/relationships/slideLayout" Target="../slideLayouts/slideLayout452.xml"/><Relationship Id="rId4" Type="http://schemas.openxmlformats.org/officeDocument/2006/relationships/image" Target="../media/image271.svg"/></Relationships>
</file>

<file path=ppt/slides/_rels/slide4.xml.rels><?xml version="1.0" encoding="UTF-8" standalone="yes"?>
<Relationships xmlns="http://schemas.openxmlformats.org/package/2006/relationships"><Relationship Id="rId2" Type="http://schemas.openxmlformats.org/officeDocument/2006/relationships/image" Target="../media/image168.jpeg"/><Relationship Id="rId1" Type="http://schemas.openxmlformats.org/officeDocument/2006/relationships/slideLayout" Target="../slideLayouts/slideLayout62.xml"/></Relationships>
</file>

<file path=ppt/slides/_rels/slide40.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image" Target="../media/image273.png"/><Relationship Id="rId1" Type="http://schemas.openxmlformats.org/officeDocument/2006/relationships/slideLayout" Target="../slideLayouts/slideLayout512.xml"/><Relationship Id="rId6" Type="http://schemas.openxmlformats.org/officeDocument/2006/relationships/image" Target="../media/image277.png"/><Relationship Id="rId5" Type="http://schemas.openxmlformats.org/officeDocument/2006/relationships/image" Target="../media/image276.png"/><Relationship Id="rId4" Type="http://schemas.openxmlformats.org/officeDocument/2006/relationships/image" Target="../media/image275.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10.xml"/></Relationships>
</file>

<file path=ppt/slides/_rels/slide45.xml.rels><?xml version="1.0" encoding="UTF-8" standalone="yes"?>
<Relationships xmlns="http://schemas.openxmlformats.org/package/2006/relationships"><Relationship Id="rId8" Type="http://schemas.openxmlformats.org/officeDocument/2006/relationships/image" Target="../media/image283.svg"/><Relationship Id="rId13" Type="http://schemas.openxmlformats.org/officeDocument/2006/relationships/image" Target="../media/image270.png"/><Relationship Id="rId3" Type="http://schemas.openxmlformats.org/officeDocument/2006/relationships/image" Target="../media/image278.png"/><Relationship Id="rId7" Type="http://schemas.openxmlformats.org/officeDocument/2006/relationships/image" Target="../media/image282.png"/><Relationship Id="rId12" Type="http://schemas.openxmlformats.org/officeDocument/2006/relationships/image" Target="../media/image285.svg"/><Relationship Id="rId2" Type="http://schemas.openxmlformats.org/officeDocument/2006/relationships/notesSlide" Target="../notesSlides/notesSlide25.xml"/><Relationship Id="rId1" Type="http://schemas.openxmlformats.org/officeDocument/2006/relationships/slideLayout" Target="../slideLayouts/slideLayout71.xml"/><Relationship Id="rId6" Type="http://schemas.openxmlformats.org/officeDocument/2006/relationships/image" Target="../media/image281.svg"/><Relationship Id="rId11" Type="http://schemas.openxmlformats.org/officeDocument/2006/relationships/image" Target="../media/image284.png"/><Relationship Id="rId5" Type="http://schemas.openxmlformats.org/officeDocument/2006/relationships/image" Target="../media/image280.png"/><Relationship Id="rId10" Type="http://schemas.openxmlformats.org/officeDocument/2006/relationships/image" Target="../media/image242.svg"/><Relationship Id="rId4" Type="http://schemas.openxmlformats.org/officeDocument/2006/relationships/image" Target="../media/image279.svg"/><Relationship Id="rId9" Type="http://schemas.openxmlformats.org/officeDocument/2006/relationships/image" Target="../media/image241.png"/><Relationship Id="rId14" Type="http://schemas.openxmlformats.org/officeDocument/2006/relationships/image" Target="../media/image271.svg"/></Relationships>
</file>

<file path=ppt/slides/_rels/slide46.xml.rels><?xml version="1.0" encoding="UTF-8" standalone="yes"?>
<Relationships xmlns="http://schemas.openxmlformats.org/package/2006/relationships"><Relationship Id="rId8" Type="http://schemas.openxmlformats.org/officeDocument/2006/relationships/image" Target="../media/image271.svg"/><Relationship Id="rId3" Type="http://schemas.openxmlformats.org/officeDocument/2006/relationships/image" Target="../media/image286.png"/><Relationship Id="rId7" Type="http://schemas.openxmlformats.org/officeDocument/2006/relationships/image" Target="../media/image270.png"/><Relationship Id="rId2" Type="http://schemas.openxmlformats.org/officeDocument/2006/relationships/notesSlide" Target="../notesSlides/notesSlide26.xml"/><Relationship Id="rId1" Type="http://schemas.openxmlformats.org/officeDocument/2006/relationships/slideLayout" Target="../slideLayouts/slideLayout71.xml"/><Relationship Id="rId6" Type="http://schemas.openxmlformats.org/officeDocument/2006/relationships/image" Target="../media/image289.svg"/><Relationship Id="rId5" Type="http://schemas.openxmlformats.org/officeDocument/2006/relationships/image" Target="../media/image288.png"/><Relationship Id="rId4" Type="http://schemas.openxmlformats.org/officeDocument/2006/relationships/image" Target="../media/image287.svg"/></Relationships>
</file>

<file path=ppt/slides/_rels/slide47.xml.rels><?xml version="1.0" encoding="UTF-8" standalone="yes"?>
<Relationships xmlns="http://schemas.openxmlformats.org/package/2006/relationships"><Relationship Id="rId3" Type="http://schemas.openxmlformats.org/officeDocument/2006/relationships/image" Target="../media/image291.svg"/><Relationship Id="rId2" Type="http://schemas.openxmlformats.org/officeDocument/2006/relationships/image" Target="../media/image290.png"/><Relationship Id="rId1" Type="http://schemas.openxmlformats.org/officeDocument/2006/relationships/slideLayout" Target="../slideLayouts/slideLayout77.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52.xml"/><Relationship Id="rId1" Type="http://schemas.openxmlformats.org/officeDocument/2006/relationships/themeOverride" Target="../theme/themeOverride1.xml"/><Relationship Id="rId5" Type="http://schemas.openxmlformats.org/officeDocument/2006/relationships/hyperlink" Target="https://www.gsk.com/en-gb/media/press-releases/price-of-world-s-first-malaria-vaccine-rts-s-for-children-in-endemic-countries-to-be-reduced/" TargetMode="External"/><Relationship Id="rId4" Type="http://schemas.openxmlformats.org/officeDocument/2006/relationships/hyperlink" Target="https://app.powerbi.com/view?r=eyJrIjoiZmZjN2RkOGYtYzM4NS00MWYxLThhYmMtYzg3YjMwYjU2ZDA4IiwidCI6ImY2MTBjMGI3LWJkMjQtNGIzOS04MTBiLTNkYzI4MGFmYjU5MCIsImMiOjh9"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hyperlink" Target="https://www.who.int/teams/immunization-vaccines-and-biologicals/policies/position-papers/malaria" TargetMode="External"/><Relationship Id="rId1" Type="http://schemas.openxmlformats.org/officeDocument/2006/relationships/slideLayout" Target="../slideLayouts/slideLayout709.xml"/></Relationships>
</file>

<file path=ppt/slides/_rels/slide5.xml.rels><?xml version="1.0" encoding="UTF-8" standalone="yes"?>
<Relationships xmlns="http://schemas.openxmlformats.org/package/2006/relationships"><Relationship Id="rId3" Type="http://schemas.openxmlformats.org/officeDocument/2006/relationships/image" Target="../media/image170.svg"/><Relationship Id="rId2" Type="http://schemas.openxmlformats.org/officeDocument/2006/relationships/image" Target="../media/image169.png"/><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3" Type="http://schemas.openxmlformats.org/officeDocument/2006/relationships/image" Target="../media/image294.svg"/><Relationship Id="rId2" Type="http://schemas.openxmlformats.org/officeDocument/2006/relationships/image" Target="../media/image293.png"/><Relationship Id="rId1" Type="http://schemas.openxmlformats.org/officeDocument/2006/relationships/slideLayout" Target="../slideLayouts/slideLayout78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76.xml"/></Relationships>
</file>

<file path=ppt/slides/_rels/slide52.xml.rels><?xml version="1.0" encoding="UTF-8" standalone="yes"?>
<Relationships xmlns="http://schemas.openxmlformats.org/package/2006/relationships"><Relationship Id="rId8" Type="http://schemas.openxmlformats.org/officeDocument/2006/relationships/image" Target="../media/image298.svg"/><Relationship Id="rId13" Type="http://schemas.openxmlformats.org/officeDocument/2006/relationships/hyperlink" Target="https://www.nitag-resource.org/diseases/malaria" TargetMode="External"/><Relationship Id="rId3" Type="http://schemas.openxmlformats.org/officeDocument/2006/relationships/image" Target="../media/image295.png"/><Relationship Id="rId7" Type="http://schemas.openxmlformats.org/officeDocument/2006/relationships/image" Target="../media/image297.png"/><Relationship Id="rId12" Type="http://schemas.openxmlformats.org/officeDocument/2006/relationships/image" Target="../media/image302.svg"/><Relationship Id="rId2" Type="http://schemas.openxmlformats.org/officeDocument/2006/relationships/notesSlide" Target="../notesSlides/notesSlide28.xml"/><Relationship Id="rId1" Type="http://schemas.openxmlformats.org/officeDocument/2006/relationships/slideLayout" Target="../slideLayouts/slideLayout71.xml"/><Relationship Id="rId6" Type="http://schemas.openxmlformats.org/officeDocument/2006/relationships/image" Target="../media/image203.svg"/><Relationship Id="rId11" Type="http://schemas.openxmlformats.org/officeDocument/2006/relationships/image" Target="../media/image301.png"/><Relationship Id="rId5" Type="http://schemas.openxmlformats.org/officeDocument/2006/relationships/image" Target="../media/image202.png"/><Relationship Id="rId10" Type="http://schemas.openxmlformats.org/officeDocument/2006/relationships/image" Target="../media/image300.svg"/><Relationship Id="rId4" Type="http://schemas.openxmlformats.org/officeDocument/2006/relationships/image" Target="../media/image296.svg"/><Relationship Id="rId9" Type="http://schemas.openxmlformats.org/officeDocument/2006/relationships/image" Target="../media/image299.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xml.rels><?xml version="1.0" encoding="UTF-8" standalone="yes"?>
<Relationships xmlns="http://schemas.openxmlformats.org/package/2006/relationships"><Relationship Id="rId8" Type="http://schemas.openxmlformats.org/officeDocument/2006/relationships/image" Target="../media/image174.svg"/><Relationship Id="rId13" Type="http://schemas.openxmlformats.org/officeDocument/2006/relationships/image" Target="../media/image179.png"/><Relationship Id="rId3" Type="http://schemas.openxmlformats.org/officeDocument/2006/relationships/hyperlink" Target="https://www.weforum.org/publications/global-risks-report-2025/in-full/global-risks-2025-a-world-of-growing-divisions-c943fe3ba0/" TargetMode="External"/><Relationship Id="rId7" Type="http://schemas.openxmlformats.org/officeDocument/2006/relationships/image" Target="../media/image173.png"/><Relationship Id="rId12" Type="http://schemas.openxmlformats.org/officeDocument/2006/relationships/image" Target="../media/image178.png"/><Relationship Id="rId2" Type="http://schemas.openxmlformats.org/officeDocument/2006/relationships/notesSlide" Target="../notesSlides/notesSlide2.xml"/><Relationship Id="rId16" Type="http://schemas.openxmlformats.org/officeDocument/2006/relationships/image" Target="../media/image170.svg"/><Relationship Id="rId1" Type="http://schemas.openxmlformats.org/officeDocument/2006/relationships/slideLayout" Target="../slideLayouts/slideLayout91.xml"/><Relationship Id="rId6" Type="http://schemas.openxmlformats.org/officeDocument/2006/relationships/image" Target="../media/image172.svg"/><Relationship Id="rId11" Type="http://schemas.openxmlformats.org/officeDocument/2006/relationships/image" Target="../media/image177.svg"/><Relationship Id="rId5" Type="http://schemas.openxmlformats.org/officeDocument/2006/relationships/image" Target="../media/image171.png"/><Relationship Id="rId15" Type="http://schemas.openxmlformats.org/officeDocument/2006/relationships/image" Target="../media/image169.png"/><Relationship Id="rId10" Type="http://schemas.openxmlformats.org/officeDocument/2006/relationships/image" Target="../media/image176.png"/><Relationship Id="rId4" Type="http://schemas.openxmlformats.org/officeDocument/2006/relationships/hyperlink" Target="https://iris.who.int/bitstream/handle/10665/379750/9789240104495-eng.pdf?sequence=1&amp;isAllowed=y" TargetMode="External"/><Relationship Id="rId9" Type="http://schemas.openxmlformats.org/officeDocument/2006/relationships/image" Target="../media/image175.jpeg"/><Relationship Id="rId14" Type="http://schemas.openxmlformats.org/officeDocument/2006/relationships/image" Target="../media/image180.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27.xml"/><Relationship Id="rId6" Type="http://schemas.openxmlformats.org/officeDocument/2006/relationships/image" Target="../media/image170.svg"/><Relationship Id="rId5" Type="http://schemas.openxmlformats.org/officeDocument/2006/relationships/image" Target="../media/image169.png"/><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4.xml"/><Relationship Id="rId1" Type="http://schemas.openxmlformats.org/officeDocument/2006/relationships/slideLayout" Target="../slideLayouts/slideLayout127.xml"/><Relationship Id="rId4" Type="http://schemas.openxmlformats.org/officeDocument/2006/relationships/image" Target="../media/image170.svg"/></Relationships>
</file>

<file path=ppt/slides/_rels/slide9.xml.rels><?xml version="1.0" encoding="UTF-8" standalone="yes"?>
<Relationships xmlns="http://schemas.openxmlformats.org/package/2006/relationships"><Relationship Id="rId8" Type="http://schemas.openxmlformats.org/officeDocument/2006/relationships/image" Target="../media/image186.png"/><Relationship Id="rId13" Type="http://schemas.openxmlformats.org/officeDocument/2006/relationships/image" Target="../media/image169.png"/><Relationship Id="rId3" Type="http://schemas.openxmlformats.org/officeDocument/2006/relationships/image" Target="../media/image181.png"/><Relationship Id="rId7" Type="http://schemas.openxmlformats.org/officeDocument/2006/relationships/image" Target="../media/image185.jpeg"/><Relationship Id="rId12" Type="http://schemas.openxmlformats.org/officeDocument/2006/relationships/image" Target="../media/image190.png"/><Relationship Id="rId2" Type="http://schemas.openxmlformats.org/officeDocument/2006/relationships/notesSlide" Target="../notesSlides/notesSlide5.xml"/><Relationship Id="rId1" Type="http://schemas.openxmlformats.org/officeDocument/2006/relationships/slideLayout" Target="../slideLayouts/slideLayout91.xml"/><Relationship Id="rId6" Type="http://schemas.openxmlformats.org/officeDocument/2006/relationships/image" Target="../media/image184.png"/><Relationship Id="rId11" Type="http://schemas.openxmlformats.org/officeDocument/2006/relationships/image" Target="../media/image189.svg"/><Relationship Id="rId5" Type="http://schemas.openxmlformats.org/officeDocument/2006/relationships/image" Target="../media/image183.png"/><Relationship Id="rId10" Type="http://schemas.openxmlformats.org/officeDocument/2006/relationships/image" Target="../media/image188.png"/><Relationship Id="rId4" Type="http://schemas.openxmlformats.org/officeDocument/2006/relationships/image" Target="../media/image182.png"/><Relationship Id="rId9" Type="http://schemas.openxmlformats.org/officeDocument/2006/relationships/image" Target="../media/image187.png"/><Relationship Id="rId14" Type="http://schemas.openxmlformats.org/officeDocument/2006/relationships/image" Target="../media/image17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19E5B-5C21-47E0-B7B7-C2F933B05354}"/>
              </a:ext>
            </a:extLst>
          </p:cNvPr>
          <p:cNvSpPr>
            <a:spLocks noGrp="1"/>
          </p:cNvSpPr>
          <p:nvPr>
            <p:ph type="ctrTitle"/>
          </p:nvPr>
        </p:nvSpPr>
        <p:spPr>
          <a:xfrm>
            <a:off x="550065" y="577597"/>
            <a:ext cx="3981728" cy="1364989"/>
          </a:xfrm>
        </p:spPr>
        <p:txBody>
          <a:bodyPr/>
          <a:lstStyle/>
          <a:p>
            <a:r>
              <a:rPr lang="en-US" dirty="0"/>
              <a:t>Global NITAG Network (GNN) SAGE Digest</a:t>
            </a:r>
          </a:p>
        </p:txBody>
      </p:sp>
      <p:sp>
        <p:nvSpPr>
          <p:cNvPr id="5" name="Text Placeholder 4">
            <a:extLst>
              <a:ext uri="{FF2B5EF4-FFF2-40B4-BE49-F238E27FC236}">
                <a16:creationId xmlns:a16="http://schemas.microsoft.com/office/drawing/2014/main" id="{FC26439D-2ED7-4677-9C3A-C4F70926F2F2}"/>
              </a:ext>
            </a:extLst>
          </p:cNvPr>
          <p:cNvSpPr>
            <a:spLocks noGrp="1"/>
          </p:cNvSpPr>
          <p:nvPr>
            <p:ph type="body" sz="quarter" idx="12"/>
          </p:nvPr>
        </p:nvSpPr>
        <p:spPr/>
        <p:txBody>
          <a:bodyPr/>
          <a:lstStyle/>
          <a:p>
            <a:endParaRPr lang="en-US" sz="1450">
              <a:latin typeface="Poppins"/>
              <a:ea typeface="Roboto"/>
              <a:cs typeface="Poppins"/>
            </a:endParaRPr>
          </a:p>
        </p:txBody>
      </p:sp>
      <p:sp>
        <p:nvSpPr>
          <p:cNvPr id="6" name="Text Placeholder 5">
            <a:extLst>
              <a:ext uri="{FF2B5EF4-FFF2-40B4-BE49-F238E27FC236}">
                <a16:creationId xmlns:a16="http://schemas.microsoft.com/office/drawing/2014/main" id="{F5A2AA68-8C79-453F-9CCE-898BE5953853}"/>
              </a:ext>
            </a:extLst>
          </p:cNvPr>
          <p:cNvSpPr>
            <a:spLocks noGrp="1"/>
          </p:cNvSpPr>
          <p:nvPr>
            <p:ph type="body" sz="quarter" idx="13"/>
          </p:nvPr>
        </p:nvSpPr>
        <p:spPr/>
        <p:txBody>
          <a:bodyPr/>
          <a:lstStyle/>
          <a:p>
            <a:endParaRPr lang="en-US"/>
          </a:p>
        </p:txBody>
      </p:sp>
      <p:sp>
        <p:nvSpPr>
          <p:cNvPr id="7" name="Subtitle 6">
            <a:extLst>
              <a:ext uri="{FF2B5EF4-FFF2-40B4-BE49-F238E27FC236}">
                <a16:creationId xmlns:a16="http://schemas.microsoft.com/office/drawing/2014/main" id="{D46BFBC6-D41A-7C02-A418-FA021F5E9CD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565853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91CF0-E50D-3D37-B3E2-477F4E01970F}"/>
              </a:ext>
            </a:extLst>
          </p:cNvPr>
          <p:cNvSpPr>
            <a:spLocks noGrp="1"/>
          </p:cNvSpPr>
          <p:nvPr>
            <p:ph type="title"/>
          </p:nvPr>
        </p:nvSpPr>
        <p:spPr>
          <a:xfrm>
            <a:off x="578027" y="283277"/>
            <a:ext cx="10623160" cy="895853"/>
          </a:xfrm>
        </p:spPr>
        <p:txBody>
          <a:bodyPr/>
          <a:lstStyle/>
          <a:p>
            <a:r>
              <a:rPr lang="en-US"/>
              <a:t>WHO and SAGE’s normative role in immunization policy is more critical than ever</a:t>
            </a:r>
          </a:p>
        </p:txBody>
      </p:sp>
      <p:pic>
        <p:nvPicPr>
          <p:cNvPr id="5" name="Picture 4" descr="A person holding a baby&#10;&#10;Description automatically generated">
            <a:extLst>
              <a:ext uri="{FF2B5EF4-FFF2-40B4-BE49-F238E27FC236}">
                <a16:creationId xmlns:a16="http://schemas.microsoft.com/office/drawing/2014/main" id="{F7DA4DEC-B75F-4E31-EB06-4E2C173987B2}"/>
              </a:ext>
            </a:extLst>
          </p:cNvPr>
          <p:cNvPicPr preferRelativeResize="0">
            <a:picLocks/>
          </p:cNvPicPr>
          <p:nvPr/>
        </p:nvPicPr>
        <p:blipFill rotWithShape="1">
          <a:blip r:embed="rId3" cstate="screen">
            <a:lum bright="70000" contrast="-70000"/>
            <a:alphaModFix amt="76000"/>
            <a:extLst>
              <a:ext uri="{28A0092B-C50C-407E-A947-70E740481C1C}">
                <a14:useLocalDpi xmlns:a14="http://schemas.microsoft.com/office/drawing/2010/main" val="0"/>
              </a:ext>
            </a:extLst>
          </a:blip>
          <a:srcRect l="22816" b="14423"/>
          <a:stretch/>
        </p:blipFill>
        <p:spPr>
          <a:xfrm>
            <a:off x="4309393" y="4068001"/>
            <a:ext cx="3492624" cy="2161061"/>
          </a:xfrm>
          <a:prstGeom prst="roundRect">
            <a:avLst>
              <a:gd name="adj" fmla="val 8594"/>
            </a:avLst>
          </a:prstGeom>
          <a:solidFill>
            <a:srgbClr val="FFFFFF">
              <a:shade val="85000"/>
            </a:srgbClr>
          </a:solidFill>
          <a:ln>
            <a:noFill/>
          </a:ln>
          <a:effectLst/>
        </p:spPr>
      </p:pic>
      <p:sp>
        <p:nvSpPr>
          <p:cNvPr id="6" name="Rectangle: Rounded Corners 5">
            <a:extLst>
              <a:ext uri="{FF2B5EF4-FFF2-40B4-BE49-F238E27FC236}">
                <a16:creationId xmlns:a16="http://schemas.microsoft.com/office/drawing/2014/main" id="{01E3AB0C-D64C-4EBE-E4F1-ECF12A9A6B8F}"/>
              </a:ext>
            </a:extLst>
          </p:cNvPr>
          <p:cNvSpPr/>
          <p:nvPr/>
        </p:nvSpPr>
        <p:spPr>
          <a:xfrm>
            <a:off x="4166468" y="3836940"/>
            <a:ext cx="3745640" cy="2194564"/>
          </a:xfrm>
          <a:prstGeom prst="roundRect">
            <a:avLst>
              <a:gd name="adj" fmla="val 65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marL="0" marR="0" lvl="0" indent="0" algn="l" defTabSz="1507636" rtl="0" eaLnBrk="1" fontAlgn="auto" latinLnBrk="0" hangingPunct="1">
              <a:lnSpc>
                <a:spcPct val="150000"/>
              </a:lnSpc>
              <a:spcBef>
                <a:spcPts val="364"/>
              </a:spcBef>
              <a:spcAft>
                <a:spcPts val="0"/>
              </a:spcAft>
              <a:buClrTx/>
              <a:buSzTx/>
              <a:buFontTx/>
              <a:buNone/>
              <a:tabLst/>
              <a:defRPr/>
            </a:pPr>
            <a:endParaRPr kumimoji="0" lang="en-US" sz="1213" b="0" i="1" u="none" strike="noStrike" kern="1200" cap="none" spc="0" normalizeH="0" baseline="0" noProof="0">
              <a:ln>
                <a:noFill/>
              </a:ln>
              <a:solidFill>
                <a:srgbClr val="000000"/>
              </a:solidFill>
              <a:effectLst/>
              <a:uLnTx/>
              <a:uFillTx/>
              <a:latin typeface="Poppins SemiBold"/>
              <a:ea typeface="Roboto"/>
              <a:cs typeface="Poppins SemiBold"/>
            </a:endParaRPr>
          </a:p>
          <a:p>
            <a:pPr marL="0" marR="0" lvl="0" indent="0" algn="ctr" defTabSz="1507636" rtl="0" eaLnBrk="1" fontAlgn="auto" latinLnBrk="0" hangingPunct="1">
              <a:lnSpc>
                <a:spcPct val="150000"/>
              </a:lnSpc>
              <a:spcBef>
                <a:spcPts val="364"/>
              </a:spcBef>
              <a:spcAft>
                <a:spcPts val="0"/>
              </a:spcAft>
              <a:buClrTx/>
              <a:buSzTx/>
              <a:buFontTx/>
              <a:buNone/>
              <a:tabLst/>
              <a:defRPr/>
            </a:pPr>
            <a:r>
              <a:rPr kumimoji="0" lang="en-US" sz="1425" b="0" i="0" u="none" strike="noStrike" kern="1200" cap="none" spc="0" normalizeH="0" baseline="0" noProof="0">
                <a:ln>
                  <a:noFill/>
                </a:ln>
                <a:solidFill>
                  <a:srgbClr val="000000"/>
                </a:solidFill>
                <a:effectLst/>
                <a:uLnTx/>
                <a:uFillTx/>
                <a:latin typeface="Poppins SemiBold"/>
                <a:ea typeface="Roboto"/>
                <a:cs typeface="Poppins SemiBold"/>
              </a:rPr>
              <a:t>The normative function underpinning the global immunization structure (SAGE, RITAGS &amp; NITAGS) play a vital role in ensuring vaccine policies are informed by scientific data &amp; contextual realities</a:t>
            </a:r>
            <a:endParaRPr kumimoji="0" lang="en-GB" sz="1425" b="0" i="0" u="none" strike="noStrike" kern="1200" cap="none" spc="0" normalizeH="0" baseline="0" noProof="0">
              <a:ln>
                <a:noFill/>
              </a:ln>
              <a:solidFill>
                <a:srgbClr val="000000"/>
              </a:solidFill>
              <a:effectLst/>
              <a:uLnTx/>
              <a:uFillTx/>
              <a:latin typeface="Poppins SemiBold"/>
              <a:ea typeface="Roboto"/>
              <a:cs typeface="Poppins SemiBold"/>
            </a:endParaRPr>
          </a:p>
        </p:txBody>
      </p:sp>
      <p:pic>
        <p:nvPicPr>
          <p:cNvPr id="9" name="Picture 8">
            <a:extLst>
              <a:ext uri="{FF2B5EF4-FFF2-40B4-BE49-F238E27FC236}">
                <a16:creationId xmlns:a16="http://schemas.microsoft.com/office/drawing/2014/main" id="{D3B567EC-5089-CCFE-79D9-3EFF5421E54D}"/>
              </a:ext>
            </a:extLst>
          </p:cNvPr>
          <p:cNvPicPr>
            <a:picLocks noChangeAspect="1"/>
          </p:cNvPicPr>
          <p:nvPr/>
        </p:nvPicPr>
        <p:blipFill>
          <a:blip r:embed="rId4"/>
          <a:stretch>
            <a:fillRect/>
          </a:stretch>
        </p:blipFill>
        <p:spPr>
          <a:xfrm>
            <a:off x="462914" y="1609980"/>
            <a:ext cx="1281816" cy="1795764"/>
          </a:xfrm>
          <a:prstGeom prst="roundRect">
            <a:avLst/>
          </a:prstGeom>
          <a:noFill/>
          <a:ln>
            <a:solidFill>
              <a:schemeClr val="bg1">
                <a:lumMod val="95000"/>
              </a:schemeClr>
            </a:solidFill>
          </a:ln>
        </p:spPr>
      </p:pic>
      <p:sp>
        <p:nvSpPr>
          <p:cNvPr id="10" name="Rectangle: Rounded Corners 9">
            <a:extLst>
              <a:ext uri="{FF2B5EF4-FFF2-40B4-BE49-F238E27FC236}">
                <a16:creationId xmlns:a16="http://schemas.microsoft.com/office/drawing/2014/main" id="{32667276-F13E-32E2-49C1-455EAA7C0B4B}"/>
              </a:ext>
            </a:extLst>
          </p:cNvPr>
          <p:cNvSpPr/>
          <p:nvPr/>
        </p:nvSpPr>
        <p:spPr>
          <a:xfrm>
            <a:off x="7974665" y="4129536"/>
            <a:ext cx="3427138" cy="5457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2578" marR="0" lvl="0" indent="-207925" algn="l" defTabSz="554441" rtl="0" eaLnBrk="1" fontAlgn="auto" latinLnBrk="0" hangingPunct="1">
              <a:lnSpc>
                <a:spcPct val="100000"/>
              </a:lnSpc>
              <a:spcBef>
                <a:spcPts val="0"/>
              </a:spcBef>
              <a:spcAft>
                <a:spcPts val="485"/>
              </a:spcAft>
              <a:buClrTx/>
              <a:buSzTx/>
              <a:buFont typeface="Arial" panose="020B0604020202020204" pitchFamily="34" charset="0"/>
              <a:buChar char="•"/>
              <a:tabLst/>
              <a:defRPr/>
            </a:pPr>
            <a:r>
              <a:rPr kumimoji="0" lang="en-US" sz="1455" b="0" i="0" u="none" strike="noStrike" kern="1200" cap="none" spc="0" normalizeH="0" baseline="0" noProof="0">
                <a:ln>
                  <a:noFill/>
                </a:ln>
                <a:solidFill>
                  <a:prstClr val="black"/>
                </a:solidFill>
                <a:effectLst/>
                <a:uLnTx/>
                <a:uFillTx/>
                <a:latin typeface="Poppins"/>
                <a:ea typeface="+mn-ea"/>
                <a:cs typeface="+mn-cs"/>
              </a:rPr>
              <a:t>Transparency</a:t>
            </a:r>
            <a:endParaRPr kumimoji="0" lang="en-US" sz="1455" b="0" i="0" u="none" strike="noStrike" kern="1200" cap="none" spc="0" normalizeH="0" baseline="0" noProof="0">
              <a:ln>
                <a:noFill/>
              </a:ln>
              <a:solidFill>
                <a:srgbClr val="FFFFFF"/>
              </a:solidFill>
              <a:effectLst/>
              <a:uLnTx/>
              <a:uFillTx/>
              <a:latin typeface="Poppins"/>
              <a:ea typeface="Roboto"/>
              <a:cs typeface="Calibri"/>
            </a:endParaRPr>
          </a:p>
        </p:txBody>
      </p:sp>
      <p:sp>
        <p:nvSpPr>
          <p:cNvPr id="11" name="Rectangle: Rounded Corners 10">
            <a:extLst>
              <a:ext uri="{FF2B5EF4-FFF2-40B4-BE49-F238E27FC236}">
                <a16:creationId xmlns:a16="http://schemas.microsoft.com/office/drawing/2014/main" id="{2AB84ECC-B03E-F6E9-FACD-08CAD71922AE}"/>
              </a:ext>
            </a:extLst>
          </p:cNvPr>
          <p:cNvSpPr/>
          <p:nvPr/>
        </p:nvSpPr>
        <p:spPr>
          <a:xfrm>
            <a:off x="7998089" y="4487346"/>
            <a:ext cx="3427138" cy="5457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2578" marR="0" lvl="0" indent="-207925" algn="l" defTabSz="554441" rtl="0" eaLnBrk="1" fontAlgn="auto" latinLnBrk="0" hangingPunct="1">
              <a:lnSpc>
                <a:spcPct val="100000"/>
              </a:lnSpc>
              <a:spcBef>
                <a:spcPts val="0"/>
              </a:spcBef>
              <a:spcAft>
                <a:spcPts val="485"/>
              </a:spcAft>
              <a:buClrTx/>
              <a:buSzTx/>
              <a:buFont typeface="Arial" panose="020B0604020202020204" pitchFamily="34" charset="0"/>
              <a:buChar char="•"/>
              <a:tabLst/>
              <a:defRPr/>
            </a:pPr>
            <a:r>
              <a:rPr kumimoji="0" lang="en-US" sz="1455" b="0" i="0" u="none" strike="noStrike" kern="1200" cap="none" spc="0" normalizeH="0" baseline="0" noProof="0">
                <a:ln>
                  <a:noFill/>
                </a:ln>
                <a:solidFill>
                  <a:prstClr val="black"/>
                </a:solidFill>
                <a:effectLst/>
                <a:uLnTx/>
                <a:uFillTx/>
                <a:latin typeface="Poppins"/>
                <a:ea typeface="+mn-ea"/>
                <a:cs typeface="+mn-cs"/>
              </a:rPr>
              <a:t>Independence</a:t>
            </a:r>
            <a:endParaRPr kumimoji="0" lang="en-US" sz="1455" b="0" i="0" u="none" strike="noStrike" kern="1200" cap="none" spc="0" normalizeH="0" baseline="0" noProof="0">
              <a:ln>
                <a:noFill/>
              </a:ln>
              <a:solidFill>
                <a:srgbClr val="FFFFFF"/>
              </a:solidFill>
              <a:effectLst/>
              <a:uLnTx/>
              <a:uFillTx/>
              <a:latin typeface="Poppins"/>
              <a:ea typeface="Roboto"/>
              <a:cs typeface="Calibri"/>
            </a:endParaRPr>
          </a:p>
        </p:txBody>
      </p:sp>
      <p:sp>
        <p:nvSpPr>
          <p:cNvPr id="12" name="Rectangle: Rounded Corners 11">
            <a:extLst>
              <a:ext uri="{FF2B5EF4-FFF2-40B4-BE49-F238E27FC236}">
                <a16:creationId xmlns:a16="http://schemas.microsoft.com/office/drawing/2014/main" id="{51AA7095-C441-09DA-B45D-C621912E1745}"/>
              </a:ext>
            </a:extLst>
          </p:cNvPr>
          <p:cNvSpPr/>
          <p:nvPr/>
        </p:nvSpPr>
        <p:spPr>
          <a:xfrm>
            <a:off x="7974665" y="4853777"/>
            <a:ext cx="3728190" cy="5457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2578" marR="0" lvl="0" indent="-207925" algn="l" defTabSz="554441" rtl="0" eaLnBrk="1" fontAlgn="auto" latinLnBrk="0" hangingPunct="1">
              <a:lnSpc>
                <a:spcPct val="100000"/>
              </a:lnSpc>
              <a:spcBef>
                <a:spcPts val="0"/>
              </a:spcBef>
              <a:spcAft>
                <a:spcPts val="485"/>
              </a:spcAft>
              <a:buClrTx/>
              <a:buSzTx/>
              <a:buFont typeface="Arial" panose="020B0604020202020204" pitchFamily="34" charset="0"/>
              <a:buChar char="•"/>
              <a:tabLst/>
              <a:defRPr/>
            </a:pPr>
            <a:r>
              <a:rPr kumimoji="0" lang="en-US" sz="1455" b="0" i="0" u="none" strike="noStrike" kern="1200" cap="none" spc="0" normalizeH="0" baseline="0" noProof="0">
                <a:ln>
                  <a:noFill/>
                </a:ln>
                <a:solidFill>
                  <a:prstClr val="black"/>
                </a:solidFill>
                <a:effectLst/>
                <a:uLnTx/>
                <a:uFillTx/>
                <a:latin typeface="Poppins"/>
                <a:ea typeface="+mn-ea"/>
                <a:cs typeface="+mn-cs"/>
              </a:rPr>
              <a:t>Best available evidence</a:t>
            </a:r>
          </a:p>
        </p:txBody>
      </p:sp>
      <p:sp>
        <p:nvSpPr>
          <p:cNvPr id="13" name="Rectangle: Rounded Corners 12">
            <a:extLst>
              <a:ext uri="{FF2B5EF4-FFF2-40B4-BE49-F238E27FC236}">
                <a16:creationId xmlns:a16="http://schemas.microsoft.com/office/drawing/2014/main" id="{51466ECE-8F4C-B338-C07E-FB8F452E671B}"/>
              </a:ext>
            </a:extLst>
          </p:cNvPr>
          <p:cNvSpPr/>
          <p:nvPr/>
        </p:nvSpPr>
        <p:spPr>
          <a:xfrm>
            <a:off x="7974665" y="5644698"/>
            <a:ext cx="3728190" cy="5457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2578" marR="0" lvl="0" indent="-207925" algn="l" defTabSz="554441" rtl="0" eaLnBrk="1" fontAlgn="auto" latinLnBrk="0" hangingPunct="1">
              <a:lnSpc>
                <a:spcPct val="100000"/>
              </a:lnSpc>
              <a:spcBef>
                <a:spcPts val="0"/>
              </a:spcBef>
              <a:spcAft>
                <a:spcPts val="485"/>
              </a:spcAft>
              <a:buClrTx/>
              <a:buSzTx/>
              <a:buFont typeface="Arial" panose="020B0604020202020204" pitchFamily="34" charset="0"/>
              <a:buChar char="•"/>
              <a:tabLst/>
              <a:defRPr/>
            </a:pPr>
            <a:r>
              <a:rPr kumimoji="0" lang="en-US" sz="1455" b="0" i="0" u="none" strike="noStrike" kern="1200" cap="none" spc="0" normalizeH="0" baseline="0" noProof="0">
                <a:ln>
                  <a:noFill/>
                </a:ln>
                <a:solidFill>
                  <a:prstClr val="black"/>
                </a:solidFill>
                <a:effectLst/>
                <a:uLnTx/>
                <a:uFillTx/>
                <a:latin typeface="Poppins"/>
                <a:ea typeface="+mn-ea"/>
                <a:cs typeface="+mn-cs"/>
              </a:rPr>
              <a:t>Support country decision-making in evolving contexts</a:t>
            </a:r>
            <a:endParaRPr kumimoji="0" lang="en-US" sz="1455" b="0" i="0" u="none" strike="noStrike" kern="1200" cap="none" spc="0" normalizeH="0" baseline="0" noProof="0">
              <a:ln>
                <a:noFill/>
              </a:ln>
              <a:solidFill>
                <a:srgbClr val="FFFFFF"/>
              </a:solidFill>
              <a:effectLst/>
              <a:uLnTx/>
              <a:uFillTx/>
              <a:latin typeface="Poppins"/>
              <a:ea typeface="Roboto"/>
              <a:cs typeface="Calibri"/>
            </a:endParaRPr>
          </a:p>
        </p:txBody>
      </p:sp>
      <p:sp>
        <p:nvSpPr>
          <p:cNvPr id="16" name="Rectangle: Rounded Corners 15">
            <a:extLst>
              <a:ext uri="{FF2B5EF4-FFF2-40B4-BE49-F238E27FC236}">
                <a16:creationId xmlns:a16="http://schemas.microsoft.com/office/drawing/2014/main" id="{C803943F-BADC-510F-C88C-48E232299EDE}"/>
              </a:ext>
            </a:extLst>
          </p:cNvPr>
          <p:cNvSpPr/>
          <p:nvPr/>
        </p:nvSpPr>
        <p:spPr>
          <a:xfrm>
            <a:off x="1744731" y="1609980"/>
            <a:ext cx="9660677" cy="169650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449" tIns="27725" rIns="55449" bIns="27725" rtlCol="0" anchor="ctr"/>
          <a:lstStyle/>
          <a:p>
            <a:pPr marL="207549" marR="0" lvl="0" indent="-207549" algn="l" defTabSz="1507636" rtl="0" eaLnBrk="1" fontAlgn="auto" latinLnBrk="0" hangingPunct="1">
              <a:lnSpc>
                <a:spcPct val="150000"/>
              </a:lnSpc>
              <a:spcBef>
                <a:spcPts val="364"/>
              </a:spcBef>
              <a:spcAft>
                <a:spcPts val="0"/>
              </a:spcAft>
              <a:buClrTx/>
              <a:buSzTx/>
              <a:buFont typeface="Arial" panose="020B0604020202020204" pitchFamily="34" charset="0"/>
              <a:buChar char="•"/>
              <a:tabLst/>
              <a:defRPr/>
            </a:pPr>
            <a:r>
              <a:rPr kumimoji="0" lang="en-US" sz="1698" b="0" i="0" u="none" strike="noStrike" kern="1200" cap="none" spc="0" normalizeH="0" baseline="0" noProof="0">
                <a:ln>
                  <a:noFill/>
                </a:ln>
                <a:solidFill>
                  <a:srgbClr val="000000"/>
                </a:solidFill>
                <a:effectLst/>
                <a:uLnTx/>
                <a:uFillTx/>
                <a:latin typeface="Poppins SemiBold"/>
                <a:ea typeface="Roboto"/>
                <a:cs typeface="Poppins SemiBold"/>
              </a:rPr>
              <a:t>WHO’s 2025-28 strategy: ‘developing evidence-based norms and standards’ a key component for advancing equity and resilience in a turbulent world</a:t>
            </a:r>
            <a:endParaRPr kumimoji="0" lang="en-US" sz="1092" b="0" i="0" u="none" strike="noStrike" kern="1200" cap="none" spc="0" normalizeH="0" baseline="0" noProof="0">
              <a:ln>
                <a:noFill/>
              </a:ln>
              <a:solidFill>
                <a:srgbClr val="FFFFFF"/>
              </a:solidFill>
              <a:effectLst/>
              <a:uLnTx/>
              <a:uFillTx/>
              <a:latin typeface="Poppins"/>
              <a:ea typeface="+mn-ea"/>
              <a:cs typeface="+mn-cs"/>
            </a:endParaRPr>
          </a:p>
          <a:p>
            <a:pPr marL="207549" marR="0" lvl="0" indent="-207549" algn="l" defTabSz="1507636" rtl="0" eaLnBrk="1" fontAlgn="auto" latinLnBrk="0" hangingPunct="1">
              <a:lnSpc>
                <a:spcPct val="150000"/>
              </a:lnSpc>
              <a:spcBef>
                <a:spcPts val="364"/>
              </a:spcBef>
              <a:spcAft>
                <a:spcPts val="0"/>
              </a:spcAft>
              <a:buClrTx/>
              <a:buSzTx/>
              <a:buFont typeface="Arial" panose="020B0604020202020204" pitchFamily="34" charset="0"/>
              <a:buChar char="•"/>
              <a:tabLst/>
              <a:defRPr/>
            </a:pPr>
            <a:r>
              <a:rPr kumimoji="0" lang="en-US" sz="1698" b="0" i="0" u="none" strike="noStrike" kern="1200" cap="none" spc="0" normalizeH="0" baseline="0" noProof="0">
                <a:ln>
                  <a:noFill/>
                </a:ln>
                <a:solidFill>
                  <a:srgbClr val="000000"/>
                </a:solidFill>
                <a:effectLst/>
                <a:uLnTx/>
                <a:uFillTx/>
                <a:latin typeface="Poppins SemiBold"/>
                <a:ea typeface="Roboto"/>
                <a:cs typeface="Poppins SemiBold"/>
              </a:rPr>
              <a:t>WHO’s prioritization exercise highlighted immunization and policy as core function</a:t>
            </a:r>
          </a:p>
        </p:txBody>
      </p:sp>
      <p:pic>
        <p:nvPicPr>
          <p:cNvPr id="18" name="Picture 17" descr="A screenshot of a computer&#10;&#10;AI-generated content may be incorrect.">
            <a:extLst>
              <a:ext uri="{FF2B5EF4-FFF2-40B4-BE49-F238E27FC236}">
                <a16:creationId xmlns:a16="http://schemas.microsoft.com/office/drawing/2014/main" id="{0EE7CFAA-D678-C3EC-03FF-8B4B4534A5EE}"/>
              </a:ext>
            </a:extLst>
          </p:cNvPr>
          <p:cNvPicPr>
            <a:picLocks/>
          </p:cNvPicPr>
          <p:nvPr/>
        </p:nvPicPr>
        <p:blipFill>
          <a:blip r:embed="rId5" cstate="screen">
            <a:extLst>
              <a:ext uri="{28A0092B-C50C-407E-A947-70E740481C1C}">
                <a14:useLocalDpi xmlns:a14="http://schemas.microsoft.com/office/drawing/2010/main" val="0"/>
              </a:ext>
            </a:extLst>
          </a:blip>
          <a:stretch>
            <a:fillRect/>
          </a:stretch>
        </p:blipFill>
        <p:spPr>
          <a:xfrm>
            <a:off x="538385" y="4068001"/>
            <a:ext cx="3492624" cy="2161061"/>
          </a:xfrm>
          <a:prstGeom prst="roundRect">
            <a:avLst/>
          </a:prstGeom>
          <a:noFill/>
          <a:ln>
            <a:noFill/>
          </a:ln>
        </p:spPr>
      </p:pic>
      <p:sp>
        <p:nvSpPr>
          <p:cNvPr id="14" name="Rectangle: Rounded Corners 13">
            <a:extLst>
              <a:ext uri="{FF2B5EF4-FFF2-40B4-BE49-F238E27FC236}">
                <a16:creationId xmlns:a16="http://schemas.microsoft.com/office/drawing/2014/main" id="{6B8F6D4A-11DB-BB4C-C8CC-B90A8C2CAF24}"/>
              </a:ext>
            </a:extLst>
          </p:cNvPr>
          <p:cNvSpPr/>
          <p:nvPr/>
        </p:nvSpPr>
        <p:spPr>
          <a:xfrm>
            <a:off x="7974665" y="5217247"/>
            <a:ext cx="3728190" cy="5457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2578" marR="0" lvl="0" indent="-207925" algn="l" defTabSz="554441" rtl="0" eaLnBrk="1" fontAlgn="auto" latinLnBrk="0" hangingPunct="1">
              <a:lnSpc>
                <a:spcPct val="100000"/>
              </a:lnSpc>
              <a:spcBef>
                <a:spcPts val="0"/>
              </a:spcBef>
              <a:spcAft>
                <a:spcPts val="485"/>
              </a:spcAft>
              <a:buClrTx/>
              <a:buSzTx/>
              <a:buFont typeface="Arial" panose="020B0604020202020204" pitchFamily="34" charset="0"/>
              <a:buChar char="•"/>
              <a:tabLst/>
              <a:defRPr/>
            </a:pPr>
            <a:r>
              <a:rPr kumimoji="0" lang="en-US" sz="1455" b="0" i="0" u="none" strike="noStrike" kern="1200" cap="none" spc="0" normalizeH="0" baseline="0" noProof="0">
                <a:ln>
                  <a:noFill/>
                </a:ln>
                <a:solidFill>
                  <a:prstClr val="black"/>
                </a:solidFill>
                <a:effectLst/>
                <a:uLnTx/>
                <a:uFillTx/>
                <a:latin typeface="Poppins"/>
                <a:ea typeface="+mn-ea"/>
                <a:cs typeface="+mn-cs"/>
              </a:rPr>
              <a:t>Evidence to policy methodology</a:t>
            </a:r>
          </a:p>
        </p:txBody>
      </p:sp>
      <p:sp>
        <p:nvSpPr>
          <p:cNvPr id="3" name="Rectangle: Rounded Corners 2">
            <a:extLst>
              <a:ext uri="{FF2B5EF4-FFF2-40B4-BE49-F238E27FC236}">
                <a16:creationId xmlns:a16="http://schemas.microsoft.com/office/drawing/2014/main" id="{E93EEE62-0160-1624-1CD8-BDB97844D078}"/>
              </a:ext>
            </a:extLst>
          </p:cNvPr>
          <p:cNvSpPr/>
          <p:nvPr/>
        </p:nvSpPr>
        <p:spPr>
          <a:xfrm>
            <a:off x="332555" y="1528637"/>
            <a:ext cx="11446300" cy="1988288"/>
          </a:xfrm>
          <a:prstGeom prst="roundRect">
            <a:avLst>
              <a:gd name="adj" fmla="val 13385"/>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en-GB" sz="1092" b="0" i="0" u="none" strike="noStrike" kern="1200" cap="none" spc="0" normalizeH="0" baseline="0" noProof="0">
              <a:ln>
                <a:noFill/>
              </a:ln>
              <a:solidFill>
                <a:srgbClr val="FFFFFF"/>
              </a:solidFill>
              <a:effectLst/>
              <a:uLnTx/>
              <a:uFillTx/>
              <a:latin typeface="Poppins"/>
              <a:ea typeface="+mn-ea"/>
              <a:cs typeface="+mn-cs"/>
            </a:endParaRPr>
          </a:p>
        </p:txBody>
      </p:sp>
      <p:sp>
        <p:nvSpPr>
          <p:cNvPr id="8" name="Rectangle: Rounded Corners 7">
            <a:extLst>
              <a:ext uri="{FF2B5EF4-FFF2-40B4-BE49-F238E27FC236}">
                <a16:creationId xmlns:a16="http://schemas.microsoft.com/office/drawing/2014/main" id="{529399E6-47D7-543C-6337-12676A539004}"/>
              </a:ext>
            </a:extLst>
          </p:cNvPr>
          <p:cNvSpPr/>
          <p:nvPr/>
        </p:nvSpPr>
        <p:spPr>
          <a:xfrm>
            <a:off x="372850" y="3727222"/>
            <a:ext cx="11446300" cy="2530806"/>
          </a:xfrm>
          <a:prstGeom prst="roundRect">
            <a:avLst>
              <a:gd name="adj" fmla="val 13385"/>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en-GB" sz="1092" b="0" i="0" u="none" strike="noStrike" kern="1200" cap="none" spc="0" normalizeH="0" baseline="0" noProof="0">
              <a:ln>
                <a:noFill/>
              </a:ln>
              <a:solidFill>
                <a:srgbClr val="FFFFFF"/>
              </a:solidFill>
              <a:effectLst/>
              <a:uLnTx/>
              <a:uFillTx/>
              <a:latin typeface="Poppins"/>
              <a:ea typeface="+mn-ea"/>
              <a:cs typeface="+mn-cs"/>
            </a:endParaRPr>
          </a:p>
        </p:txBody>
      </p:sp>
      <p:sp>
        <p:nvSpPr>
          <p:cNvPr id="15" name="Oval 14">
            <a:extLst>
              <a:ext uri="{FF2B5EF4-FFF2-40B4-BE49-F238E27FC236}">
                <a16:creationId xmlns:a16="http://schemas.microsoft.com/office/drawing/2014/main" id="{7CDF86DD-395D-9E5A-8BB3-067F175AF86A}"/>
              </a:ext>
            </a:extLst>
          </p:cNvPr>
          <p:cNvSpPr/>
          <p:nvPr/>
        </p:nvSpPr>
        <p:spPr>
          <a:xfrm>
            <a:off x="7912108" y="4287993"/>
            <a:ext cx="283776" cy="2837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en-GB" sz="1092" b="0" i="0" u="none" strike="noStrike" kern="1200" cap="none" spc="0" normalizeH="0" baseline="0" noProof="0">
              <a:ln>
                <a:noFill/>
              </a:ln>
              <a:solidFill>
                <a:srgbClr val="FFFFFF"/>
              </a:solidFill>
              <a:effectLst/>
              <a:uLnTx/>
              <a:uFillTx/>
              <a:latin typeface="Poppins"/>
              <a:ea typeface="+mn-ea"/>
              <a:cs typeface="+mn-cs"/>
            </a:endParaRPr>
          </a:p>
        </p:txBody>
      </p:sp>
      <p:sp>
        <p:nvSpPr>
          <p:cNvPr id="19" name="Oval 18">
            <a:extLst>
              <a:ext uri="{FF2B5EF4-FFF2-40B4-BE49-F238E27FC236}">
                <a16:creationId xmlns:a16="http://schemas.microsoft.com/office/drawing/2014/main" id="{E71AB480-CEC4-1913-A789-FE77FF6183C6}"/>
              </a:ext>
            </a:extLst>
          </p:cNvPr>
          <p:cNvSpPr/>
          <p:nvPr/>
        </p:nvSpPr>
        <p:spPr>
          <a:xfrm>
            <a:off x="7912108" y="4640309"/>
            <a:ext cx="283776" cy="2837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en-GB" sz="1092" b="0" i="0" u="none" strike="noStrike" kern="1200" cap="none" spc="0" normalizeH="0" baseline="0" noProof="0">
              <a:ln>
                <a:noFill/>
              </a:ln>
              <a:solidFill>
                <a:srgbClr val="FFFFFF"/>
              </a:solidFill>
              <a:effectLst/>
              <a:uLnTx/>
              <a:uFillTx/>
              <a:latin typeface="Poppins"/>
              <a:ea typeface="+mn-ea"/>
              <a:cs typeface="+mn-cs"/>
            </a:endParaRPr>
          </a:p>
        </p:txBody>
      </p:sp>
      <p:sp>
        <p:nvSpPr>
          <p:cNvPr id="20" name="Oval 19">
            <a:extLst>
              <a:ext uri="{FF2B5EF4-FFF2-40B4-BE49-F238E27FC236}">
                <a16:creationId xmlns:a16="http://schemas.microsoft.com/office/drawing/2014/main" id="{33C406EC-85E0-2379-84C5-A17F3FD8AC5D}"/>
              </a:ext>
            </a:extLst>
          </p:cNvPr>
          <p:cNvSpPr/>
          <p:nvPr/>
        </p:nvSpPr>
        <p:spPr>
          <a:xfrm>
            <a:off x="7912108" y="4992625"/>
            <a:ext cx="283776" cy="2837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en-GB" sz="1092" b="0" i="0" u="none" strike="noStrike" kern="1200" cap="none" spc="0" normalizeH="0" baseline="0" noProof="0">
              <a:ln>
                <a:noFill/>
              </a:ln>
              <a:solidFill>
                <a:srgbClr val="FFFFFF"/>
              </a:solidFill>
              <a:effectLst/>
              <a:uLnTx/>
              <a:uFillTx/>
              <a:latin typeface="Poppins"/>
              <a:ea typeface="+mn-ea"/>
              <a:cs typeface="+mn-cs"/>
            </a:endParaRPr>
          </a:p>
        </p:txBody>
      </p:sp>
      <p:sp>
        <p:nvSpPr>
          <p:cNvPr id="21" name="Oval 20">
            <a:extLst>
              <a:ext uri="{FF2B5EF4-FFF2-40B4-BE49-F238E27FC236}">
                <a16:creationId xmlns:a16="http://schemas.microsoft.com/office/drawing/2014/main" id="{6F53924F-619C-8C53-8018-04844296960A}"/>
              </a:ext>
            </a:extLst>
          </p:cNvPr>
          <p:cNvSpPr/>
          <p:nvPr/>
        </p:nvSpPr>
        <p:spPr>
          <a:xfrm>
            <a:off x="7912108" y="5344941"/>
            <a:ext cx="283776" cy="2837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en-GB" sz="1092" b="0" i="0" u="none" strike="noStrike" kern="1200" cap="none" spc="0" normalizeH="0" baseline="0" noProof="0">
              <a:ln>
                <a:noFill/>
              </a:ln>
              <a:solidFill>
                <a:srgbClr val="FFFFFF"/>
              </a:solidFill>
              <a:effectLst/>
              <a:uLnTx/>
              <a:uFillTx/>
              <a:latin typeface="Poppins"/>
              <a:ea typeface="+mn-ea"/>
              <a:cs typeface="+mn-cs"/>
            </a:endParaRPr>
          </a:p>
        </p:txBody>
      </p:sp>
      <p:sp>
        <p:nvSpPr>
          <p:cNvPr id="22" name="Oval 21">
            <a:extLst>
              <a:ext uri="{FF2B5EF4-FFF2-40B4-BE49-F238E27FC236}">
                <a16:creationId xmlns:a16="http://schemas.microsoft.com/office/drawing/2014/main" id="{FA7EE0CA-A4DD-5072-7A2E-3DC6CE898832}"/>
              </a:ext>
            </a:extLst>
          </p:cNvPr>
          <p:cNvSpPr/>
          <p:nvPr/>
        </p:nvSpPr>
        <p:spPr>
          <a:xfrm>
            <a:off x="7912108" y="5729248"/>
            <a:ext cx="283776" cy="28377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en-GB" sz="1092" b="0" i="0" u="none" strike="noStrike" kern="1200" cap="none" spc="0" normalizeH="0" baseline="0" noProof="0">
              <a:ln>
                <a:noFill/>
              </a:ln>
              <a:solidFill>
                <a:srgbClr val="FFFFFF"/>
              </a:solidFill>
              <a:effectLst/>
              <a:uLnTx/>
              <a:uFillTx/>
              <a:latin typeface="Poppins"/>
              <a:ea typeface="+mn-ea"/>
              <a:cs typeface="+mn-cs"/>
            </a:endParaRPr>
          </a:p>
        </p:txBody>
      </p:sp>
      <p:sp>
        <p:nvSpPr>
          <p:cNvPr id="27" name="Rectangle: Rounded Corners 26">
            <a:extLst>
              <a:ext uri="{FF2B5EF4-FFF2-40B4-BE49-F238E27FC236}">
                <a16:creationId xmlns:a16="http://schemas.microsoft.com/office/drawing/2014/main" id="{FC38DF76-AAE1-6019-F777-44A8CE1CBA77}"/>
              </a:ext>
            </a:extLst>
          </p:cNvPr>
          <p:cNvSpPr/>
          <p:nvPr/>
        </p:nvSpPr>
        <p:spPr>
          <a:xfrm>
            <a:off x="8148615" y="3836939"/>
            <a:ext cx="3427138" cy="5457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652" marR="0" lvl="0" indent="0" algn="l" defTabSz="554441" rtl="0" eaLnBrk="1" fontAlgn="auto" latinLnBrk="0" hangingPunct="1">
              <a:lnSpc>
                <a:spcPct val="100000"/>
              </a:lnSpc>
              <a:spcBef>
                <a:spcPts val="0"/>
              </a:spcBef>
              <a:spcAft>
                <a:spcPts val="485"/>
              </a:spcAft>
              <a:buClrTx/>
              <a:buSzTx/>
              <a:buFontTx/>
              <a:buNone/>
              <a:tabLst/>
              <a:defRPr/>
            </a:pPr>
            <a:r>
              <a:rPr kumimoji="0" lang="en-US" sz="1455" b="1" i="0" u="none" strike="noStrike" kern="1200" cap="none" spc="0" normalizeH="0" baseline="0" noProof="0">
                <a:ln>
                  <a:noFill/>
                </a:ln>
                <a:solidFill>
                  <a:srgbClr val="000000"/>
                </a:solidFill>
                <a:effectLst/>
                <a:uLnTx/>
                <a:uFillTx/>
                <a:latin typeface="Poppins"/>
                <a:ea typeface="Roboto"/>
                <a:cs typeface="Calibri"/>
              </a:rPr>
              <a:t>Key Attributes </a:t>
            </a:r>
          </a:p>
        </p:txBody>
      </p:sp>
      <p:sp>
        <p:nvSpPr>
          <p:cNvPr id="7" name="Footer Placeholder 6">
            <a:extLst>
              <a:ext uri="{FF2B5EF4-FFF2-40B4-BE49-F238E27FC236}">
                <a16:creationId xmlns:a16="http://schemas.microsoft.com/office/drawing/2014/main" id="{859D73EE-5212-5366-DE2F-2F885F18B05A}"/>
              </a:ext>
            </a:extLst>
          </p:cNvPr>
          <p:cNvSpPr>
            <a:spLocks noGrp="1"/>
          </p:cNvSpPr>
          <p:nvPr>
            <p:ph type="ftr" sz="quarter" idx="11"/>
          </p:nvPr>
        </p:nvSpPr>
        <p:spPr/>
        <p: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VB Director’s Report to SAGE</a:t>
            </a:r>
          </a:p>
        </p:txBody>
      </p:sp>
      <p:sp>
        <p:nvSpPr>
          <p:cNvPr id="17" name="Slide Number Placeholder 4">
            <a:extLst>
              <a:ext uri="{FF2B5EF4-FFF2-40B4-BE49-F238E27FC236}">
                <a16:creationId xmlns:a16="http://schemas.microsoft.com/office/drawing/2014/main" id="{60E26789-826F-8CDC-0E45-3C3D1DAF7117}"/>
              </a:ext>
            </a:extLst>
          </p:cNvPr>
          <p:cNvSpPr>
            <a:spLocks noGrp="1"/>
          </p:cNvSpPr>
          <p:nvPr>
            <p:ph type="sldNum" sz="quarter" idx="12"/>
          </p:nvPr>
        </p:nvSpPr>
        <p:spPr>
          <a:xfrm>
            <a:off x="10693671" y="6482886"/>
            <a:ext cx="897133" cy="112018"/>
          </a:xfrm>
        </p:spPr>
        <p:txBody>
          <a:bodyPr/>
          <a:lstStyle/>
          <a:p>
            <a:pPr marL="0" marR="0" lvl="0" indent="0" algn="r" defTabSz="554440" rtl="0" eaLnBrk="1" fontAlgn="auto" latinLnBrk="0" hangingPunct="1">
              <a:lnSpc>
                <a:spcPct val="100000"/>
              </a:lnSpc>
              <a:spcBef>
                <a:spcPts val="0"/>
              </a:spcBef>
              <a:spcAft>
                <a:spcPts val="0"/>
              </a:spcAft>
              <a:buClrTx/>
              <a:buSzTx/>
              <a:buFontTx/>
              <a:buNone/>
              <a:tabLst/>
              <a:defRPr/>
            </a:pPr>
            <a:fld id="{714BF2E0-EE3B-6A4E-9FB9-82DE86E1F02F}" type="slidenum">
              <a:rPr kumimoji="0" lang="en-US"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40" rtl="0" eaLnBrk="1" fontAlgn="auto" latinLnBrk="0" hangingPunct="1">
                <a:lnSpc>
                  <a:spcPct val="100000"/>
                </a:lnSpc>
                <a:spcBef>
                  <a:spcPts val="0"/>
                </a:spcBef>
                <a:spcAft>
                  <a:spcPts val="0"/>
                </a:spcAft>
                <a:buClrTx/>
                <a:buSzTx/>
                <a:buFontTx/>
                <a:buNone/>
                <a:tabLst/>
                <a:defRPr/>
              </a:pPr>
              <a:t>10</a:t>
            </a:fld>
            <a:endParaRPr kumimoji="0" lang="en-US"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pic>
        <p:nvPicPr>
          <p:cNvPr id="4" name="Graphic 3">
            <a:extLst>
              <a:ext uri="{FF2B5EF4-FFF2-40B4-BE49-F238E27FC236}">
                <a16:creationId xmlns:a16="http://schemas.microsoft.com/office/drawing/2014/main" id="{0C3EA4B0-5FD9-7896-7DC9-7FB3E5305E52}"/>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t="-11699"/>
          <a:stretch/>
        </p:blipFill>
        <p:spPr>
          <a:xfrm>
            <a:off x="11343276" y="110032"/>
            <a:ext cx="636511" cy="710972"/>
          </a:xfrm>
          <a:prstGeom prst="rect">
            <a:avLst/>
          </a:prstGeom>
        </p:spPr>
      </p:pic>
    </p:spTree>
    <p:extLst>
      <p:ext uri="{BB962C8B-B14F-4D97-AF65-F5344CB8AC3E}">
        <p14:creationId xmlns:p14="http://schemas.microsoft.com/office/powerpoint/2010/main" val="2832499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BB138-6294-18F0-DEDB-AB6FAECD1E24}"/>
            </a:ext>
          </a:extLst>
        </p:cNvPr>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DBEB8A67-C5BC-31B1-FF1A-143D666E1747}"/>
              </a:ext>
            </a:extLst>
          </p:cNvPr>
          <p:cNvSpPr>
            <a:spLocks noGrp="1"/>
          </p:cNvSpPr>
          <p:nvPr>
            <p:ph type="sldNum" sz="quarter" idx="12"/>
          </p:nvPr>
        </p:nvSpPr>
        <p:spPr>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11</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F493472D-C520-583F-1A72-299D4DB80859}"/>
              </a:ext>
            </a:extLst>
          </p:cNvPr>
          <p:cNvSpPr>
            <a:spLocks noGrp="1"/>
          </p:cNvSpPr>
          <p:nvPr>
            <p:ph type="title"/>
          </p:nvPr>
        </p:nvSpPr>
        <p:spPr>
          <a:xfrm>
            <a:off x="431885" y="563910"/>
            <a:ext cx="9343330" cy="405367"/>
          </a:xfrm>
        </p:spPr>
        <p:txBody>
          <a:bodyPr/>
          <a:lstStyle/>
          <a:p>
            <a:r>
              <a:rPr lang="en-US" sz="2900">
                <a:latin typeface="Poppins SemiBold"/>
                <a:ea typeface="Roboto"/>
                <a:cs typeface="Poppins SemiBold"/>
              </a:rPr>
              <a:t>REPORT FROM GAVI, THE VACCINE ALLIANCE</a:t>
            </a:r>
          </a:p>
        </p:txBody>
      </p:sp>
      <p:sp>
        <p:nvSpPr>
          <p:cNvPr id="5" name="Text Placeholder 4">
            <a:extLst>
              <a:ext uri="{FF2B5EF4-FFF2-40B4-BE49-F238E27FC236}">
                <a16:creationId xmlns:a16="http://schemas.microsoft.com/office/drawing/2014/main" id="{7A541722-21E1-5248-B85C-A195B70C16C3}"/>
              </a:ext>
            </a:extLst>
          </p:cNvPr>
          <p:cNvSpPr>
            <a:spLocks noGrp="1"/>
          </p:cNvSpPr>
          <p:nvPr>
            <p:ph type="body" sz="quarter" idx="13"/>
          </p:nvPr>
        </p:nvSpPr>
        <p:spPr>
          <a:xfrm>
            <a:off x="578025" y="1338046"/>
            <a:ext cx="5080927" cy="261290"/>
          </a:xfrm>
        </p:spPr>
        <p:txBody>
          <a:bodyPr/>
          <a:lstStyle/>
          <a:p>
            <a:endParaRPr lang="en-GB"/>
          </a:p>
        </p:txBody>
      </p:sp>
      <p:sp>
        <p:nvSpPr>
          <p:cNvPr id="14" name="Rectangle: Rounded Corners 13">
            <a:extLst>
              <a:ext uri="{FF2B5EF4-FFF2-40B4-BE49-F238E27FC236}">
                <a16:creationId xmlns:a16="http://schemas.microsoft.com/office/drawing/2014/main" id="{A9605D26-E619-9F38-F912-D6EEF562B736}"/>
              </a:ext>
            </a:extLst>
          </p:cNvPr>
          <p:cNvSpPr/>
          <p:nvPr/>
        </p:nvSpPr>
        <p:spPr>
          <a:xfrm>
            <a:off x="482846" y="2336908"/>
            <a:ext cx="10883492" cy="1026045"/>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108984" marR="0" lvl="4" indent="0" algn="l" defTabSz="554492" rtl="0" eaLnBrk="1" fontAlgn="auto" latinLnBrk="0" hangingPunct="1">
              <a:lnSpc>
                <a:spcPct val="100000"/>
              </a:lnSpc>
              <a:spcBef>
                <a:spcPts val="0"/>
              </a:spcBef>
              <a:spcAft>
                <a:spcPts val="0"/>
              </a:spcAft>
              <a:buClrTx/>
              <a:buSzTx/>
              <a:buFontTx/>
              <a:buNone/>
              <a:tabLst/>
              <a:defRPr/>
            </a:pPr>
            <a:r>
              <a:rPr kumimoji="0" lang="en-US" sz="1698" b="0" i="0" u="none" strike="noStrike" kern="1200" cap="none" spc="0" normalizeH="0" baseline="0" noProof="0">
                <a:ln>
                  <a:noFill/>
                </a:ln>
                <a:solidFill>
                  <a:srgbClr val="000000"/>
                </a:solidFill>
                <a:effectLst/>
                <a:uLnTx/>
                <a:uFillTx/>
                <a:latin typeface="Poppins"/>
                <a:ea typeface="+mn-ea"/>
                <a:cs typeface="+mn-cs"/>
              </a:rPr>
              <a:t>Gavi and Alliance partners have supported eligible countries in making measurable progress in reducing zero-dose children, revitalizing HPV vaccination, and accelerating malaria vaccine rollout. </a:t>
            </a:r>
          </a:p>
        </p:txBody>
      </p:sp>
      <p:sp>
        <p:nvSpPr>
          <p:cNvPr id="15" name="Rectangle: Rounded Corners 14">
            <a:extLst>
              <a:ext uri="{FF2B5EF4-FFF2-40B4-BE49-F238E27FC236}">
                <a16:creationId xmlns:a16="http://schemas.microsoft.com/office/drawing/2014/main" id="{F51F1A18-F8CC-45C1-BCD5-8474C5E121C9}"/>
              </a:ext>
            </a:extLst>
          </p:cNvPr>
          <p:cNvSpPr/>
          <p:nvPr/>
        </p:nvSpPr>
        <p:spPr>
          <a:xfrm>
            <a:off x="431885" y="3518261"/>
            <a:ext cx="10911391" cy="998861"/>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98" b="0" i="0" u="none" strike="noStrike" kern="1200" cap="none" spc="0" normalizeH="0" baseline="0" noProof="0">
                <a:ln>
                  <a:noFill/>
                </a:ln>
                <a:solidFill>
                  <a:srgbClr val="000000"/>
                </a:solidFill>
                <a:effectLst/>
                <a:uLnTx/>
                <a:uFillTx/>
                <a:latin typeface="Poppins"/>
                <a:ea typeface="Source Sans Pro"/>
                <a:cs typeface="Poppins"/>
              </a:rPr>
              <a:t>Funding gaps and sustainability pressures require sharper prioritization and stronger coordination. </a:t>
            </a:r>
          </a:p>
        </p:txBody>
      </p:sp>
      <p:sp>
        <p:nvSpPr>
          <p:cNvPr id="10" name="Rectangle: Rounded Corners 9">
            <a:extLst>
              <a:ext uri="{FF2B5EF4-FFF2-40B4-BE49-F238E27FC236}">
                <a16:creationId xmlns:a16="http://schemas.microsoft.com/office/drawing/2014/main" id="{6B7C742A-4070-2D6C-3247-34E963451C98}"/>
              </a:ext>
            </a:extLst>
          </p:cNvPr>
          <p:cNvSpPr/>
          <p:nvPr/>
        </p:nvSpPr>
        <p:spPr>
          <a:xfrm>
            <a:off x="431885" y="4715436"/>
            <a:ext cx="10911391" cy="1011574"/>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98" b="0" i="0" u="none" strike="noStrike" kern="1200" cap="none" spc="0" normalizeH="0" baseline="0" noProof="0">
                <a:ln>
                  <a:noFill/>
                </a:ln>
                <a:solidFill>
                  <a:srgbClr val="000000"/>
                </a:solidFill>
                <a:effectLst/>
                <a:uLnTx/>
                <a:uFillTx/>
                <a:latin typeface="Poppins"/>
                <a:ea typeface="Source Sans Pro"/>
                <a:cs typeface="Poppins"/>
              </a:rPr>
              <a:t>Guidance from SAGE in setting evidence-based priorities will be essential to ensure immunization programmes optimize their vaccine portfolios and continue to deliver impact equitably and sustainably.</a:t>
            </a:r>
          </a:p>
        </p:txBody>
      </p:sp>
      <p:pic>
        <p:nvPicPr>
          <p:cNvPr id="16" name="Graphic 15" descr="Business Growth outline">
            <a:extLst>
              <a:ext uri="{FF2B5EF4-FFF2-40B4-BE49-F238E27FC236}">
                <a16:creationId xmlns:a16="http://schemas.microsoft.com/office/drawing/2014/main" id="{DAE1E714-5853-4A66-AF4B-BD48194ED0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437" y="2529678"/>
            <a:ext cx="554493" cy="554493"/>
          </a:xfrm>
          <a:prstGeom prst="rect">
            <a:avLst/>
          </a:prstGeom>
        </p:spPr>
      </p:pic>
      <p:pic>
        <p:nvPicPr>
          <p:cNvPr id="8" name="Graphic 7">
            <a:extLst>
              <a:ext uri="{FF2B5EF4-FFF2-40B4-BE49-F238E27FC236}">
                <a16:creationId xmlns:a16="http://schemas.microsoft.com/office/drawing/2014/main" id="{A3D2E275-7DFD-492C-5AFF-A649D16F38B3}"/>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t="-11699"/>
          <a:stretch/>
        </p:blipFill>
        <p:spPr>
          <a:xfrm>
            <a:off x="11343276" y="110032"/>
            <a:ext cx="636511" cy="710972"/>
          </a:xfrm>
          <a:prstGeom prst="rect">
            <a:avLst/>
          </a:prstGeom>
        </p:spPr>
      </p:pic>
      <p:pic>
        <p:nvPicPr>
          <p:cNvPr id="2" name="Graphic 1" descr="Money with solid fill">
            <a:extLst>
              <a:ext uri="{FF2B5EF4-FFF2-40B4-BE49-F238E27FC236}">
                <a16:creationId xmlns:a16="http://schemas.microsoft.com/office/drawing/2014/main" id="{4A519820-30BA-DAA8-D42D-6BBB648ED7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3437" y="3635780"/>
            <a:ext cx="512557" cy="512557"/>
          </a:xfrm>
          <a:prstGeom prst="rect">
            <a:avLst/>
          </a:prstGeom>
        </p:spPr>
      </p:pic>
      <p:pic>
        <p:nvPicPr>
          <p:cNvPr id="11" name="Graphic 10" descr="Classroom outline">
            <a:extLst>
              <a:ext uri="{FF2B5EF4-FFF2-40B4-BE49-F238E27FC236}">
                <a16:creationId xmlns:a16="http://schemas.microsoft.com/office/drawing/2014/main" id="{46E63B61-1FC7-7CA8-131B-01E8B1AB3AE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695" y="4878244"/>
            <a:ext cx="554493" cy="554493"/>
          </a:xfrm>
          <a:prstGeom prst="rect">
            <a:avLst/>
          </a:prstGeom>
        </p:spPr>
      </p:pic>
    </p:spTree>
    <p:extLst>
      <p:ext uri="{BB962C8B-B14F-4D97-AF65-F5344CB8AC3E}">
        <p14:creationId xmlns:p14="http://schemas.microsoft.com/office/powerpoint/2010/main" val="613194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3C47B3-69BC-0D41-61E2-47B16DA6A90D}"/>
            </a:ext>
          </a:extLst>
        </p:cNvPr>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C2CE75B8-F465-C99C-ABCE-8AFD97286178}"/>
              </a:ext>
            </a:extLst>
          </p:cNvPr>
          <p:cNvSpPr>
            <a:spLocks noGrp="1"/>
          </p:cNvSpPr>
          <p:nvPr>
            <p:ph type="sldNum" sz="quarter" idx="12"/>
          </p:nvPr>
        </p:nvSpPr>
        <p:spPr>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12</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16849787-F192-3E29-C42F-1C9D8CDBB06C}"/>
              </a:ext>
            </a:extLst>
          </p:cNvPr>
          <p:cNvSpPr>
            <a:spLocks noGrp="1"/>
          </p:cNvSpPr>
          <p:nvPr>
            <p:ph type="title"/>
          </p:nvPr>
        </p:nvSpPr>
        <p:spPr>
          <a:xfrm>
            <a:off x="441379" y="212931"/>
            <a:ext cx="9343330" cy="405367"/>
          </a:xfrm>
        </p:spPr>
        <p:txBody>
          <a:bodyPr/>
          <a:lstStyle/>
          <a:p>
            <a:r>
              <a:rPr lang="en-US" sz="2900">
                <a:latin typeface="Poppins SemiBold"/>
                <a:ea typeface="Roboto"/>
                <a:cs typeface="Poppins SemiBold"/>
              </a:rPr>
              <a:t>REGIONAL REPORTS</a:t>
            </a:r>
          </a:p>
        </p:txBody>
      </p:sp>
      <p:sp>
        <p:nvSpPr>
          <p:cNvPr id="5" name="Text Placeholder 4">
            <a:extLst>
              <a:ext uri="{FF2B5EF4-FFF2-40B4-BE49-F238E27FC236}">
                <a16:creationId xmlns:a16="http://schemas.microsoft.com/office/drawing/2014/main" id="{E81A97EE-1D02-29D5-EE43-5E1E10AFD0E7}"/>
              </a:ext>
            </a:extLst>
          </p:cNvPr>
          <p:cNvSpPr>
            <a:spLocks noGrp="1"/>
          </p:cNvSpPr>
          <p:nvPr>
            <p:ph type="body" sz="quarter" idx="13"/>
          </p:nvPr>
        </p:nvSpPr>
        <p:spPr>
          <a:xfrm>
            <a:off x="578025" y="1338046"/>
            <a:ext cx="5080927" cy="261290"/>
          </a:xfrm>
        </p:spPr>
        <p:txBody>
          <a:bodyPr/>
          <a:lstStyle/>
          <a:p>
            <a:endParaRPr lang="en-GB"/>
          </a:p>
        </p:txBody>
      </p:sp>
      <p:sp>
        <p:nvSpPr>
          <p:cNvPr id="7" name="Rectangle: Rounded Corners 6">
            <a:extLst>
              <a:ext uri="{FF2B5EF4-FFF2-40B4-BE49-F238E27FC236}">
                <a16:creationId xmlns:a16="http://schemas.microsoft.com/office/drawing/2014/main" id="{C0764CF0-2F38-5B76-1178-C960ABCD91CC}"/>
              </a:ext>
            </a:extLst>
          </p:cNvPr>
          <p:cNvSpPr/>
          <p:nvPr/>
        </p:nvSpPr>
        <p:spPr>
          <a:xfrm>
            <a:off x="441379" y="1130990"/>
            <a:ext cx="10892403" cy="998861"/>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34" tIns="45717" rIns="91434" bIns="45717" rtlCol="0" anchor="ctr"/>
          <a:lstStyle/>
          <a:p>
            <a:pPr marL="1108984" marR="0" lvl="4" indent="0" algn="l" defTabSz="554492" rtl="0" eaLnBrk="1" fontAlgn="auto" latinLnBrk="0" hangingPunct="1">
              <a:lnSpc>
                <a:spcPct val="100000"/>
              </a:lnSpc>
              <a:spcBef>
                <a:spcPts val="0"/>
              </a:spcBef>
              <a:spcAft>
                <a:spcPts val="0"/>
              </a:spcAft>
              <a:buClrTx/>
              <a:buSzTx/>
              <a:buFontTx/>
              <a:buNone/>
              <a:tabLst/>
              <a:defRPr/>
            </a:pPr>
            <a:r>
              <a:rPr kumimoji="0" lang="en-GB" sz="1698" b="0" i="0" u="none" strike="noStrike" kern="1200" cap="none" spc="0" normalizeH="0" baseline="0" noProof="0">
                <a:ln>
                  <a:noFill/>
                </a:ln>
                <a:solidFill>
                  <a:srgbClr val="000000"/>
                </a:solidFill>
                <a:effectLst/>
                <a:uLnTx/>
                <a:uFillTx/>
                <a:latin typeface="Poppins"/>
                <a:ea typeface="+mn-ea"/>
                <a:cs typeface="+mn-cs"/>
              </a:rPr>
              <a:t>All WHO Regional Offices have been affected by drastic reductions in human and financial resources, which will significantly affect their ability to support immunization activities in their Member States.</a:t>
            </a:r>
            <a:endParaRPr kumimoji="0" lang="en-US" sz="1698" b="0" i="0" u="none" strike="noStrike" kern="1200" cap="none" spc="0" normalizeH="0" baseline="0" noProof="0">
              <a:ln>
                <a:noFill/>
              </a:ln>
              <a:solidFill>
                <a:srgbClr val="000000"/>
              </a:solidFill>
              <a:effectLst/>
              <a:uLnTx/>
              <a:uFillTx/>
              <a:latin typeface="Poppins"/>
              <a:ea typeface="+mn-ea"/>
              <a:cs typeface="+mn-cs"/>
            </a:endParaRPr>
          </a:p>
        </p:txBody>
      </p:sp>
      <p:sp>
        <p:nvSpPr>
          <p:cNvPr id="14" name="Rectangle: Rounded Corners 13">
            <a:extLst>
              <a:ext uri="{FF2B5EF4-FFF2-40B4-BE49-F238E27FC236}">
                <a16:creationId xmlns:a16="http://schemas.microsoft.com/office/drawing/2014/main" id="{738F21BF-8C2C-F82A-CDB5-6A47FB9636A7}"/>
              </a:ext>
            </a:extLst>
          </p:cNvPr>
          <p:cNvSpPr/>
          <p:nvPr/>
        </p:nvSpPr>
        <p:spPr>
          <a:xfrm>
            <a:off x="482846" y="2336908"/>
            <a:ext cx="10883492" cy="1026045"/>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108984" marR="0" lvl="4" indent="0" algn="l" defTabSz="554492" rtl="0" eaLnBrk="1" fontAlgn="auto" latinLnBrk="0" hangingPunct="1">
              <a:lnSpc>
                <a:spcPct val="100000"/>
              </a:lnSpc>
              <a:spcBef>
                <a:spcPts val="0"/>
              </a:spcBef>
              <a:spcAft>
                <a:spcPts val="0"/>
              </a:spcAft>
              <a:buClrTx/>
              <a:buSzTx/>
              <a:buFontTx/>
              <a:buNone/>
              <a:tabLst/>
              <a:defRPr/>
            </a:pPr>
            <a:r>
              <a:rPr kumimoji="0" lang="en-GB" sz="1698" b="0" i="0" u="none" strike="noStrike" kern="1200" cap="none" spc="0" normalizeH="0" baseline="0" noProof="0">
                <a:ln>
                  <a:noFill/>
                </a:ln>
                <a:solidFill>
                  <a:srgbClr val="000000"/>
                </a:solidFill>
                <a:effectLst/>
                <a:uLnTx/>
                <a:uFillTx/>
                <a:latin typeface="Poppins"/>
                <a:ea typeface="+mn-ea"/>
                <a:cs typeface="+mn-cs"/>
              </a:rPr>
              <a:t>While there has been progress in restoring immunization coverage through catch-up vaccination efforts, immunity gaps persist and have led to large and disruptive VPD outbreaks in several countries.</a:t>
            </a:r>
            <a:endParaRPr kumimoji="0" lang="en-US" sz="1698" b="0" i="0" u="none" strike="noStrike" kern="1200" cap="none" spc="0" normalizeH="0" baseline="0" noProof="0">
              <a:ln>
                <a:noFill/>
              </a:ln>
              <a:solidFill>
                <a:srgbClr val="000000"/>
              </a:solidFill>
              <a:effectLst/>
              <a:uLnTx/>
              <a:uFillTx/>
              <a:latin typeface="Poppins"/>
              <a:ea typeface="+mn-ea"/>
              <a:cs typeface="+mn-cs"/>
            </a:endParaRPr>
          </a:p>
        </p:txBody>
      </p:sp>
      <p:sp>
        <p:nvSpPr>
          <p:cNvPr id="15" name="Rectangle: Rounded Corners 14">
            <a:extLst>
              <a:ext uri="{FF2B5EF4-FFF2-40B4-BE49-F238E27FC236}">
                <a16:creationId xmlns:a16="http://schemas.microsoft.com/office/drawing/2014/main" id="{E72E2256-41DD-1236-352D-96021CF418BC}"/>
              </a:ext>
            </a:extLst>
          </p:cNvPr>
          <p:cNvSpPr/>
          <p:nvPr/>
        </p:nvSpPr>
        <p:spPr>
          <a:xfrm>
            <a:off x="431885" y="3518261"/>
            <a:ext cx="10911391" cy="998861"/>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98" b="0" i="0" u="none" strike="noStrike" kern="1200" cap="none" spc="0" normalizeH="0" baseline="0" noProof="0">
                <a:ln>
                  <a:noFill/>
                </a:ln>
                <a:solidFill>
                  <a:srgbClr val="000000"/>
                </a:solidFill>
                <a:effectLst/>
                <a:uLnTx/>
                <a:uFillTx/>
                <a:latin typeface="Poppins"/>
                <a:ea typeface="Source Sans Pro"/>
                <a:cs typeface="Poppins"/>
              </a:rPr>
              <a:t>There is concern across all the WHO Regions about the potential for further backsliding because of the constrained resources in the current global health environment.</a:t>
            </a:r>
          </a:p>
        </p:txBody>
      </p:sp>
      <p:sp>
        <p:nvSpPr>
          <p:cNvPr id="10" name="Rectangle: Rounded Corners 9">
            <a:extLst>
              <a:ext uri="{FF2B5EF4-FFF2-40B4-BE49-F238E27FC236}">
                <a16:creationId xmlns:a16="http://schemas.microsoft.com/office/drawing/2014/main" id="{BF8BD84A-225D-EAF4-310D-B3D52CF65021}"/>
              </a:ext>
            </a:extLst>
          </p:cNvPr>
          <p:cNvSpPr/>
          <p:nvPr/>
        </p:nvSpPr>
        <p:spPr>
          <a:xfrm>
            <a:off x="431885" y="4715436"/>
            <a:ext cx="10911391" cy="1011574"/>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98" b="0" i="0" u="none" strike="noStrike" kern="1200" cap="none" spc="0" normalizeH="0" baseline="0" noProof="0">
                <a:ln>
                  <a:noFill/>
                </a:ln>
                <a:solidFill>
                  <a:srgbClr val="000000"/>
                </a:solidFill>
                <a:effectLst/>
                <a:uLnTx/>
                <a:uFillTx/>
                <a:latin typeface="Poppins"/>
                <a:ea typeface="Source Sans Pro"/>
                <a:cs typeface="Poppins"/>
              </a:rPr>
              <a:t>Efforts are increasingly focused on subnational levels to maximize the impact of available resources, reduce the number of unvaccinated and under-vaccinated children, and advance immunization equity.</a:t>
            </a:r>
          </a:p>
        </p:txBody>
      </p:sp>
      <p:pic>
        <p:nvPicPr>
          <p:cNvPr id="9" name="Graphic 8" descr="Bank outline">
            <a:extLst>
              <a:ext uri="{FF2B5EF4-FFF2-40B4-BE49-F238E27FC236}">
                <a16:creationId xmlns:a16="http://schemas.microsoft.com/office/drawing/2014/main" id="{9ACCC360-C55A-5DEC-AA16-D8723FAA0F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437" y="1358811"/>
            <a:ext cx="554493" cy="554493"/>
          </a:xfrm>
          <a:prstGeom prst="rect">
            <a:avLst/>
          </a:prstGeom>
        </p:spPr>
      </p:pic>
      <p:pic>
        <p:nvPicPr>
          <p:cNvPr id="16" name="Graphic 15" descr="Business Growth outline">
            <a:extLst>
              <a:ext uri="{FF2B5EF4-FFF2-40B4-BE49-F238E27FC236}">
                <a16:creationId xmlns:a16="http://schemas.microsoft.com/office/drawing/2014/main" id="{B58BF7EE-9F54-ADDB-4E02-BEC3E1633A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3437" y="2529678"/>
            <a:ext cx="554493" cy="554493"/>
          </a:xfrm>
          <a:prstGeom prst="rect">
            <a:avLst/>
          </a:prstGeom>
        </p:spPr>
      </p:pic>
      <p:pic>
        <p:nvPicPr>
          <p:cNvPr id="19" name="Graphic 18" descr="Bar graph with downward trend outline">
            <a:extLst>
              <a:ext uri="{FF2B5EF4-FFF2-40B4-BE49-F238E27FC236}">
                <a16:creationId xmlns:a16="http://schemas.microsoft.com/office/drawing/2014/main" id="{F2E38027-E58C-4C34-D3F9-A0AAB01DA78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3437" y="3777092"/>
            <a:ext cx="554493" cy="554493"/>
          </a:xfrm>
          <a:prstGeom prst="rect">
            <a:avLst/>
          </a:prstGeom>
        </p:spPr>
      </p:pic>
      <p:pic>
        <p:nvPicPr>
          <p:cNvPr id="21" name="Graphic 20" descr="Topography Map with solid fill">
            <a:extLst>
              <a:ext uri="{FF2B5EF4-FFF2-40B4-BE49-F238E27FC236}">
                <a16:creationId xmlns:a16="http://schemas.microsoft.com/office/drawing/2014/main" id="{3DB344CA-5DFD-FF7E-F710-37B8C565CA5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3437" y="4855300"/>
            <a:ext cx="554493" cy="554493"/>
          </a:xfrm>
          <a:prstGeom prst="rect">
            <a:avLst/>
          </a:prstGeom>
        </p:spPr>
      </p:pic>
      <p:pic>
        <p:nvPicPr>
          <p:cNvPr id="8" name="Graphic 7">
            <a:extLst>
              <a:ext uri="{FF2B5EF4-FFF2-40B4-BE49-F238E27FC236}">
                <a16:creationId xmlns:a16="http://schemas.microsoft.com/office/drawing/2014/main" id="{1D6608AA-5C53-C970-3BF7-B13E7DE233EA}"/>
              </a:ext>
            </a:extLst>
          </p:cNvPr>
          <p:cNvPicPr>
            <a:picLocks noChangeAspect="1"/>
          </p:cNvPicPr>
          <p:nvPr/>
        </p:nvPicPr>
        <p:blipFill rotWithShape="1">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t="-11699"/>
          <a:stretch/>
        </p:blipFill>
        <p:spPr>
          <a:xfrm>
            <a:off x="11343276" y="110032"/>
            <a:ext cx="636511" cy="710972"/>
          </a:xfrm>
          <a:prstGeom prst="rect">
            <a:avLst/>
          </a:prstGeom>
        </p:spPr>
      </p:pic>
    </p:spTree>
    <p:extLst>
      <p:ext uri="{BB962C8B-B14F-4D97-AF65-F5344CB8AC3E}">
        <p14:creationId xmlns:p14="http://schemas.microsoft.com/office/powerpoint/2010/main" val="3872024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ABB7331-8249-10BE-F684-D3425F0706E4}"/>
              </a:ext>
            </a:extLst>
          </p:cNvPr>
          <p:cNvSpPr>
            <a:spLocks noGrp="1"/>
          </p:cNvSpPr>
          <p:nvPr>
            <p:ph type="body" sz="quarter" idx="13"/>
          </p:nvPr>
        </p:nvSpPr>
        <p:spPr>
          <a:xfrm>
            <a:off x="1498330" y="3196340"/>
            <a:ext cx="9195342" cy="465320"/>
          </a:xfrm>
        </p:spPr>
        <p:txBody>
          <a:bodyPr/>
          <a:lstStyle/>
          <a:p>
            <a:r>
              <a:rPr lang="en-GB" sz="2668"/>
              <a:t>IA2030 –MID-TERM REPORT</a:t>
            </a:r>
          </a:p>
        </p:txBody>
      </p:sp>
      <p:sp>
        <p:nvSpPr>
          <p:cNvPr id="2" name="Slide Number Placeholder 5">
            <a:extLst>
              <a:ext uri="{FF2B5EF4-FFF2-40B4-BE49-F238E27FC236}">
                <a16:creationId xmlns:a16="http://schemas.microsoft.com/office/drawing/2014/main" id="{AC315DAA-66D2-1DF7-DF00-310698AEC87C}"/>
              </a:ext>
            </a:extLst>
          </p:cNvPr>
          <p:cNvSpPr txBox="1">
            <a:spLocks/>
          </p:cNvSpPr>
          <p:nvPr/>
        </p:nvSpPr>
        <p:spPr>
          <a:xfrm>
            <a:off x="10693671" y="6482886"/>
            <a:ext cx="897133" cy="112018"/>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13</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pic>
        <p:nvPicPr>
          <p:cNvPr id="3" name="Picture 2">
            <a:extLst>
              <a:ext uri="{FF2B5EF4-FFF2-40B4-BE49-F238E27FC236}">
                <a16:creationId xmlns:a16="http://schemas.microsoft.com/office/drawing/2014/main" id="{3ED755C4-1147-12C4-60CC-C947D2410CE7}"/>
              </a:ext>
            </a:extLst>
          </p:cNvPr>
          <p:cNvPicPr>
            <a:picLocks noChangeAspect="1"/>
          </p:cNvPicPr>
          <p:nvPr/>
        </p:nvPicPr>
        <p:blipFill>
          <a:blip r:embed="rId2" cstate="screen">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10066931" y="149178"/>
            <a:ext cx="1813294" cy="1083486"/>
          </a:xfrm>
          <a:prstGeom prst="rect">
            <a:avLst/>
          </a:prstGeom>
        </p:spPr>
      </p:pic>
    </p:spTree>
    <p:extLst>
      <p:ext uri="{BB962C8B-B14F-4D97-AF65-F5344CB8AC3E}">
        <p14:creationId xmlns:p14="http://schemas.microsoft.com/office/powerpoint/2010/main" val="3598348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D25D6E-2788-E772-71FB-371EB04B0AA3}"/>
              </a:ext>
            </a:extLst>
          </p:cNvPr>
          <p:cNvGraphicFramePr>
            <a:graphicFrameLocks noChangeAspect="1"/>
          </p:cNvGraphicFramePr>
          <p:nvPr>
            <p:custDataLst>
              <p:tags r:id="rId1"/>
            </p:custDataLst>
          </p:nvPr>
        </p:nvGraphicFramePr>
        <p:xfrm>
          <a:off x="2016" y="1829"/>
          <a:ext cx="1588" cy="1588"/>
        </p:xfrm>
        <a:graphic>
          <a:graphicData uri="http://schemas.openxmlformats.org/presentationml/2006/ole">
            <mc:AlternateContent xmlns:mc="http://schemas.openxmlformats.org/markup-compatibility/2006">
              <mc:Choice xmlns:v="urn:schemas-microsoft-com:vml" Requires="v">
                <p:oleObj name="think-cell Slide" r:id="rId33" imgW="351" imgH="363" progId="TCLayout.ActiveDocument.1">
                  <p:embed/>
                </p:oleObj>
              </mc:Choice>
              <mc:Fallback>
                <p:oleObj name="think-cell Slide" r:id="rId33" imgW="351" imgH="363" progId="TCLayout.ActiveDocument.1">
                  <p:embed/>
                  <p:pic>
                    <p:nvPicPr>
                      <p:cNvPr id="5" name="think-cell data - do not delete" hidden="1">
                        <a:extLst>
                          <a:ext uri="{FF2B5EF4-FFF2-40B4-BE49-F238E27FC236}">
                            <a16:creationId xmlns:a16="http://schemas.microsoft.com/office/drawing/2014/main" id="{F3D25D6E-2788-E772-71FB-371EB04B0AA3}"/>
                          </a:ext>
                        </a:extLst>
                      </p:cNvPr>
                      <p:cNvPicPr/>
                      <p:nvPr/>
                    </p:nvPicPr>
                    <p:blipFill>
                      <a:blip r:embed="rId34"/>
                      <a:stretch>
                        <a:fillRect/>
                      </a:stretch>
                    </p:blipFill>
                    <p:spPr>
                      <a:xfrm>
                        <a:off x="2016" y="1829"/>
                        <a:ext cx="1588" cy="1588"/>
                      </a:xfrm>
                      <a:prstGeom prst="rect">
                        <a:avLst/>
                      </a:prstGeom>
                    </p:spPr>
                  </p:pic>
                </p:oleObj>
              </mc:Fallback>
            </mc:AlternateContent>
          </a:graphicData>
        </a:graphic>
      </p:graphicFrame>
      <p:sp>
        <p:nvSpPr>
          <p:cNvPr id="133" name="Rectangle: Rounded Corners 132">
            <a:extLst>
              <a:ext uri="{FF2B5EF4-FFF2-40B4-BE49-F238E27FC236}">
                <a16:creationId xmlns:a16="http://schemas.microsoft.com/office/drawing/2014/main" id="{0F4725A1-F9D1-1DC0-A3E7-FC3508654FE6}"/>
              </a:ext>
            </a:extLst>
          </p:cNvPr>
          <p:cNvSpPr/>
          <p:nvPr/>
        </p:nvSpPr>
        <p:spPr>
          <a:xfrm>
            <a:off x="8061475" y="4426148"/>
            <a:ext cx="3686922" cy="1876027"/>
          </a:xfrm>
          <a:prstGeom prst="roundRect">
            <a:avLst>
              <a:gd name="adj" fmla="val 3337"/>
            </a:avLst>
          </a:prstGeom>
          <a:solidFill>
            <a:srgbClr val="FFFFFF"/>
          </a:solidFill>
          <a:ln w="9525" cap="rnd"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ctangle: Rounded Corners 30">
            <a:extLst>
              <a:ext uri="{FF2B5EF4-FFF2-40B4-BE49-F238E27FC236}">
                <a16:creationId xmlns:a16="http://schemas.microsoft.com/office/drawing/2014/main" id="{98BCA09D-CDA8-48DF-02B1-A780D53EEB97}"/>
              </a:ext>
            </a:extLst>
          </p:cNvPr>
          <p:cNvSpPr/>
          <p:nvPr/>
        </p:nvSpPr>
        <p:spPr>
          <a:xfrm>
            <a:off x="409759" y="5330932"/>
            <a:ext cx="3681796" cy="972565"/>
          </a:xfrm>
          <a:prstGeom prst="roundRect">
            <a:avLst>
              <a:gd name="adj" fmla="val 3337"/>
            </a:avLst>
          </a:prstGeom>
          <a:solidFill>
            <a:srgbClr val="FFFFFF"/>
          </a:solidFill>
          <a:ln w="9525" cap="rnd"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Rectangle: Rounded Corners 29">
            <a:extLst>
              <a:ext uri="{FF2B5EF4-FFF2-40B4-BE49-F238E27FC236}">
                <a16:creationId xmlns:a16="http://schemas.microsoft.com/office/drawing/2014/main" id="{D7FD984E-23DC-2904-25A7-1F8DBDACBD8C}"/>
              </a:ext>
            </a:extLst>
          </p:cNvPr>
          <p:cNvSpPr/>
          <p:nvPr/>
        </p:nvSpPr>
        <p:spPr>
          <a:xfrm>
            <a:off x="409759" y="3698997"/>
            <a:ext cx="3681796" cy="1560265"/>
          </a:xfrm>
          <a:prstGeom prst="roundRect">
            <a:avLst>
              <a:gd name="adj" fmla="val 3337"/>
            </a:avLst>
          </a:prstGeom>
          <a:solidFill>
            <a:srgbClr val="FFFFFF"/>
          </a:solidFill>
          <a:ln w="9525" cap="rnd"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 name="TextBox 130">
            <a:extLst>
              <a:ext uri="{FF2B5EF4-FFF2-40B4-BE49-F238E27FC236}">
                <a16:creationId xmlns:a16="http://schemas.microsoft.com/office/drawing/2014/main" id="{9A3A46D1-1C39-6DD1-3A53-79B1AFB81FA8}"/>
              </a:ext>
            </a:extLst>
          </p:cNvPr>
          <p:cNvSpPr txBox="1"/>
          <p:nvPr/>
        </p:nvSpPr>
        <p:spPr>
          <a:xfrm>
            <a:off x="454001" y="1997364"/>
            <a:ext cx="3605571" cy="3680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0" tIns="27430" rIns="27430" bIns="27430" numCol="1" spcCol="0" rtlCol="0" fromWordArt="0" anchor="t" anchorCtr="0" forceAA="0" compatLnSpc="1">
            <a:prstTxWarp prst="textNoShape">
              <a:avLst/>
            </a:prstTxWarp>
            <a:no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a:ln>
                  <a:noFill/>
                </a:ln>
                <a:solidFill>
                  <a:srgbClr val="000000"/>
                </a:solidFill>
                <a:effectLst/>
                <a:uLnTx/>
                <a:uFillTx/>
                <a:latin typeface="Arial"/>
                <a:ea typeface="+mn-ea"/>
                <a:cs typeface="Arial"/>
              </a:rPr>
              <a:t>Failure to meet IA2030 coverage targets will lead to an </a:t>
            </a:r>
            <a:r>
              <a:rPr kumimoji="0" lang="en-ZA" sz="1100" b="1" i="0" u="none" strike="noStrike" kern="1200" cap="none" spc="0" normalizeH="0" baseline="0" noProof="0">
                <a:ln>
                  <a:noFill/>
                </a:ln>
                <a:solidFill>
                  <a:srgbClr val="206356"/>
                </a:solidFill>
                <a:effectLst/>
                <a:uLnTx/>
                <a:uFillTx/>
                <a:latin typeface="Arial"/>
                <a:ea typeface="+mn-ea"/>
                <a:cs typeface="Arial"/>
              </a:rPr>
              <a:t>increase in avoidable future deaths</a:t>
            </a:r>
            <a:endParaRPr kumimoji="0" lang="en-US" sz="1100" b="1" i="0" u="none" strike="noStrike" kern="1200" cap="none" spc="0" normalizeH="0" baseline="0" noProof="0">
              <a:ln>
                <a:noFill/>
              </a:ln>
              <a:solidFill>
                <a:srgbClr val="206356"/>
              </a:solidFill>
              <a:effectLst/>
              <a:uLnTx/>
              <a:uFillTx/>
              <a:latin typeface="Arial" panose="020B0604020202020204"/>
              <a:ea typeface="+mn-ea"/>
              <a:cs typeface="+mn-cs"/>
            </a:endParaRPr>
          </a:p>
        </p:txBody>
      </p:sp>
      <p:sp>
        <p:nvSpPr>
          <p:cNvPr id="25" name="Rectangle: Rounded Corners 24">
            <a:extLst>
              <a:ext uri="{FF2B5EF4-FFF2-40B4-BE49-F238E27FC236}">
                <a16:creationId xmlns:a16="http://schemas.microsoft.com/office/drawing/2014/main" id="{F9BB5222-0812-A757-1D29-488372D1FEFD}"/>
              </a:ext>
            </a:extLst>
          </p:cNvPr>
          <p:cNvSpPr/>
          <p:nvPr/>
        </p:nvSpPr>
        <p:spPr>
          <a:xfrm>
            <a:off x="409759" y="2405679"/>
            <a:ext cx="3681796" cy="1206136"/>
          </a:xfrm>
          <a:prstGeom prst="roundRect">
            <a:avLst>
              <a:gd name="adj" fmla="val 3337"/>
            </a:avLst>
          </a:prstGeom>
          <a:solidFill>
            <a:srgbClr val="FFFFFF"/>
          </a:solidFill>
          <a:ln w="9525" cap="rnd"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Rectangle: Rounded Corners 23">
            <a:extLst>
              <a:ext uri="{FF2B5EF4-FFF2-40B4-BE49-F238E27FC236}">
                <a16:creationId xmlns:a16="http://schemas.microsoft.com/office/drawing/2014/main" id="{96B77129-6C26-42E7-7CB6-D8663AC66D27}"/>
              </a:ext>
            </a:extLst>
          </p:cNvPr>
          <p:cNvSpPr/>
          <p:nvPr/>
        </p:nvSpPr>
        <p:spPr>
          <a:xfrm>
            <a:off x="4251973" y="2405679"/>
            <a:ext cx="3686922" cy="1902734"/>
          </a:xfrm>
          <a:prstGeom prst="roundRect">
            <a:avLst>
              <a:gd name="adj" fmla="val 3337"/>
            </a:avLst>
          </a:prstGeom>
          <a:solidFill>
            <a:srgbClr val="FFFFFF"/>
          </a:solidFill>
          <a:ln w="9525" cap="rnd"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Rounded Corners 9">
            <a:extLst>
              <a:ext uri="{FF2B5EF4-FFF2-40B4-BE49-F238E27FC236}">
                <a16:creationId xmlns:a16="http://schemas.microsoft.com/office/drawing/2014/main" id="{C512B9D9-B1BF-6243-46C6-C3298473C892}"/>
              </a:ext>
            </a:extLst>
          </p:cNvPr>
          <p:cNvSpPr/>
          <p:nvPr/>
        </p:nvSpPr>
        <p:spPr>
          <a:xfrm>
            <a:off x="4251973" y="4426148"/>
            <a:ext cx="3686922" cy="1876027"/>
          </a:xfrm>
          <a:prstGeom prst="roundRect">
            <a:avLst>
              <a:gd name="adj" fmla="val 3337"/>
            </a:avLst>
          </a:prstGeom>
          <a:solidFill>
            <a:srgbClr val="FFFFFF"/>
          </a:solidFill>
          <a:ln w="9525" cap="rnd"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angle: Top Corners Rounded 2">
            <a:extLst>
              <a:ext uri="{FF2B5EF4-FFF2-40B4-BE49-F238E27FC236}">
                <a16:creationId xmlns:a16="http://schemas.microsoft.com/office/drawing/2014/main" id="{A97595D4-FF33-6F08-D200-C878EC8D9763}"/>
              </a:ext>
            </a:extLst>
          </p:cNvPr>
          <p:cNvSpPr/>
          <p:nvPr/>
        </p:nvSpPr>
        <p:spPr>
          <a:xfrm>
            <a:off x="436801" y="1446447"/>
            <a:ext cx="3686922" cy="455581"/>
          </a:xfrm>
          <a:prstGeom prst="round2SameRect">
            <a:avLst/>
          </a:prstGeom>
          <a:solidFill>
            <a:srgbClr val="206356"/>
          </a:solidFill>
          <a:ln w="9525" cap="rnd" cmpd="sng" algn="ctr">
            <a:solidFill>
              <a:srgbClr val="20635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Prevent Disease</a:t>
            </a:r>
          </a:p>
        </p:txBody>
      </p:sp>
      <p:sp>
        <p:nvSpPr>
          <p:cNvPr id="11" name="Rectangle: Top Corners Rounded 10">
            <a:extLst>
              <a:ext uri="{FF2B5EF4-FFF2-40B4-BE49-F238E27FC236}">
                <a16:creationId xmlns:a16="http://schemas.microsoft.com/office/drawing/2014/main" id="{B01B2B5D-1841-A7D5-FF2E-63252093F68E}"/>
              </a:ext>
            </a:extLst>
          </p:cNvPr>
          <p:cNvSpPr/>
          <p:nvPr/>
        </p:nvSpPr>
        <p:spPr>
          <a:xfrm>
            <a:off x="4251973" y="1446447"/>
            <a:ext cx="3686922" cy="455581"/>
          </a:xfrm>
          <a:prstGeom prst="round2SameRect">
            <a:avLst/>
          </a:prstGeom>
          <a:solidFill>
            <a:srgbClr val="206356"/>
          </a:solidFill>
          <a:ln w="9525" cap="rnd" cmpd="sng" algn="ctr">
            <a:solidFill>
              <a:srgbClr val="20635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Promote Equity</a:t>
            </a:r>
          </a:p>
        </p:txBody>
      </p:sp>
      <p:sp>
        <p:nvSpPr>
          <p:cNvPr id="13" name="Rectangle: Top Corners Rounded 12">
            <a:extLst>
              <a:ext uri="{FF2B5EF4-FFF2-40B4-BE49-F238E27FC236}">
                <a16:creationId xmlns:a16="http://schemas.microsoft.com/office/drawing/2014/main" id="{25E7507D-142B-2E8C-63BF-6D2466526157}"/>
              </a:ext>
            </a:extLst>
          </p:cNvPr>
          <p:cNvSpPr/>
          <p:nvPr/>
        </p:nvSpPr>
        <p:spPr>
          <a:xfrm>
            <a:off x="8067145" y="1446447"/>
            <a:ext cx="3686922" cy="455581"/>
          </a:xfrm>
          <a:prstGeom prst="round2SameRect">
            <a:avLst/>
          </a:prstGeom>
          <a:solidFill>
            <a:srgbClr val="206356"/>
          </a:solidFill>
          <a:ln w="9525" cap="rnd" cmpd="sng" algn="ctr">
            <a:solidFill>
              <a:srgbClr val="20635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Build Strong Programs</a:t>
            </a:r>
          </a:p>
        </p:txBody>
      </p:sp>
      <p:sp>
        <p:nvSpPr>
          <p:cNvPr id="15" name="Oval 20">
            <a:extLst>
              <a:ext uri="{FF2B5EF4-FFF2-40B4-BE49-F238E27FC236}">
                <a16:creationId xmlns:a16="http://schemas.microsoft.com/office/drawing/2014/main" id="{0F492B25-D814-1C21-4590-2ADFEBB32605}"/>
              </a:ext>
            </a:extLst>
          </p:cNvPr>
          <p:cNvSpPr>
            <a:spLocks noChangeAspect="1" noChangeArrowheads="1"/>
          </p:cNvSpPr>
          <p:nvPr/>
        </p:nvSpPr>
        <p:spPr bwMode="auto">
          <a:xfrm>
            <a:off x="1377605" y="1527588"/>
            <a:ext cx="274619" cy="274619"/>
          </a:xfrm>
          <a:prstGeom prst="ellipse">
            <a:avLst/>
          </a:prstGeom>
          <a:solidFill>
            <a:srgbClr val="FFFFFF"/>
          </a:solidFill>
          <a:ln w="9525" cap="flat" cmpd="sng" algn="ctr">
            <a:solidFill>
              <a:srgbClr val="206356"/>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06356"/>
                </a:solidFill>
                <a:effectLst/>
                <a:uLnTx/>
                <a:uFillTx/>
                <a:latin typeface="Arial" panose="020B0604020202020204" pitchFamily="34" charset="0"/>
                <a:ea typeface="+mn-ea"/>
                <a:cs typeface="Arial" panose="020B0604020202020204" pitchFamily="34" charset="0"/>
              </a:rPr>
              <a:t>1</a:t>
            </a:r>
          </a:p>
        </p:txBody>
      </p:sp>
      <p:sp>
        <p:nvSpPr>
          <p:cNvPr id="19" name="Oval 20">
            <a:extLst>
              <a:ext uri="{FF2B5EF4-FFF2-40B4-BE49-F238E27FC236}">
                <a16:creationId xmlns:a16="http://schemas.microsoft.com/office/drawing/2014/main" id="{BFFC2E71-FD9D-8A6B-0A0B-62716BA08E9A}"/>
              </a:ext>
            </a:extLst>
          </p:cNvPr>
          <p:cNvSpPr>
            <a:spLocks noChangeAspect="1" noChangeArrowheads="1"/>
          </p:cNvSpPr>
          <p:nvPr/>
        </p:nvSpPr>
        <p:spPr bwMode="auto">
          <a:xfrm>
            <a:off x="5202797" y="1527588"/>
            <a:ext cx="274619" cy="274619"/>
          </a:xfrm>
          <a:prstGeom prst="ellipse">
            <a:avLst/>
          </a:prstGeom>
          <a:solidFill>
            <a:srgbClr val="FFFFFF"/>
          </a:solidFill>
          <a:ln w="9525" cap="flat" cmpd="sng" algn="ctr">
            <a:solidFill>
              <a:srgbClr val="206356"/>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06356"/>
                </a:solidFill>
                <a:effectLst/>
                <a:uLnTx/>
                <a:uFillTx/>
                <a:latin typeface="Arial" panose="020B0604020202020204" pitchFamily="34" charset="0"/>
                <a:ea typeface="+mn-ea"/>
                <a:cs typeface="Arial" panose="020B0604020202020204" pitchFamily="34" charset="0"/>
              </a:rPr>
              <a:t>2</a:t>
            </a:r>
          </a:p>
        </p:txBody>
      </p:sp>
      <p:sp>
        <p:nvSpPr>
          <p:cNvPr id="22" name="Oval 20">
            <a:extLst>
              <a:ext uri="{FF2B5EF4-FFF2-40B4-BE49-F238E27FC236}">
                <a16:creationId xmlns:a16="http://schemas.microsoft.com/office/drawing/2014/main" id="{F9471F0E-57B1-034E-FC99-F16EA2645FB9}"/>
              </a:ext>
            </a:extLst>
          </p:cNvPr>
          <p:cNvSpPr>
            <a:spLocks noChangeAspect="1" noChangeArrowheads="1"/>
          </p:cNvSpPr>
          <p:nvPr/>
        </p:nvSpPr>
        <p:spPr bwMode="auto">
          <a:xfrm>
            <a:off x="8600562" y="1527588"/>
            <a:ext cx="274619" cy="274619"/>
          </a:xfrm>
          <a:prstGeom prst="ellipse">
            <a:avLst/>
          </a:prstGeom>
          <a:solidFill>
            <a:srgbClr val="FFFFFF"/>
          </a:solidFill>
          <a:ln w="9525" cap="flat" cmpd="sng" algn="ctr">
            <a:solidFill>
              <a:srgbClr val="206356"/>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06356"/>
                </a:solidFill>
                <a:effectLst/>
                <a:uLnTx/>
                <a:uFillTx/>
                <a:latin typeface="Arial" panose="020B0604020202020204" pitchFamily="34" charset="0"/>
                <a:ea typeface="+mn-ea"/>
                <a:cs typeface="Arial" panose="020B0604020202020204" pitchFamily="34" charset="0"/>
              </a:rPr>
              <a:t>3</a:t>
            </a:r>
          </a:p>
        </p:txBody>
      </p:sp>
      <p:sp>
        <p:nvSpPr>
          <p:cNvPr id="16" name="Title 15">
            <a:extLst>
              <a:ext uri="{FF2B5EF4-FFF2-40B4-BE49-F238E27FC236}">
                <a16:creationId xmlns:a16="http://schemas.microsoft.com/office/drawing/2014/main" id="{221EBF3F-E065-FAEE-4B5D-5BC0196774A4}"/>
              </a:ext>
            </a:extLst>
          </p:cNvPr>
          <p:cNvSpPr>
            <a:spLocks noGrp="1"/>
          </p:cNvSpPr>
          <p:nvPr>
            <p:ph type="title"/>
          </p:nvPr>
        </p:nvSpPr>
        <p:spPr/>
        <p:txBody>
          <a:bodyPr vert="horz"/>
          <a:lstStyle/>
          <a:p>
            <a:r>
              <a:rPr lang="en-US" sz="2000">
                <a:solidFill>
                  <a:srgbClr val="206356"/>
                </a:solidFill>
              </a:rPr>
              <a:t>Despite significant progress towards impact goals, we are off-track to reach most targets defined in ia2030</a:t>
            </a:r>
          </a:p>
        </p:txBody>
      </p:sp>
      <p:sp>
        <p:nvSpPr>
          <p:cNvPr id="27" name="ee4pFootnotes">
            <a:extLst>
              <a:ext uri="{FF2B5EF4-FFF2-40B4-BE49-F238E27FC236}">
                <a16:creationId xmlns:a16="http://schemas.microsoft.com/office/drawing/2014/main" id="{1284CBFF-B91B-5BEF-A699-6E15F9311F50}"/>
              </a:ext>
            </a:extLst>
          </p:cNvPr>
          <p:cNvSpPr>
            <a:spLocks noChangeArrowheads="1"/>
          </p:cNvSpPr>
          <p:nvPr/>
        </p:nvSpPr>
        <p:spPr bwMode="auto">
          <a:xfrm>
            <a:off x="438547" y="6421221"/>
            <a:ext cx="903028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358"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Source: IA2030 Scorecard and Dashboard</a:t>
            </a:r>
          </a:p>
        </p:txBody>
      </p:sp>
      <p:sp>
        <p:nvSpPr>
          <p:cNvPr id="132" name="TextBox 131">
            <a:extLst>
              <a:ext uri="{FF2B5EF4-FFF2-40B4-BE49-F238E27FC236}">
                <a16:creationId xmlns:a16="http://schemas.microsoft.com/office/drawing/2014/main" id="{192208C3-73E0-340D-3998-69863014DB82}"/>
              </a:ext>
            </a:extLst>
          </p:cNvPr>
          <p:cNvSpPr txBox="1"/>
          <p:nvPr/>
        </p:nvSpPr>
        <p:spPr>
          <a:xfrm>
            <a:off x="4254910" y="2007244"/>
            <a:ext cx="3605571" cy="3571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0" tIns="27430" rIns="27430" bIns="27430" numCol="1" spcCol="0" rtlCol="0" fromWordArt="0" anchor="t" anchorCtr="0" forceAA="0" compatLnSpc="1">
            <a:prstTxWarp prst="textNoShape">
              <a:avLst/>
            </a:prstTxWarp>
            <a:no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a:ln>
                  <a:noFill/>
                </a:ln>
                <a:solidFill>
                  <a:srgbClr val="000000"/>
                </a:solidFill>
                <a:effectLst/>
                <a:uLnTx/>
                <a:uFillTx/>
                <a:latin typeface="Arial"/>
                <a:ea typeface="+mn-ea"/>
                <a:cs typeface="Arial"/>
              </a:rPr>
              <a:t>Numbers of </a:t>
            </a:r>
            <a:r>
              <a:rPr kumimoji="0" lang="en-ZA" sz="1100" b="1" i="0" u="none" strike="noStrike" kern="1200" cap="none" spc="0" normalizeH="0" baseline="0" noProof="0">
                <a:ln>
                  <a:noFill/>
                </a:ln>
                <a:solidFill>
                  <a:srgbClr val="206356"/>
                </a:solidFill>
                <a:effectLst/>
                <a:uLnTx/>
                <a:uFillTx/>
                <a:latin typeface="Arial"/>
                <a:ea typeface="+mn-ea"/>
                <a:cs typeface="Arial"/>
              </a:rPr>
              <a:t>Zero-dose (ZD) children</a:t>
            </a:r>
            <a:r>
              <a:rPr kumimoji="0" lang="en-ZA" sz="1100" b="0" i="0" u="none" strike="noStrike" kern="1200" cap="none" spc="0" normalizeH="0" baseline="0" noProof="0">
                <a:ln>
                  <a:noFill/>
                </a:ln>
                <a:solidFill>
                  <a:srgbClr val="206356"/>
                </a:solidFill>
                <a:effectLst/>
                <a:uLnTx/>
                <a:uFillTx/>
                <a:latin typeface="Arial"/>
                <a:ea typeface="+mn-ea"/>
                <a:cs typeface="Arial"/>
              </a:rPr>
              <a:t> </a:t>
            </a:r>
            <a:r>
              <a:rPr kumimoji="0" lang="en-ZA" sz="1100" b="0" i="0" u="none" strike="noStrike" kern="1200" cap="none" spc="0" normalizeH="0" baseline="0" noProof="0">
                <a:ln>
                  <a:noFill/>
                </a:ln>
                <a:solidFill>
                  <a:srgbClr val="000000"/>
                </a:solidFill>
                <a:effectLst/>
                <a:uLnTx/>
                <a:uFillTx/>
                <a:latin typeface="Arial"/>
                <a:ea typeface="+mn-ea"/>
                <a:cs typeface="Arial"/>
              </a:rPr>
              <a:t>are increasing, and </a:t>
            </a:r>
            <a:r>
              <a:rPr kumimoji="0" lang="en-ZA" sz="1100" b="1" i="0" u="none" strike="noStrike" kern="1200" cap="none" spc="0" normalizeH="0" baseline="0" noProof="0">
                <a:ln>
                  <a:noFill/>
                </a:ln>
                <a:solidFill>
                  <a:srgbClr val="206356"/>
                </a:solidFill>
                <a:effectLst/>
                <a:uLnTx/>
                <a:uFillTx/>
                <a:latin typeface="Arial"/>
                <a:ea typeface="+mn-ea"/>
                <a:cs typeface="Arial"/>
              </a:rPr>
              <a:t>Acceleration is needed on HPV introductions</a:t>
            </a:r>
            <a:endParaRPr kumimoji="0" lang="en-US" sz="1100" b="1" i="0" u="none" strike="noStrike" kern="1200" cap="none" spc="0" normalizeH="0" baseline="0" noProof="0">
              <a:ln>
                <a:noFill/>
              </a:ln>
              <a:solidFill>
                <a:srgbClr val="206356"/>
              </a:solidFill>
              <a:effectLst/>
              <a:uLnTx/>
              <a:uFillTx/>
              <a:latin typeface="Arial"/>
              <a:ea typeface="+mn-ea"/>
              <a:cs typeface="Arial"/>
            </a:endParaRPr>
          </a:p>
        </p:txBody>
      </p:sp>
      <p:sp>
        <p:nvSpPr>
          <p:cNvPr id="134" name="TextBox 133">
            <a:extLst>
              <a:ext uri="{FF2B5EF4-FFF2-40B4-BE49-F238E27FC236}">
                <a16:creationId xmlns:a16="http://schemas.microsoft.com/office/drawing/2014/main" id="{B384C53D-6DE5-FF00-5612-461EDDF83EBB}"/>
              </a:ext>
            </a:extLst>
          </p:cNvPr>
          <p:cNvSpPr txBox="1"/>
          <p:nvPr/>
        </p:nvSpPr>
        <p:spPr>
          <a:xfrm>
            <a:off x="8067144" y="1988851"/>
            <a:ext cx="3605571" cy="3825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0" tIns="27430" rIns="27430" bIns="27430" numCol="1" spcCol="0" rtlCol="0" fromWordArt="0" anchor="t" anchorCtr="0" forceAA="0" compatLnSpc="1">
            <a:prstTxWarp prst="textNoShape">
              <a:avLst/>
            </a:prstTxWarp>
            <a:no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a:ln>
                  <a:noFill/>
                </a:ln>
                <a:solidFill>
                  <a:srgbClr val="206356"/>
                </a:solidFill>
                <a:effectLst/>
                <a:uLnTx/>
                <a:uFillTx/>
                <a:latin typeface="Arial"/>
                <a:ea typeface="+mn-ea"/>
                <a:cs typeface="Arial"/>
              </a:rPr>
              <a:t>Global coverage of key antigens is improving while some remained stagnant. </a:t>
            </a: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46" name="Chart 45">
            <a:extLst>
              <a:ext uri="{FF2B5EF4-FFF2-40B4-BE49-F238E27FC236}">
                <a16:creationId xmlns:a16="http://schemas.microsoft.com/office/drawing/2014/main" id="{E4E031FF-8F11-CC18-6611-CE0D3DDACC5D}"/>
              </a:ext>
            </a:extLst>
          </p:cNvPr>
          <p:cNvGraphicFramePr/>
          <p:nvPr>
            <p:custDataLst>
              <p:tags r:id="rId2"/>
            </p:custDataLst>
          </p:nvPr>
        </p:nvGraphicFramePr>
        <p:xfrm>
          <a:off x="1248116" y="3967126"/>
          <a:ext cx="2396957" cy="1085774"/>
        </p:xfrm>
        <a:graphic>
          <a:graphicData uri="http://schemas.openxmlformats.org/drawingml/2006/chart">
            <c:chart xmlns:c="http://schemas.openxmlformats.org/drawingml/2006/chart" xmlns:r="http://schemas.openxmlformats.org/officeDocument/2006/relationships" r:id="rId35"/>
          </a:graphicData>
        </a:graphic>
      </p:graphicFrame>
      <p:sp>
        <p:nvSpPr>
          <p:cNvPr id="183" name="Text Placeholder 3">
            <a:extLst>
              <a:ext uri="{FF2B5EF4-FFF2-40B4-BE49-F238E27FC236}">
                <a16:creationId xmlns:a16="http://schemas.microsoft.com/office/drawing/2014/main" id="{788285EF-B9C0-9183-EE84-8FF7E6117C4D}"/>
              </a:ext>
            </a:extLst>
          </p:cNvPr>
          <p:cNvSpPr>
            <a:spLocks noGrp="1"/>
          </p:cNvSpPr>
          <p:nvPr>
            <p:custDataLst>
              <p:tags r:id="rId3"/>
            </p:custDataLst>
          </p:nvPr>
        </p:nvSpPr>
        <p:spPr bwMode="gray">
          <a:xfrm>
            <a:off x="884605" y="4175073"/>
            <a:ext cx="379386" cy="13334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358" rtl="0" eaLnBrk="1" fontAlgn="auto" latinLnBrk="0" hangingPunct="1">
              <a:lnSpc>
                <a:spcPct val="110000"/>
              </a:lnSpc>
              <a:spcBef>
                <a:spcPct val="0"/>
              </a:spcBef>
              <a:spcAft>
                <a:spcPct val="0"/>
              </a:spcAft>
              <a:buClr>
                <a:srgbClr val="EB5A53"/>
              </a:buClr>
              <a:buSzTx/>
              <a:buFont typeface="Arial" panose="020B0604020202020204" pitchFamily="34" charset="0"/>
              <a:buChar char="​"/>
              <a:tabLst/>
              <a:defRPr/>
            </a:pPr>
            <a:fld id="{BA56D246-412C-4907-BBD8-4A693B781903}" type="datetime'''''''''''M''e''''a''sl''e''''''''''''''''''''''''''''''''s'">
              <a:rPr kumimoji="0" lang="en-US" altLang="en-US" sz="8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0" indent="0" algn="r" defTabSz="914358" rtl="0" eaLnBrk="1" fontAlgn="auto" latinLnBrk="0" hangingPunct="1">
                <a:lnSpc>
                  <a:spcPct val="110000"/>
                </a:lnSpc>
                <a:spcBef>
                  <a:spcPct val="0"/>
                </a:spcBef>
                <a:spcAft>
                  <a:spcPct val="0"/>
                </a:spcAft>
                <a:buClr>
                  <a:srgbClr val="EB5A53"/>
                </a:buClr>
                <a:buSzTx/>
                <a:buFont typeface="Arial" panose="020B0604020202020204" pitchFamily="34" charset="0"/>
                <a:buChar char="​"/>
                <a:tabLst/>
                <a:defRPr/>
              </a:pPr>
              <a:t>Measles</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184" name="Text Placeholder 3">
            <a:extLst>
              <a:ext uri="{FF2B5EF4-FFF2-40B4-BE49-F238E27FC236}">
                <a16:creationId xmlns:a16="http://schemas.microsoft.com/office/drawing/2014/main" id="{CDE5011D-E30F-A377-8CB8-A822D728E317}"/>
              </a:ext>
            </a:extLst>
          </p:cNvPr>
          <p:cNvSpPr>
            <a:spLocks noGrp="1"/>
          </p:cNvSpPr>
          <p:nvPr>
            <p:custDataLst>
              <p:tags r:id="rId4"/>
            </p:custDataLst>
          </p:nvPr>
        </p:nvSpPr>
        <p:spPr bwMode="gray">
          <a:xfrm>
            <a:off x="456009" y="4286191"/>
            <a:ext cx="807981" cy="26668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358" rtl="0" eaLnBrk="1" fontAlgn="auto" latinLnBrk="0" hangingPunct="1">
              <a:lnSpc>
                <a:spcPct val="110000"/>
              </a:lnSpc>
              <a:spcBef>
                <a:spcPct val="0"/>
              </a:spcBef>
              <a:spcAft>
                <a:spcPct val="0"/>
              </a:spcAft>
              <a:buClr>
                <a:srgbClr val="EB5A53"/>
              </a:buClr>
              <a:buSzTx/>
              <a:buFont typeface="Arial" panose="020B0604020202020204" pitchFamily="34" charset="0"/>
              <a:buChar char="​"/>
              <a:tabLst/>
              <a:defRPr/>
            </a:pPr>
            <a:fld id="{45703B44-0FBF-477E-B341-FB29AEDE1A85}" type="datetime'Materna''l ''&amp;''''''&#10;Neona''''''ta''l Tet''''''anu''s'">
              <a:rPr kumimoji="0" lang="en-US" altLang="en-US" sz="8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0" indent="0" algn="r" defTabSz="914358" rtl="0" eaLnBrk="1" fontAlgn="auto" latinLnBrk="0" hangingPunct="1">
                <a:lnSpc>
                  <a:spcPct val="110000"/>
                </a:lnSpc>
                <a:spcBef>
                  <a:spcPct val="0"/>
                </a:spcBef>
                <a:spcAft>
                  <a:spcPct val="0"/>
                </a:spcAft>
                <a:buClr>
                  <a:srgbClr val="EB5A53"/>
                </a:buClr>
                <a:buSzTx/>
                <a:buFont typeface="Arial" panose="020B0604020202020204" pitchFamily="34" charset="0"/>
                <a:buChar char="​"/>
                <a:tabLst/>
                <a:defRPr/>
              </a:pPr>
              <a:t>Maternal &amp;
Neonatal Tetanus</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185" name="Text Placeholder 3">
            <a:extLst>
              <a:ext uri="{FF2B5EF4-FFF2-40B4-BE49-F238E27FC236}">
                <a16:creationId xmlns:a16="http://schemas.microsoft.com/office/drawing/2014/main" id="{C475D49A-0895-6023-CDA3-B1D722291A34}"/>
              </a:ext>
            </a:extLst>
          </p:cNvPr>
          <p:cNvSpPr>
            <a:spLocks noGrp="1"/>
          </p:cNvSpPr>
          <p:nvPr>
            <p:custDataLst>
              <p:tags r:id="rId5"/>
            </p:custDataLst>
          </p:nvPr>
        </p:nvSpPr>
        <p:spPr bwMode="gray">
          <a:xfrm>
            <a:off x="917939" y="4532236"/>
            <a:ext cx="346051" cy="13334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358" rtl="0" eaLnBrk="1" fontAlgn="auto" latinLnBrk="0" hangingPunct="1">
              <a:lnSpc>
                <a:spcPct val="110000"/>
              </a:lnSpc>
              <a:spcBef>
                <a:spcPct val="0"/>
              </a:spcBef>
              <a:spcAft>
                <a:spcPct val="0"/>
              </a:spcAft>
              <a:buClr>
                <a:srgbClr val="EB5A53"/>
              </a:buClr>
              <a:buSzTx/>
              <a:buFont typeface="Arial" panose="020B0604020202020204" pitchFamily="34" charset="0"/>
              <a:buChar char="​"/>
              <a:tabLst/>
              <a:defRPr/>
            </a:pPr>
            <a:fld id="{DDBE2D2E-2D8D-49A6-B79F-ECA5EDE58A85}" type="datetime'''''''''''''''''''''''''''''''''''''R''u''''b''e''l''''l''a'">
              <a:rPr kumimoji="0" lang="en-US" altLang="en-US" sz="8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0" indent="0" algn="r" defTabSz="914358" rtl="0" eaLnBrk="1" fontAlgn="auto" latinLnBrk="0" hangingPunct="1">
                <a:lnSpc>
                  <a:spcPct val="110000"/>
                </a:lnSpc>
                <a:spcBef>
                  <a:spcPct val="0"/>
                </a:spcBef>
                <a:spcAft>
                  <a:spcPct val="0"/>
                </a:spcAft>
                <a:buClr>
                  <a:srgbClr val="EB5A53"/>
                </a:buClr>
                <a:buSzTx/>
                <a:buFont typeface="Arial" panose="020B0604020202020204" pitchFamily="34" charset="0"/>
                <a:buChar char="​"/>
                <a:tabLst/>
                <a:defRPr/>
              </a:pPr>
              <a:t>Rubella</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186" name="Text Placeholder 3">
            <a:extLst>
              <a:ext uri="{FF2B5EF4-FFF2-40B4-BE49-F238E27FC236}">
                <a16:creationId xmlns:a16="http://schemas.microsoft.com/office/drawing/2014/main" id="{0BDC0DF4-CA0E-C35C-73BA-F89ACF8585A5}"/>
              </a:ext>
            </a:extLst>
          </p:cNvPr>
          <p:cNvSpPr>
            <a:spLocks noGrp="1"/>
          </p:cNvSpPr>
          <p:nvPr>
            <p:custDataLst>
              <p:tags r:id="rId6"/>
            </p:custDataLst>
          </p:nvPr>
        </p:nvSpPr>
        <p:spPr bwMode="gray">
          <a:xfrm>
            <a:off x="495693" y="4710023"/>
            <a:ext cx="768296" cy="13334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358" rtl="0" eaLnBrk="1" fontAlgn="auto" latinLnBrk="0" hangingPunct="1">
              <a:lnSpc>
                <a:spcPct val="110000"/>
              </a:lnSpc>
              <a:spcBef>
                <a:spcPct val="0"/>
              </a:spcBef>
              <a:spcAft>
                <a:spcPct val="0"/>
              </a:spcAft>
              <a:buClr>
                <a:srgbClr val="EB5A53"/>
              </a:buClr>
              <a:buSzTx/>
              <a:buFont typeface="Arial" panose="020B0604020202020204" pitchFamily="34" charset="0"/>
              <a:buChar char="​"/>
              <a:tabLst/>
              <a:defRPr/>
            </a:pPr>
            <a:fld id="{20512651-3AE0-4121-827A-860F4779E6CB}" type="datetime'Po''''lio''''''v''''irus'''''' ''''''(''''W''''P''''V'''')'''">
              <a:rPr kumimoji="0" lang="en-US" altLang="en-US" sz="8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0" indent="0" algn="r" defTabSz="914358" rtl="0" eaLnBrk="1" fontAlgn="auto" latinLnBrk="0" hangingPunct="1">
                <a:lnSpc>
                  <a:spcPct val="110000"/>
                </a:lnSpc>
                <a:spcBef>
                  <a:spcPct val="0"/>
                </a:spcBef>
                <a:spcAft>
                  <a:spcPct val="0"/>
                </a:spcAft>
                <a:buClr>
                  <a:srgbClr val="EB5A53"/>
                </a:buClr>
                <a:buSzTx/>
                <a:buFont typeface="Arial" panose="020B0604020202020204" pitchFamily="34" charset="0"/>
                <a:buChar char="​"/>
                <a:tabLst/>
                <a:defRPr/>
              </a:pPr>
              <a:t>Poliovirus (WPV)</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187" name="Rectangle 186">
            <a:extLst>
              <a:ext uri="{FF2B5EF4-FFF2-40B4-BE49-F238E27FC236}">
                <a16:creationId xmlns:a16="http://schemas.microsoft.com/office/drawing/2014/main" id="{7B3020E8-30D4-2697-8224-7B193703594D}"/>
              </a:ext>
            </a:extLst>
          </p:cNvPr>
          <p:cNvSpPr/>
          <p:nvPr>
            <p:custDataLst>
              <p:tags r:id="rId7"/>
            </p:custDataLst>
          </p:nvPr>
        </p:nvSpPr>
        <p:spPr bwMode="auto">
          <a:xfrm>
            <a:off x="614748" y="5059249"/>
            <a:ext cx="160327" cy="120642"/>
          </a:xfrm>
          <a:prstGeom prst="rect">
            <a:avLst/>
          </a:prstGeom>
          <a:solidFill>
            <a:srgbClr val="20635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8" name="Text Placeholder 3">
            <a:extLst>
              <a:ext uri="{FF2B5EF4-FFF2-40B4-BE49-F238E27FC236}">
                <a16:creationId xmlns:a16="http://schemas.microsoft.com/office/drawing/2014/main" id="{FF2B805B-4D65-3CF3-3974-B4375B0EF11D}"/>
              </a:ext>
            </a:extLst>
          </p:cNvPr>
          <p:cNvSpPr>
            <a:spLocks noGrp="1"/>
          </p:cNvSpPr>
          <p:nvPr>
            <p:custDataLst>
              <p:tags r:id="rId8"/>
            </p:custDataLst>
          </p:nvPr>
        </p:nvSpPr>
        <p:spPr bwMode="gray">
          <a:xfrm>
            <a:off x="825870" y="5044962"/>
            <a:ext cx="1803273" cy="15080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358" rtl="0" eaLnBrk="1" fontAlgn="auto" latinLnBrk="0" hangingPunct="1">
              <a:lnSpc>
                <a:spcPct val="110000"/>
              </a:lnSpc>
              <a:spcBef>
                <a:spcPct val="0"/>
              </a:spcBef>
              <a:spcAft>
                <a:spcPct val="0"/>
              </a:spcAft>
              <a:buClr>
                <a:srgbClr val="EB5A53"/>
              </a:buClr>
              <a:buSzTx/>
              <a:buFont typeface="Arial" panose="020B0604020202020204" pitchFamily="34" charset="0"/>
              <a:buChar char="​"/>
              <a:tabLst/>
              <a:defRPr/>
            </a:pPr>
            <a:fld id="{AFA017FE-28D8-438F-BE48-E6D8622CFBA7}" type="datetime'Countr''ie''''s t''h''at ha''ve ach''i''eve''d tar''''''ge''t'">
              <a:rPr kumimoji="0" lang="en-ZA" altLang="en-US" sz="9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0" indent="0" algn="l" defTabSz="914358" rtl="0" eaLnBrk="1" fontAlgn="auto" latinLnBrk="0" hangingPunct="1">
                <a:lnSpc>
                  <a:spcPct val="110000"/>
                </a:lnSpc>
                <a:spcBef>
                  <a:spcPct val="0"/>
                </a:spcBef>
                <a:spcAft>
                  <a:spcPct val="0"/>
                </a:spcAft>
                <a:buClr>
                  <a:srgbClr val="EB5A53"/>
                </a:buClr>
                <a:buSzTx/>
                <a:buFont typeface="Arial" panose="020B0604020202020204" pitchFamily="34" charset="0"/>
                <a:buChar char="​"/>
                <a:tabLst/>
                <a:defRPr/>
              </a:pPr>
              <a:t>Countries that have achieved target</a:t>
            </a:fld>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189" name="TextBox 188">
            <a:extLst>
              <a:ext uri="{FF2B5EF4-FFF2-40B4-BE49-F238E27FC236}">
                <a16:creationId xmlns:a16="http://schemas.microsoft.com/office/drawing/2014/main" id="{964C8E38-2ED6-7D80-661D-2CB4A73CFE80}"/>
              </a:ext>
            </a:extLst>
          </p:cNvPr>
          <p:cNvSpPr txBox="1"/>
          <p:nvPr/>
        </p:nvSpPr>
        <p:spPr>
          <a:xfrm>
            <a:off x="3118157" y="4862413"/>
            <a:ext cx="1019273" cy="1523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194 (2030 target)</a:t>
            </a:r>
          </a:p>
        </p:txBody>
      </p:sp>
      <p:cxnSp>
        <p:nvCxnSpPr>
          <p:cNvPr id="213" name="Straight Connector 212">
            <a:extLst>
              <a:ext uri="{FF2B5EF4-FFF2-40B4-BE49-F238E27FC236}">
                <a16:creationId xmlns:a16="http://schemas.microsoft.com/office/drawing/2014/main" id="{323AC324-AE70-2FCE-0AFA-7E938ABE48A5}"/>
              </a:ext>
            </a:extLst>
          </p:cNvPr>
          <p:cNvCxnSpPr>
            <a:cxnSpLocks/>
          </p:cNvCxnSpPr>
          <p:nvPr/>
        </p:nvCxnSpPr>
        <p:spPr>
          <a:xfrm>
            <a:off x="3565750" y="4200471"/>
            <a:ext cx="0" cy="682577"/>
          </a:xfrm>
          <a:prstGeom prst="line">
            <a:avLst/>
          </a:prstGeom>
          <a:ln w="9525" cap="rnd" cmpd="sng" algn="ctr">
            <a:solidFill>
              <a:schemeClr val="accent5"/>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6" name="Rectangle: Rounded Corners 215">
            <a:extLst>
              <a:ext uri="{FF2B5EF4-FFF2-40B4-BE49-F238E27FC236}">
                <a16:creationId xmlns:a16="http://schemas.microsoft.com/office/drawing/2014/main" id="{1BF90384-FE63-FE13-114F-15A6D890BA69}"/>
              </a:ext>
            </a:extLst>
          </p:cNvPr>
          <p:cNvSpPr/>
          <p:nvPr/>
        </p:nvSpPr>
        <p:spPr>
          <a:xfrm>
            <a:off x="4320442" y="2467043"/>
            <a:ext cx="3532680" cy="1068313"/>
          </a:xfrm>
          <a:prstGeom prst="roundRect">
            <a:avLst>
              <a:gd name="adj" fmla="val 7712"/>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0" name="TextBox 219">
            <a:extLst>
              <a:ext uri="{FF2B5EF4-FFF2-40B4-BE49-F238E27FC236}">
                <a16:creationId xmlns:a16="http://schemas.microsoft.com/office/drawing/2014/main" id="{725392A1-8849-37D3-B26B-2E548AA06659}"/>
              </a:ext>
            </a:extLst>
          </p:cNvPr>
          <p:cNvSpPr txBox="1"/>
          <p:nvPr/>
        </p:nvSpPr>
        <p:spPr>
          <a:xfrm>
            <a:off x="470448" y="2481330"/>
            <a:ext cx="3560418" cy="2690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F6900"/>
                </a:solidFill>
                <a:effectLst/>
                <a:uLnTx/>
                <a:uFillTx/>
                <a:latin typeface="Arial" panose="020B0604020202020204"/>
                <a:ea typeface="+mn-ea"/>
                <a:cs typeface="+mn-cs"/>
              </a:rPr>
              <a:t>50mn future deaths averted globally</a:t>
            </a:r>
          </a:p>
        </p:txBody>
      </p:sp>
      <p:sp>
        <p:nvSpPr>
          <p:cNvPr id="222" name="TextBox 221">
            <a:extLst>
              <a:ext uri="{FF2B5EF4-FFF2-40B4-BE49-F238E27FC236}">
                <a16:creationId xmlns:a16="http://schemas.microsoft.com/office/drawing/2014/main" id="{AEC037D1-4513-F91F-27E5-7B314A89D846}"/>
              </a:ext>
            </a:extLst>
          </p:cNvPr>
          <p:cNvSpPr txBox="1"/>
          <p:nvPr/>
        </p:nvSpPr>
        <p:spPr>
          <a:xfrm>
            <a:off x="4315225" y="2481330"/>
            <a:ext cx="3560418" cy="3682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buSzPts val="1200"/>
              <a:defRPr sz="1200" b="1">
                <a:solidFill>
                  <a:srgbClr val="1F4675"/>
                </a:solidFill>
              </a:defRPr>
            </a:lvl1pPr>
          </a:lstStyle>
          <a:p>
            <a:pPr marL="0" marR="0" lvl="0" indent="0" algn="ctr" defTabSz="914358" rtl="0" eaLnBrk="1" fontAlgn="auto" latinLnBrk="0" hangingPunct="1">
              <a:lnSpc>
                <a:spcPct val="100000"/>
              </a:lnSpc>
              <a:spcBef>
                <a:spcPts val="0"/>
              </a:spcBef>
              <a:spcAft>
                <a:spcPts val="0"/>
              </a:spcAft>
              <a:buClrTx/>
              <a:buSzPts val="1200"/>
              <a:buFontTx/>
              <a:buNone/>
              <a:tabLst/>
              <a:defRPr/>
            </a:pPr>
            <a:r>
              <a:rPr kumimoji="0" lang="en-US" sz="1000" b="1" i="0" u="none" strike="noStrike" kern="1200" cap="none" spc="0" normalizeH="0" baseline="0" noProof="0">
                <a:ln>
                  <a:noFill/>
                </a:ln>
                <a:solidFill>
                  <a:srgbClr val="7F6900"/>
                </a:solidFill>
                <a:effectLst/>
                <a:uLnTx/>
                <a:uFillTx/>
                <a:latin typeface="Arial" panose="020B0604020202020204"/>
                <a:ea typeface="+mn-ea"/>
                <a:cs typeface="+mn-cs"/>
              </a:rPr>
              <a:t>50% reduction in number of Zero- dose children</a:t>
            </a:r>
          </a:p>
        </p:txBody>
      </p:sp>
      <p:graphicFrame>
        <p:nvGraphicFramePr>
          <p:cNvPr id="44" name="Chart 43">
            <a:extLst>
              <a:ext uri="{FF2B5EF4-FFF2-40B4-BE49-F238E27FC236}">
                <a16:creationId xmlns:a16="http://schemas.microsoft.com/office/drawing/2014/main" id="{800DCE26-4687-43E2-8B2E-2EE09578EC71}"/>
              </a:ext>
            </a:extLst>
          </p:cNvPr>
          <p:cNvGraphicFramePr/>
          <p:nvPr>
            <p:custDataLst>
              <p:tags r:id="rId9"/>
            </p:custDataLst>
          </p:nvPr>
        </p:nvGraphicFramePr>
        <p:xfrm>
          <a:off x="424261" y="2589273"/>
          <a:ext cx="2709672" cy="1068312"/>
        </p:xfrm>
        <a:graphic>
          <a:graphicData uri="http://schemas.openxmlformats.org/drawingml/2006/chart">
            <c:chart xmlns:c="http://schemas.openxmlformats.org/drawingml/2006/chart" xmlns:r="http://schemas.openxmlformats.org/officeDocument/2006/relationships" r:id="rId36"/>
          </a:graphicData>
        </a:graphic>
      </p:graphicFrame>
      <p:sp>
        <p:nvSpPr>
          <p:cNvPr id="302" name="TextBox 301">
            <a:extLst>
              <a:ext uri="{FF2B5EF4-FFF2-40B4-BE49-F238E27FC236}">
                <a16:creationId xmlns:a16="http://schemas.microsoft.com/office/drawing/2014/main" id="{C4FD08C4-1534-1A45-2A8A-6EA699794100}"/>
              </a:ext>
            </a:extLst>
          </p:cNvPr>
          <p:cNvSpPr txBox="1"/>
          <p:nvPr/>
        </p:nvSpPr>
        <p:spPr>
          <a:xfrm>
            <a:off x="474678" y="3698670"/>
            <a:ext cx="3551957" cy="3682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F6900"/>
                </a:solidFill>
                <a:effectLst/>
                <a:uLnTx/>
                <a:uFillTx/>
                <a:latin typeface="Arial" panose="020B0604020202020204"/>
                <a:ea typeface="+mn-ea"/>
                <a:cs typeface="+mn-cs"/>
              </a:rPr>
              <a:t>All countries achieve VPD Control elimination and eradication targets</a:t>
            </a:r>
          </a:p>
        </p:txBody>
      </p:sp>
      <p:sp>
        <p:nvSpPr>
          <p:cNvPr id="310" name="Rectangle 309">
            <a:extLst>
              <a:ext uri="{FF2B5EF4-FFF2-40B4-BE49-F238E27FC236}">
                <a16:creationId xmlns:a16="http://schemas.microsoft.com/office/drawing/2014/main" id="{2777F410-6DCE-C7B5-A925-7190D2E351B3}"/>
              </a:ext>
            </a:extLst>
          </p:cNvPr>
          <p:cNvSpPr/>
          <p:nvPr/>
        </p:nvSpPr>
        <p:spPr>
          <a:xfrm>
            <a:off x="1964877" y="3270262"/>
            <a:ext cx="52494" cy="603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5" name="Rectangle 314">
            <a:extLst>
              <a:ext uri="{FF2B5EF4-FFF2-40B4-BE49-F238E27FC236}">
                <a16:creationId xmlns:a16="http://schemas.microsoft.com/office/drawing/2014/main" id="{3D9ECBB1-39F6-8F8D-4816-1E7B932FA705}"/>
              </a:ext>
            </a:extLst>
          </p:cNvPr>
          <p:cNvSpPr/>
          <p:nvPr/>
        </p:nvSpPr>
        <p:spPr>
          <a:xfrm>
            <a:off x="1467383" y="2994948"/>
            <a:ext cx="1453094" cy="26161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F4675"/>
                </a:solidFill>
              </a14:hiddenFill>
            </a:ext>
            <a:ext uri="{91240B29-F687-4F45-9708-019B960494DF}">
              <a14:hiddenLine xmlns:a14="http://schemas.microsoft.com/office/drawing/2010/main" w="9525" cap="rnd" cmpd="sng" algn="ctr">
                <a:solidFill>
                  <a:srgbClr val="1F467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Observed deaths averted</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cumulative, 2021-2024)</a:t>
            </a:r>
          </a:p>
        </p:txBody>
      </p:sp>
      <p:sp>
        <p:nvSpPr>
          <p:cNvPr id="316" name="TextBox 315">
            <a:extLst>
              <a:ext uri="{FF2B5EF4-FFF2-40B4-BE49-F238E27FC236}">
                <a16:creationId xmlns:a16="http://schemas.microsoft.com/office/drawing/2014/main" id="{BCAFC56B-CBEA-1799-AF7A-63B4BC3740E3}"/>
              </a:ext>
            </a:extLst>
          </p:cNvPr>
          <p:cNvSpPr txBox="1"/>
          <p:nvPr/>
        </p:nvSpPr>
        <p:spPr>
          <a:xfrm>
            <a:off x="2493066" y="3405190"/>
            <a:ext cx="1019273" cy="1523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r" defTabSz="914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50M (2030 target)</a:t>
            </a:r>
          </a:p>
        </p:txBody>
      </p:sp>
      <p:sp>
        <p:nvSpPr>
          <p:cNvPr id="317" name="Oval 316">
            <a:extLst>
              <a:ext uri="{FF2B5EF4-FFF2-40B4-BE49-F238E27FC236}">
                <a16:creationId xmlns:a16="http://schemas.microsoft.com/office/drawing/2014/main" id="{E5554643-72D4-4879-4282-F3EDB97C5710}"/>
              </a:ext>
            </a:extLst>
          </p:cNvPr>
          <p:cNvSpPr/>
          <p:nvPr/>
        </p:nvSpPr>
        <p:spPr>
          <a:xfrm>
            <a:off x="3301792" y="2814681"/>
            <a:ext cx="594321" cy="576223"/>
          </a:xfrm>
          <a:prstGeom prst="ellipse">
            <a:avLst/>
          </a:prstGeom>
          <a:solidFill>
            <a:srgbClr val="C6C6C6"/>
          </a:solidFill>
          <a:ln w="9525" cap="rnd" cmpd="sng" algn="ctr">
            <a:solidFill>
              <a:srgbClr val="C6C6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a:ln>
                  <a:noFill/>
                </a:ln>
                <a:solidFill>
                  <a:srgbClr val="D80A12"/>
                </a:solidFill>
                <a:effectLst/>
                <a:uLnTx/>
                <a:uFillTx/>
                <a:latin typeface="Arial" panose="020B0604020202020204"/>
                <a:ea typeface="+mn-ea"/>
                <a:cs typeface="+mn-cs"/>
              </a:rPr>
              <a:t> </a:t>
            </a:r>
            <a:r>
              <a:rPr kumimoji="0" lang="en-US" altLang="en-US" sz="1100" b="1" i="0" u="none" strike="noStrike" kern="1200" cap="none" spc="0" normalizeH="0" baseline="0" noProof="0">
                <a:ln>
                  <a:noFill/>
                </a:ln>
                <a:solidFill>
                  <a:srgbClr val="5F0509"/>
                </a:solidFill>
                <a:effectLst/>
                <a:uLnTx/>
                <a:uFillTx/>
                <a:latin typeface="Arial" panose="020B0604020202020204"/>
                <a:ea typeface="+mn-ea"/>
                <a:cs typeface="+mn-cs"/>
              </a:rPr>
              <a:t>34% </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panose="020B0604020202020204"/>
                <a:ea typeface="+mn-ea"/>
                <a:cs typeface="+mn-cs"/>
              </a:rPr>
              <a:t>deaths </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panose="020B0604020202020204"/>
                <a:ea typeface="+mn-ea"/>
                <a:cs typeface="+mn-cs"/>
              </a:rPr>
              <a:t>averted</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318" name="Straight Connector 317">
            <a:extLst>
              <a:ext uri="{FF2B5EF4-FFF2-40B4-BE49-F238E27FC236}">
                <a16:creationId xmlns:a16="http://schemas.microsoft.com/office/drawing/2014/main" id="{7214C0CC-2831-E65A-7E3C-6E34F48D9620}"/>
              </a:ext>
            </a:extLst>
          </p:cNvPr>
          <p:cNvCxnSpPr>
            <a:cxnSpLocks/>
          </p:cNvCxnSpPr>
          <p:nvPr/>
        </p:nvCxnSpPr>
        <p:spPr>
          <a:xfrm>
            <a:off x="3050737" y="2814682"/>
            <a:ext cx="0" cy="682577"/>
          </a:xfrm>
          <a:prstGeom prst="line">
            <a:avLst/>
          </a:prstGeom>
          <a:ln w="9525" cap="rnd" cmpd="sng" algn="ctr">
            <a:solidFill>
              <a:schemeClr val="accent5"/>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9" name="Group 318">
            <a:extLst>
              <a:ext uri="{FF2B5EF4-FFF2-40B4-BE49-F238E27FC236}">
                <a16:creationId xmlns:a16="http://schemas.microsoft.com/office/drawing/2014/main" id="{20332973-6D3D-AF4B-53F0-22ED253C119D}"/>
              </a:ext>
            </a:extLst>
          </p:cNvPr>
          <p:cNvGrpSpPr>
            <a:grpSpLocks noChangeAspect="1"/>
          </p:cNvGrpSpPr>
          <p:nvPr/>
        </p:nvGrpSpPr>
        <p:grpSpPr>
          <a:xfrm>
            <a:off x="3217516" y="2814681"/>
            <a:ext cx="173026" cy="173026"/>
            <a:chOff x="628650" y="4271963"/>
            <a:chExt cx="269875" cy="269875"/>
          </a:xfrm>
        </p:grpSpPr>
        <p:sp>
          <p:nvSpPr>
            <p:cNvPr id="320" name="Oval 40">
              <a:extLst>
                <a:ext uri="{FF2B5EF4-FFF2-40B4-BE49-F238E27FC236}">
                  <a16:creationId xmlns:a16="http://schemas.microsoft.com/office/drawing/2014/main" id="{7A51BED4-8CAC-DF0F-FF29-D4720010B750}"/>
                </a:ext>
              </a:extLst>
            </p:cNvPr>
            <p:cNvSpPr>
              <a:spLocks noChangeArrowheads="1"/>
            </p:cNvSpPr>
            <p:nvPr/>
          </p:nvSpPr>
          <p:spPr bwMode="auto">
            <a:xfrm>
              <a:off x="628650" y="4271963"/>
              <a:ext cx="269875" cy="269875"/>
            </a:xfrm>
            <a:prstGeom prst="ellipse">
              <a:avLst/>
            </a:prstGeom>
            <a:solidFill>
              <a:srgbClr val="5F0509"/>
            </a:solidFill>
            <a:ln w="9525" cap="flat" cmpd="sng" algn="ctr">
              <a:solidFill>
                <a:srgbClr val="5F0509"/>
              </a:solidFill>
              <a:prstDash val="solid"/>
              <a:round/>
              <a:headEnd type="none" w="med" len="med"/>
              <a:tailEnd type="none" w="med" len="med"/>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1" name="Freeform 41">
              <a:extLst>
                <a:ext uri="{FF2B5EF4-FFF2-40B4-BE49-F238E27FC236}">
                  <a16:creationId xmlns:a16="http://schemas.microsoft.com/office/drawing/2014/main" id="{8C098C1C-959E-FE87-3003-D528BF2559EC}"/>
                </a:ext>
              </a:extLst>
            </p:cNvPr>
            <p:cNvSpPr>
              <a:spLocks noEditPoints="1"/>
            </p:cNvSpPr>
            <p:nvPr/>
          </p:nvSpPr>
          <p:spPr bwMode="auto">
            <a:xfrm>
              <a:off x="748506" y="4333082"/>
              <a:ext cx="30162" cy="147637"/>
            </a:xfrm>
            <a:custGeom>
              <a:avLst/>
              <a:gdLst>
                <a:gd name="T0" fmla="*/ 50 w 137"/>
                <a:gd name="T1" fmla="*/ 506 h 689"/>
                <a:gd name="T2" fmla="*/ 15 w 137"/>
                <a:gd name="T3" fmla="*/ 187 h 689"/>
                <a:gd name="T4" fmla="*/ 15 w 137"/>
                <a:gd name="T5" fmla="*/ 0 h 689"/>
                <a:gd name="T6" fmla="*/ 118 w 137"/>
                <a:gd name="T7" fmla="*/ 0 h 689"/>
                <a:gd name="T8" fmla="*/ 118 w 137"/>
                <a:gd name="T9" fmla="*/ 187 h 689"/>
                <a:gd name="T10" fmla="*/ 82 w 137"/>
                <a:gd name="T11" fmla="*/ 506 h 689"/>
                <a:gd name="T12" fmla="*/ 50 w 137"/>
                <a:gd name="T13" fmla="*/ 506 h 689"/>
                <a:gd name="T14" fmla="*/ 69 w 137"/>
                <a:gd name="T15" fmla="*/ 552 h 689"/>
                <a:gd name="T16" fmla="*/ 21 w 137"/>
                <a:gd name="T17" fmla="*/ 572 h 689"/>
                <a:gd name="T18" fmla="*/ 0 w 137"/>
                <a:gd name="T19" fmla="*/ 620 h 689"/>
                <a:gd name="T20" fmla="*/ 21 w 137"/>
                <a:gd name="T21" fmla="*/ 669 h 689"/>
                <a:gd name="T22" fmla="*/ 69 w 137"/>
                <a:gd name="T23" fmla="*/ 689 h 689"/>
                <a:gd name="T24" fmla="*/ 117 w 137"/>
                <a:gd name="T25" fmla="*/ 669 h 689"/>
                <a:gd name="T26" fmla="*/ 137 w 137"/>
                <a:gd name="T27" fmla="*/ 620 h 689"/>
                <a:gd name="T28" fmla="*/ 117 w 137"/>
                <a:gd name="T29" fmla="*/ 572 h 689"/>
                <a:gd name="T30" fmla="*/ 69 w 137"/>
                <a:gd name="T31" fmla="*/ 552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689">
                  <a:moveTo>
                    <a:pt x="50" y="506"/>
                  </a:moveTo>
                  <a:cubicBezTo>
                    <a:pt x="26" y="353"/>
                    <a:pt x="15" y="247"/>
                    <a:pt x="15" y="187"/>
                  </a:cubicBezTo>
                  <a:cubicBezTo>
                    <a:pt x="15" y="0"/>
                    <a:pt x="15" y="0"/>
                    <a:pt x="15" y="0"/>
                  </a:cubicBezTo>
                  <a:cubicBezTo>
                    <a:pt x="118" y="0"/>
                    <a:pt x="118" y="0"/>
                    <a:pt x="118" y="0"/>
                  </a:cubicBezTo>
                  <a:cubicBezTo>
                    <a:pt x="118" y="187"/>
                    <a:pt x="118" y="187"/>
                    <a:pt x="118" y="187"/>
                  </a:cubicBezTo>
                  <a:cubicBezTo>
                    <a:pt x="118" y="245"/>
                    <a:pt x="106" y="351"/>
                    <a:pt x="82" y="506"/>
                  </a:cubicBezTo>
                  <a:lnTo>
                    <a:pt x="50" y="506"/>
                  </a:lnTo>
                  <a:close/>
                  <a:moveTo>
                    <a:pt x="69" y="552"/>
                  </a:moveTo>
                  <a:cubicBezTo>
                    <a:pt x="50" y="552"/>
                    <a:pt x="34" y="558"/>
                    <a:pt x="21" y="572"/>
                  </a:cubicBezTo>
                  <a:cubicBezTo>
                    <a:pt x="7" y="585"/>
                    <a:pt x="0" y="601"/>
                    <a:pt x="0" y="620"/>
                  </a:cubicBezTo>
                  <a:cubicBezTo>
                    <a:pt x="0" y="639"/>
                    <a:pt x="7" y="655"/>
                    <a:pt x="21" y="669"/>
                  </a:cubicBezTo>
                  <a:cubicBezTo>
                    <a:pt x="34" y="682"/>
                    <a:pt x="50" y="689"/>
                    <a:pt x="69" y="689"/>
                  </a:cubicBezTo>
                  <a:cubicBezTo>
                    <a:pt x="88" y="689"/>
                    <a:pt x="104" y="682"/>
                    <a:pt x="117" y="669"/>
                  </a:cubicBezTo>
                  <a:cubicBezTo>
                    <a:pt x="131" y="655"/>
                    <a:pt x="137" y="639"/>
                    <a:pt x="137" y="620"/>
                  </a:cubicBezTo>
                  <a:cubicBezTo>
                    <a:pt x="137" y="601"/>
                    <a:pt x="131" y="585"/>
                    <a:pt x="117" y="572"/>
                  </a:cubicBezTo>
                  <a:cubicBezTo>
                    <a:pt x="104" y="558"/>
                    <a:pt x="88" y="552"/>
                    <a:pt x="69" y="552"/>
                  </a:cubicBezTo>
                  <a:close/>
                </a:path>
              </a:pathLst>
            </a:custGeom>
            <a:solidFill>
              <a:srgbClr val="FFFFFF">
                <a:lumMod val="100000"/>
              </a:srgbClr>
            </a:solidFill>
            <a:ln>
              <a:noFill/>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aphicFrame>
        <p:nvGraphicFramePr>
          <p:cNvPr id="52" name="Chart 51">
            <a:extLst>
              <a:ext uri="{FF2B5EF4-FFF2-40B4-BE49-F238E27FC236}">
                <a16:creationId xmlns:a16="http://schemas.microsoft.com/office/drawing/2014/main" id="{82991252-101C-705D-7EAF-66084C3B66D2}"/>
              </a:ext>
            </a:extLst>
          </p:cNvPr>
          <p:cNvGraphicFramePr/>
          <p:nvPr>
            <p:custDataLst>
              <p:tags r:id="rId10"/>
            </p:custDataLst>
          </p:nvPr>
        </p:nvGraphicFramePr>
        <p:xfrm>
          <a:off x="4280028" y="3062314"/>
          <a:ext cx="2835076" cy="784170"/>
        </p:xfrm>
        <a:graphic>
          <a:graphicData uri="http://schemas.openxmlformats.org/drawingml/2006/chart">
            <c:chart xmlns:c="http://schemas.openxmlformats.org/drawingml/2006/chart" xmlns:r="http://schemas.openxmlformats.org/officeDocument/2006/relationships" r:id="rId37"/>
          </a:graphicData>
        </a:graphic>
      </p:graphicFrame>
      <p:sp>
        <p:nvSpPr>
          <p:cNvPr id="324" name="TextBox 323">
            <a:extLst>
              <a:ext uri="{FF2B5EF4-FFF2-40B4-BE49-F238E27FC236}">
                <a16:creationId xmlns:a16="http://schemas.microsoft.com/office/drawing/2014/main" id="{51DF4E23-54EC-A79B-7E5D-B14F9692182F}"/>
              </a:ext>
            </a:extLst>
          </p:cNvPr>
          <p:cNvSpPr txBox="1"/>
          <p:nvPr/>
        </p:nvSpPr>
        <p:spPr>
          <a:xfrm>
            <a:off x="4763369" y="3816323"/>
            <a:ext cx="1178098" cy="1523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r"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6.5M (2030 target)</a:t>
            </a:r>
          </a:p>
        </p:txBody>
      </p:sp>
      <p:sp>
        <p:nvSpPr>
          <p:cNvPr id="326" name="Rectangle 325">
            <a:extLst>
              <a:ext uri="{FF2B5EF4-FFF2-40B4-BE49-F238E27FC236}">
                <a16:creationId xmlns:a16="http://schemas.microsoft.com/office/drawing/2014/main" id="{D7C03B12-B72F-B158-EA14-49FD4823577E}"/>
              </a:ext>
            </a:extLst>
          </p:cNvPr>
          <p:cNvSpPr/>
          <p:nvPr/>
        </p:nvSpPr>
        <p:spPr>
          <a:xfrm>
            <a:off x="5843607" y="3336847"/>
            <a:ext cx="820479"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F4675"/>
                </a:solidFill>
              </a14:hiddenFill>
            </a:ext>
            <a:ext uri="{91240B29-F687-4F45-9708-019B960494DF}">
              <a14:hiddenLine xmlns:a14="http://schemas.microsoft.com/office/drawing/2010/main" w="9525" cap="rnd" cmpd="sng" algn="ctr">
                <a:solidFill>
                  <a:srgbClr val="1F467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914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ea typeface="+mn-ea"/>
                <a:cs typeface="+mn-cs"/>
              </a:rPr>
              <a:t>13</a:t>
            </a:r>
          </a:p>
          <a:p>
            <a:pPr marL="0" marR="0" lvl="0" indent="0" algn="r"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2019 baseline)</a:t>
            </a:r>
          </a:p>
        </p:txBody>
      </p:sp>
      <p:sp>
        <p:nvSpPr>
          <p:cNvPr id="290" name="Rectangle 289">
            <a:extLst>
              <a:ext uri="{FF2B5EF4-FFF2-40B4-BE49-F238E27FC236}">
                <a16:creationId xmlns:a16="http://schemas.microsoft.com/office/drawing/2014/main" id="{FE26B260-9108-712B-4F4E-21DA401563FC}"/>
              </a:ext>
            </a:extLst>
          </p:cNvPr>
          <p:cNvSpPr/>
          <p:nvPr/>
        </p:nvSpPr>
        <p:spPr>
          <a:xfrm>
            <a:off x="6627777" y="3341607"/>
            <a:ext cx="409546"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F4675"/>
                </a:solidFill>
              </a14:hiddenFill>
            </a:ext>
            <a:ext uri="{91240B29-F687-4F45-9708-019B960494DF}">
              <a14:hiddenLine xmlns:a14="http://schemas.microsoft.com/office/drawing/2010/main" w="9525" cap="rnd" cmpd="sng" algn="ctr">
                <a:solidFill>
                  <a:srgbClr val="1F467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914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14</a:t>
            </a:r>
            <a:endParaRPr kumimoji="0" lang="en-US" sz="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r"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mn-cs"/>
              </a:rPr>
              <a:t>(2024)</a:t>
            </a:r>
            <a:endParaRPr kumimoji="0" lang="en-US" sz="5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Oval 46">
            <a:extLst>
              <a:ext uri="{FF2B5EF4-FFF2-40B4-BE49-F238E27FC236}">
                <a16:creationId xmlns:a16="http://schemas.microsoft.com/office/drawing/2014/main" id="{453F5CB0-7D5E-E575-73C7-1F63B7B956E2}"/>
              </a:ext>
            </a:extLst>
          </p:cNvPr>
          <p:cNvSpPr/>
          <p:nvPr/>
        </p:nvSpPr>
        <p:spPr>
          <a:xfrm>
            <a:off x="7202169" y="3208722"/>
            <a:ext cx="594321" cy="576222"/>
          </a:xfrm>
          <a:prstGeom prst="ellipse">
            <a:avLst/>
          </a:prstGeom>
          <a:solidFill>
            <a:srgbClr val="C6C6C6"/>
          </a:solidFill>
          <a:ln w="9525" cap="rnd" cmpd="sng" algn="ctr">
            <a:solidFill>
              <a:srgbClr val="C6C6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a:ln>
                  <a:noFill/>
                </a:ln>
                <a:solidFill>
                  <a:srgbClr val="5F0509"/>
                </a:solidFill>
                <a:effectLst/>
                <a:uLnTx/>
                <a:uFillTx/>
                <a:latin typeface="Arial" panose="020B0604020202020204"/>
                <a:ea typeface="+mn-ea"/>
                <a:cs typeface="+mn-cs"/>
              </a:rPr>
              <a:t> </a:t>
            </a:r>
            <a:r>
              <a:rPr kumimoji="0" lang="en-US" altLang="en-US" sz="1100" b="1" i="0" u="none" strike="noStrike" kern="1200" cap="none" spc="0" normalizeH="0" baseline="0" noProof="0">
                <a:ln>
                  <a:noFill/>
                </a:ln>
                <a:solidFill>
                  <a:srgbClr val="5F0509"/>
                </a:solidFill>
                <a:effectLst/>
                <a:uLnTx/>
                <a:uFillTx/>
                <a:latin typeface="Arial" panose="020B0604020202020204"/>
                <a:ea typeface="+mn-ea"/>
                <a:cs typeface="+mn-cs"/>
              </a:rPr>
              <a:t>1.3M </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panose="020B0604020202020204"/>
                <a:ea typeface="+mn-ea"/>
                <a:cs typeface="+mn-cs"/>
              </a:rPr>
              <a:t>(11%) ZD </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panose="020B0604020202020204"/>
                <a:ea typeface="+mn-ea"/>
                <a:cs typeface="+mn-cs"/>
              </a:rPr>
              <a:t>increase</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48" name="Group 47">
            <a:extLst>
              <a:ext uri="{FF2B5EF4-FFF2-40B4-BE49-F238E27FC236}">
                <a16:creationId xmlns:a16="http://schemas.microsoft.com/office/drawing/2014/main" id="{18AEDCF5-E6EE-5EE8-9BE2-F99398BC775B}"/>
              </a:ext>
            </a:extLst>
          </p:cNvPr>
          <p:cNvGrpSpPr>
            <a:grpSpLocks noChangeAspect="1"/>
          </p:cNvGrpSpPr>
          <p:nvPr/>
        </p:nvGrpSpPr>
        <p:grpSpPr>
          <a:xfrm>
            <a:off x="7117893" y="3208722"/>
            <a:ext cx="173026" cy="173026"/>
            <a:chOff x="628650" y="4271963"/>
            <a:chExt cx="269875" cy="269875"/>
          </a:xfrm>
        </p:grpSpPr>
        <p:sp>
          <p:nvSpPr>
            <p:cNvPr id="49" name="Oval 40">
              <a:extLst>
                <a:ext uri="{FF2B5EF4-FFF2-40B4-BE49-F238E27FC236}">
                  <a16:creationId xmlns:a16="http://schemas.microsoft.com/office/drawing/2014/main" id="{A1249812-434A-93F3-72D5-EC87248C6109}"/>
                </a:ext>
              </a:extLst>
            </p:cNvPr>
            <p:cNvSpPr>
              <a:spLocks noChangeArrowheads="1"/>
            </p:cNvSpPr>
            <p:nvPr/>
          </p:nvSpPr>
          <p:spPr bwMode="auto">
            <a:xfrm>
              <a:off x="628650" y="4271963"/>
              <a:ext cx="269875" cy="269875"/>
            </a:xfrm>
            <a:prstGeom prst="ellipse">
              <a:avLst/>
            </a:prstGeom>
            <a:solidFill>
              <a:srgbClr val="5F0509"/>
            </a:solidFill>
            <a:ln w="9525" cap="flat" cmpd="sng" algn="ctr">
              <a:solidFill>
                <a:srgbClr val="5F0509"/>
              </a:solidFill>
              <a:prstDash val="solid"/>
              <a:round/>
              <a:headEnd type="none" w="med" len="med"/>
              <a:tailEnd type="none" w="med" len="med"/>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Freeform 41">
              <a:extLst>
                <a:ext uri="{FF2B5EF4-FFF2-40B4-BE49-F238E27FC236}">
                  <a16:creationId xmlns:a16="http://schemas.microsoft.com/office/drawing/2014/main" id="{7EE74DD9-B92F-B07C-E119-F3F19AC3D771}"/>
                </a:ext>
              </a:extLst>
            </p:cNvPr>
            <p:cNvSpPr>
              <a:spLocks noEditPoints="1"/>
            </p:cNvSpPr>
            <p:nvPr/>
          </p:nvSpPr>
          <p:spPr bwMode="auto">
            <a:xfrm>
              <a:off x="748506" y="4333082"/>
              <a:ext cx="30162" cy="147637"/>
            </a:xfrm>
            <a:custGeom>
              <a:avLst/>
              <a:gdLst>
                <a:gd name="T0" fmla="*/ 50 w 137"/>
                <a:gd name="T1" fmla="*/ 506 h 689"/>
                <a:gd name="T2" fmla="*/ 15 w 137"/>
                <a:gd name="T3" fmla="*/ 187 h 689"/>
                <a:gd name="T4" fmla="*/ 15 w 137"/>
                <a:gd name="T5" fmla="*/ 0 h 689"/>
                <a:gd name="T6" fmla="*/ 118 w 137"/>
                <a:gd name="T7" fmla="*/ 0 h 689"/>
                <a:gd name="T8" fmla="*/ 118 w 137"/>
                <a:gd name="T9" fmla="*/ 187 h 689"/>
                <a:gd name="T10" fmla="*/ 82 w 137"/>
                <a:gd name="T11" fmla="*/ 506 h 689"/>
                <a:gd name="T12" fmla="*/ 50 w 137"/>
                <a:gd name="T13" fmla="*/ 506 h 689"/>
                <a:gd name="T14" fmla="*/ 69 w 137"/>
                <a:gd name="T15" fmla="*/ 552 h 689"/>
                <a:gd name="T16" fmla="*/ 21 w 137"/>
                <a:gd name="T17" fmla="*/ 572 h 689"/>
                <a:gd name="T18" fmla="*/ 0 w 137"/>
                <a:gd name="T19" fmla="*/ 620 h 689"/>
                <a:gd name="T20" fmla="*/ 21 w 137"/>
                <a:gd name="T21" fmla="*/ 669 h 689"/>
                <a:gd name="T22" fmla="*/ 69 w 137"/>
                <a:gd name="T23" fmla="*/ 689 h 689"/>
                <a:gd name="T24" fmla="*/ 117 w 137"/>
                <a:gd name="T25" fmla="*/ 669 h 689"/>
                <a:gd name="T26" fmla="*/ 137 w 137"/>
                <a:gd name="T27" fmla="*/ 620 h 689"/>
                <a:gd name="T28" fmla="*/ 117 w 137"/>
                <a:gd name="T29" fmla="*/ 572 h 689"/>
                <a:gd name="T30" fmla="*/ 69 w 137"/>
                <a:gd name="T31" fmla="*/ 552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689">
                  <a:moveTo>
                    <a:pt x="50" y="506"/>
                  </a:moveTo>
                  <a:cubicBezTo>
                    <a:pt x="26" y="353"/>
                    <a:pt x="15" y="247"/>
                    <a:pt x="15" y="187"/>
                  </a:cubicBezTo>
                  <a:cubicBezTo>
                    <a:pt x="15" y="0"/>
                    <a:pt x="15" y="0"/>
                    <a:pt x="15" y="0"/>
                  </a:cubicBezTo>
                  <a:cubicBezTo>
                    <a:pt x="118" y="0"/>
                    <a:pt x="118" y="0"/>
                    <a:pt x="118" y="0"/>
                  </a:cubicBezTo>
                  <a:cubicBezTo>
                    <a:pt x="118" y="187"/>
                    <a:pt x="118" y="187"/>
                    <a:pt x="118" y="187"/>
                  </a:cubicBezTo>
                  <a:cubicBezTo>
                    <a:pt x="118" y="245"/>
                    <a:pt x="106" y="351"/>
                    <a:pt x="82" y="506"/>
                  </a:cubicBezTo>
                  <a:lnTo>
                    <a:pt x="50" y="506"/>
                  </a:lnTo>
                  <a:close/>
                  <a:moveTo>
                    <a:pt x="69" y="552"/>
                  </a:moveTo>
                  <a:cubicBezTo>
                    <a:pt x="50" y="552"/>
                    <a:pt x="34" y="558"/>
                    <a:pt x="21" y="572"/>
                  </a:cubicBezTo>
                  <a:cubicBezTo>
                    <a:pt x="7" y="585"/>
                    <a:pt x="0" y="601"/>
                    <a:pt x="0" y="620"/>
                  </a:cubicBezTo>
                  <a:cubicBezTo>
                    <a:pt x="0" y="639"/>
                    <a:pt x="7" y="655"/>
                    <a:pt x="21" y="669"/>
                  </a:cubicBezTo>
                  <a:cubicBezTo>
                    <a:pt x="34" y="682"/>
                    <a:pt x="50" y="689"/>
                    <a:pt x="69" y="689"/>
                  </a:cubicBezTo>
                  <a:cubicBezTo>
                    <a:pt x="88" y="689"/>
                    <a:pt x="104" y="682"/>
                    <a:pt x="117" y="669"/>
                  </a:cubicBezTo>
                  <a:cubicBezTo>
                    <a:pt x="131" y="655"/>
                    <a:pt x="137" y="639"/>
                    <a:pt x="137" y="620"/>
                  </a:cubicBezTo>
                  <a:cubicBezTo>
                    <a:pt x="137" y="601"/>
                    <a:pt x="131" y="585"/>
                    <a:pt x="117" y="572"/>
                  </a:cubicBezTo>
                  <a:cubicBezTo>
                    <a:pt x="104" y="558"/>
                    <a:pt x="88" y="552"/>
                    <a:pt x="69" y="552"/>
                  </a:cubicBezTo>
                  <a:close/>
                </a:path>
              </a:pathLst>
            </a:custGeom>
            <a:solidFill>
              <a:srgbClr val="FFFFFF">
                <a:lumMod val="100000"/>
              </a:srgbClr>
            </a:solidFill>
            <a:ln>
              <a:noFill/>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cxnSp>
        <p:nvCxnSpPr>
          <p:cNvPr id="128" name="Straight Connector 127">
            <a:extLst>
              <a:ext uri="{FF2B5EF4-FFF2-40B4-BE49-F238E27FC236}">
                <a16:creationId xmlns:a16="http://schemas.microsoft.com/office/drawing/2014/main" id="{5D90B239-898F-96D9-417E-C0B29EA50D46}"/>
              </a:ext>
            </a:extLst>
          </p:cNvPr>
          <p:cNvCxnSpPr>
            <a:cxnSpLocks/>
          </p:cNvCxnSpPr>
          <p:nvPr/>
        </p:nvCxnSpPr>
        <p:spPr>
          <a:xfrm>
            <a:off x="5586449" y="3151208"/>
            <a:ext cx="0" cy="682577"/>
          </a:xfrm>
          <a:prstGeom prst="line">
            <a:avLst/>
          </a:prstGeom>
          <a:ln w="9525" cap="rnd" cmpd="sng" algn="ctr">
            <a:solidFill>
              <a:schemeClr val="accent5"/>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A861114-C18D-641F-7D6C-631B701D32DB}"/>
              </a:ext>
            </a:extLst>
          </p:cNvPr>
          <p:cNvCxnSpPr>
            <a:cxnSpLocks/>
          </p:cNvCxnSpPr>
          <p:nvPr/>
        </p:nvCxnSpPr>
        <p:spPr>
          <a:xfrm>
            <a:off x="6740480" y="3151208"/>
            <a:ext cx="0" cy="682577"/>
          </a:xfrm>
          <a:prstGeom prst="line">
            <a:avLst/>
          </a:prstGeom>
          <a:ln w="9525" cap="rnd"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1" name="TextBox 300">
            <a:extLst>
              <a:ext uri="{FF2B5EF4-FFF2-40B4-BE49-F238E27FC236}">
                <a16:creationId xmlns:a16="http://schemas.microsoft.com/office/drawing/2014/main" id="{1D16D20B-A49E-5738-EE71-76201CC9D3C9}"/>
              </a:ext>
            </a:extLst>
          </p:cNvPr>
          <p:cNvSpPr txBox="1"/>
          <p:nvPr/>
        </p:nvSpPr>
        <p:spPr>
          <a:xfrm>
            <a:off x="474678" y="5358030"/>
            <a:ext cx="3551957" cy="3676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buSzPts val="1200"/>
              <a:defRPr sz="1100" b="1">
                <a:solidFill>
                  <a:srgbClr val="1F4675"/>
                </a:solidFill>
              </a:defRPr>
            </a:lvl1pPr>
          </a:lstStyle>
          <a:p>
            <a:pPr marL="0" marR="0" lvl="0" indent="0" algn="ctr" defTabSz="914358" rtl="0" eaLnBrk="1" fontAlgn="auto" latinLnBrk="0" hangingPunct="1">
              <a:lnSpc>
                <a:spcPct val="100000"/>
              </a:lnSpc>
              <a:spcBef>
                <a:spcPts val="0"/>
              </a:spcBef>
              <a:spcAft>
                <a:spcPts val="0"/>
              </a:spcAft>
              <a:buClrTx/>
              <a:buSzPts val="1200"/>
              <a:buFontTx/>
              <a:buNone/>
              <a:tabLst/>
              <a:defRPr/>
            </a:pPr>
            <a:r>
              <a:rPr kumimoji="0" lang="en-US" sz="1000" b="1" i="0" u="none" strike="noStrike" kern="1200" cap="none" spc="0" normalizeH="0" baseline="0" noProof="0">
                <a:ln>
                  <a:noFill/>
                </a:ln>
                <a:solidFill>
                  <a:srgbClr val="7F6900"/>
                </a:solidFill>
                <a:effectLst/>
                <a:uLnTx/>
                <a:uFillTx/>
                <a:latin typeface="Arial" panose="020B0604020202020204"/>
                <a:ea typeface="+mn-ea"/>
                <a:cs typeface="+mn-cs"/>
              </a:rPr>
              <a:t>Some VPDs have a declining trend while other</a:t>
            </a:r>
            <a:br>
              <a:rPr kumimoji="0" lang="en-US" sz="1000" b="1" i="0" u="none" strike="noStrike" kern="1200" cap="none" spc="0" normalizeH="0" baseline="0" noProof="0">
                <a:ln>
                  <a:noFill/>
                </a:ln>
                <a:solidFill>
                  <a:srgbClr val="7F6900"/>
                </a:solidFill>
                <a:effectLst/>
                <a:uLnTx/>
                <a:uFillTx/>
                <a:latin typeface="Arial" panose="020B0604020202020204"/>
                <a:ea typeface="+mn-ea"/>
                <a:cs typeface="+mn-cs"/>
              </a:rPr>
            </a:br>
            <a:r>
              <a:rPr kumimoji="0" lang="en-US" sz="1000" b="1" i="0" u="none" strike="noStrike" kern="1200" cap="none" spc="0" normalizeH="0" baseline="0" noProof="0">
                <a:ln>
                  <a:noFill/>
                </a:ln>
                <a:solidFill>
                  <a:srgbClr val="7F6900"/>
                </a:solidFill>
                <a:effectLst/>
                <a:uLnTx/>
                <a:uFillTx/>
                <a:latin typeface="Arial" panose="020B0604020202020204"/>
                <a:ea typeface="+mn-ea"/>
                <a:cs typeface="+mn-cs"/>
              </a:rPr>
              <a:t>large and disruptive outbreaks are increasing </a:t>
            </a:r>
          </a:p>
        </p:txBody>
      </p:sp>
      <p:sp>
        <p:nvSpPr>
          <p:cNvPr id="347" name="Right Triangle 346">
            <a:extLst>
              <a:ext uri="{FF2B5EF4-FFF2-40B4-BE49-F238E27FC236}">
                <a16:creationId xmlns:a16="http://schemas.microsoft.com/office/drawing/2014/main" id="{4DCE71AE-B2FA-0CA5-39D4-C069ED493181}"/>
              </a:ext>
            </a:extLst>
          </p:cNvPr>
          <p:cNvSpPr/>
          <p:nvPr/>
        </p:nvSpPr>
        <p:spPr>
          <a:xfrm>
            <a:off x="538093" y="5906913"/>
            <a:ext cx="1629876" cy="330177"/>
          </a:xfrm>
          <a:prstGeom prst="rtTriangle">
            <a:avLst/>
          </a:prstGeom>
          <a:solidFill>
            <a:srgbClr val="20635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8" name="Right Triangle 347">
            <a:extLst>
              <a:ext uri="{FF2B5EF4-FFF2-40B4-BE49-F238E27FC236}">
                <a16:creationId xmlns:a16="http://schemas.microsoft.com/office/drawing/2014/main" id="{EC8E3F59-12FC-8BCF-485B-A8935E9609C8}"/>
              </a:ext>
            </a:extLst>
          </p:cNvPr>
          <p:cNvSpPr/>
          <p:nvPr/>
        </p:nvSpPr>
        <p:spPr>
          <a:xfrm flipH="1">
            <a:off x="2416921" y="5905327"/>
            <a:ext cx="1629876" cy="328590"/>
          </a:xfrm>
          <a:prstGeom prst="rtTriangle">
            <a:avLst/>
          </a:prstGeom>
          <a:solidFill>
            <a:srgbClr val="5F050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49" name="Straight Arrow Connector 348">
            <a:extLst>
              <a:ext uri="{FF2B5EF4-FFF2-40B4-BE49-F238E27FC236}">
                <a16:creationId xmlns:a16="http://schemas.microsoft.com/office/drawing/2014/main" id="{BDAEE2B1-4598-213D-A633-54E7AAA05D63}"/>
              </a:ext>
            </a:extLst>
          </p:cNvPr>
          <p:cNvCxnSpPr>
            <a:cxnSpLocks/>
          </p:cNvCxnSpPr>
          <p:nvPr/>
        </p:nvCxnSpPr>
        <p:spPr>
          <a:xfrm flipV="1">
            <a:off x="2460878" y="5884691"/>
            <a:ext cx="1415463" cy="292080"/>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50" name="Straight Arrow Connector 349">
            <a:extLst>
              <a:ext uri="{FF2B5EF4-FFF2-40B4-BE49-F238E27FC236}">
                <a16:creationId xmlns:a16="http://schemas.microsoft.com/office/drawing/2014/main" id="{D3B3B9B7-F5B5-2B91-0639-DAF2F51EED64}"/>
              </a:ext>
            </a:extLst>
          </p:cNvPr>
          <p:cNvCxnSpPr>
            <a:cxnSpLocks/>
          </p:cNvCxnSpPr>
          <p:nvPr/>
        </p:nvCxnSpPr>
        <p:spPr>
          <a:xfrm>
            <a:off x="571795" y="5887866"/>
            <a:ext cx="1561881" cy="307953"/>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51" name="TextBox 350">
            <a:extLst>
              <a:ext uri="{FF2B5EF4-FFF2-40B4-BE49-F238E27FC236}">
                <a16:creationId xmlns:a16="http://schemas.microsoft.com/office/drawing/2014/main" id="{3FD0E787-D3B8-9A44-D273-7B49BD891B74}"/>
              </a:ext>
            </a:extLst>
          </p:cNvPr>
          <p:cNvSpPr txBox="1"/>
          <p:nvPr/>
        </p:nvSpPr>
        <p:spPr>
          <a:xfrm>
            <a:off x="1406996" y="5832306"/>
            <a:ext cx="774891" cy="1095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Yellow Fever </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WPV</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Ebola</a:t>
            </a:r>
          </a:p>
        </p:txBody>
      </p:sp>
      <p:sp>
        <p:nvSpPr>
          <p:cNvPr id="352" name="TextBox 351">
            <a:extLst>
              <a:ext uri="{FF2B5EF4-FFF2-40B4-BE49-F238E27FC236}">
                <a16:creationId xmlns:a16="http://schemas.microsoft.com/office/drawing/2014/main" id="{3F9B71F8-85FC-7C78-A95B-DBCD3D09395F}"/>
              </a:ext>
            </a:extLst>
          </p:cNvPr>
          <p:cNvSpPr txBox="1"/>
          <p:nvPr/>
        </p:nvSpPr>
        <p:spPr>
          <a:xfrm>
            <a:off x="2460878" y="5743413"/>
            <a:ext cx="717817" cy="3508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Cholera </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Measles</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Meningococcus</a:t>
            </a:r>
            <a:b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700" b="0" i="0" u="none" strike="noStrike" kern="1200" cap="none" spc="0" normalizeH="0" baseline="0" noProof="0" err="1">
                <a:ln>
                  <a:noFill/>
                </a:ln>
                <a:solidFill>
                  <a:srgbClr val="000000"/>
                </a:solidFill>
                <a:effectLst/>
                <a:uLnTx/>
                <a:uFillTx/>
                <a:latin typeface="Arial" panose="020B0604020202020204"/>
                <a:ea typeface="+mn-ea"/>
                <a:cs typeface="+mn-cs"/>
              </a:rPr>
              <a:t>cVDPV</a:t>
            </a: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0" name="Chart 149">
            <a:extLst>
              <a:ext uri="{FF2B5EF4-FFF2-40B4-BE49-F238E27FC236}">
                <a16:creationId xmlns:a16="http://schemas.microsoft.com/office/drawing/2014/main" id="{468EA251-332D-3473-07BD-A93152E209EC}"/>
              </a:ext>
            </a:extLst>
          </p:cNvPr>
          <p:cNvGraphicFramePr/>
          <p:nvPr>
            <p:custDataLst>
              <p:tags r:id="rId11"/>
            </p:custDataLst>
          </p:nvPr>
        </p:nvGraphicFramePr>
        <p:xfrm>
          <a:off x="4357811" y="4884636"/>
          <a:ext cx="2719196" cy="1112759"/>
        </p:xfrm>
        <a:graphic>
          <a:graphicData uri="http://schemas.openxmlformats.org/drawingml/2006/chart">
            <c:chart xmlns:c="http://schemas.openxmlformats.org/drawingml/2006/chart" xmlns:r="http://schemas.openxmlformats.org/officeDocument/2006/relationships" r:id="rId38"/>
          </a:graphicData>
        </a:graphic>
      </p:graphicFrame>
      <p:sp>
        <p:nvSpPr>
          <p:cNvPr id="8" name="Text Placeholder 3">
            <a:extLst>
              <a:ext uri="{FF2B5EF4-FFF2-40B4-BE49-F238E27FC236}">
                <a16:creationId xmlns:a16="http://schemas.microsoft.com/office/drawing/2014/main" id="{ABD1336E-8F16-4009-0DE8-474305608ADC}"/>
              </a:ext>
            </a:extLst>
          </p:cNvPr>
          <p:cNvSpPr>
            <a:spLocks noGrp="1"/>
          </p:cNvSpPr>
          <p:nvPr>
            <p:custDataLst>
              <p:tags r:id="rId12"/>
            </p:custDataLst>
          </p:nvPr>
        </p:nvSpPr>
        <p:spPr bwMode="gray">
          <a:xfrm>
            <a:off x="6032504" y="5364027"/>
            <a:ext cx="928623" cy="15238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398" tIns="0" rIns="25398"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rPr>
              <a:t>308 Cumulative</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17" name="Rectangle 16">
            <a:extLst>
              <a:ext uri="{FF2B5EF4-FFF2-40B4-BE49-F238E27FC236}">
                <a16:creationId xmlns:a16="http://schemas.microsoft.com/office/drawing/2014/main" id="{AA7D9529-B432-0116-C4E2-3F6284B10086}"/>
              </a:ext>
            </a:extLst>
          </p:cNvPr>
          <p:cNvSpPr/>
          <p:nvPr>
            <p:custDataLst>
              <p:tags r:id="rId13"/>
            </p:custDataLst>
          </p:nvPr>
        </p:nvSpPr>
        <p:spPr bwMode="auto">
          <a:xfrm>
            <a:off x="4473690" y="5935488"/>
            <a:ext cx="125404" cy="93656"/>
          </a:xfrm>
          <a:prstGeom prst="rect">
            <a:avLst/>
          </a:prstGeom>
          <a:solidFill>
            <a:srgbClr val="00281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F9247902-470A-193C-15B6-1A3063F06DA2}"/>
              </a:ext>
            </a:extLst>
          </p:cNvPr>
          <p:cNvSpPr/>
          <p:nvPr>
            <p:custDataLst>
              <p:tags r:id="rId14"/>
            </p:custDataLst>
          </p:nvPr>
        </p:nvSpPr>
        <p:spPr bwMode="auto">
          <a:xfrm>
            <a:off x="4948319" y="5935488"/>
            <a:ext cx="125404" cy="93656"/>
          </a:xfrm>
          <a:prstGeom prst="rect">
            <a:avLst/>
          </a:prstGeom>
          <a:solidFill>
            <a:srgbClr val="20635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9A6610DD-5F59-612A-540C-F23ADFB22151}"/>
              </a:ext>
            </a:extLst>
          </p:cNvPr>
          <p:cNvSpPr/>
          <p:nvPr>
            <p:custDataLst>
              <p:tags r:id="rId15"/>
            </p:custDataLst>
          </p:nvPr>
        </p:nvSpPr>
        <p:spPr bwMode="auto">
          <a:xfrm>
            <a:off x="5422948" y="5935488"/>
            <a:ext cx="125404" cy="93656"/>
          </a:xfrm>
          <a:prstGeom prst="rect">
            <a:avLst/>
          </a:prstGeom>
          <a:solidFill>
            <a:schemeClr val="hlink"/>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1" name="Rectangle 60">
            <a:extLst>
              <a:ext uri="{FF2B5EF4-FFF2-40B4-BE49-F238E27FC236}">
                <a16:creationId xmlns:a16="http://schemas.microsoft.com/office/drawing/2014/main" id="{623C9367-E06D-85A9-4E37-099D4675AED7}"/>
              </a:ext>
            </a:extLst>
          </p:cNvPr>
          <p:cNvSpPr/>
          <p:nvPr>
            <p:custDataLst>
              <p:tags r:id="rId16"/>
            </p:custDataLst>
          </p:nvPr>
        </p:nvSpPr>
        <p:spPr bwMode="gray">
          <a:xfrm>
            <a:off x="5897578" y="5935488"/>
            <a:ext cx="125404" cy="93656"/>
          </a:xfrm>
          <a:prstGeom prst="rect">
            <a:avLst/>
          </a:prstGeom>
          <a:solidFill>
            <a:srgbClr val="A2FF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Text Placeholder 3">
            <a:extLst>
              <a:ext uri="{FF2B5EF4-FFF2-40B4-BE49-F238E27FC236}">
                <a16:creationId xmlns:a16="http://schemas.microsoft.com/office/drawing/2014/main" id="{255A289B-45E6-79E9-C519-1DBE0413896D}"/>
              </a:ext>
            </a:extLst>
          </p:cNvPr>
          <p:cNvSpPr>
            <a:spLocks noGrp="1"/>
          </p:cNvSpPr>
          <p:nvPr>
            <p:custDataLst>
              <p:tags r:id="rId17"/>
            </p:custDataLst>
          </p:nvPr>
        </p:nvSpPr>
        <p:spPr bwMode="gray">
          <a:xfrm>
            <a:off x="4649890" y="5932313"/>
            <a:ext cx="196836" cy="10635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l"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fld id="{49F853CA-7A85-40B2-8AF6-DF51B7BD9C48}" type="datetime'''''''''2''0''''''''2''''''''''''''1'''''''''">
              <a:rPr kumimoji="0" lang="en-US" altLang="en-US" sz="7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1" indent="0" algn="l"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t>2021</a:t>
            </a:fld>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26" name="Text Placeholder 3">
            <a:extLst>
              <a:ext uri="{FF2B5EF4-FFF2-40B4-BE49-F238E27FC236}">
                <a16:creationId xmlns:a16="http://schemas.microsoft.com/office/drawing/2014/main" id="{26146310-0507-FFEE-0154-E9956EB58A4A}"/>
              </a:ext>
            </a:extLst>
          </p:cNvPr>
          <p:cNvSpPr>
            <a:spLocks noGrp="1"/>
          </p:cNvSpPr>
          <p:nvPr>
            <p:custDataLst>
              <p:tags r:id="rId18"/>
            </p:custDataLst>
          </p:nvPr>
        </p:nvSpPr>
        <p:spPr bwMode="gray">
          <a:xfrm>
            <a:off x="5124519" y="5932313"/>
            <a:ext cx="196836" cy="10635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l"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fld id="{57E0A71E-2B88-4D42-BB23-044B32BA1F16}" type="datetime'''''''''''''''''2''0''''''''''''2''''''''''''''''2'''''''''">
              <a:rPr kumimoji="0" lang="en-US" altLang="en-US" sz="7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1" indent="0" algn="l"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t>2022</a:t>
            </a:fld>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28" name="Text Placeholder 3">
            <a:extLst>
              <a:ext uri="{FF2B5EF4-FFF2-40B4-BE49-F238E27FC236}">
                <a16:creationId xmlns:a16="http://schemas.microsoft.com/office/drawing/2014/main" id="{738E2A8D-EDB8-4DF0-71BA-42FDCA8676FC}"/>
              </a:ext>
            </a:extLst>
          </p:cNvPr>
          <p:cNvSpPr>
            <a:spLocks noGrp="1"/>
          </p:cNvSpPr>
          <p:nvPr>
            <p:custDataLst>
              <p:tags r:id="rId19"/>
            </p:custDataLst>
          </p:nvPr>
        </p:nvSpPr>
        <p:spPr bwMode="gray">
          <a:xfrm>
            <a:off x="5599148" y="5932313"/>
            <a:ext cx="196836" cy="10635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l"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fld id="{199AFCEB-CA8D-4AA0-8CB0-FB092D6E75C3}" type="datetime'''''''2''''0''''''''''2''''''3'''''''''''''''''''">
              <a:rPr kumimoji="0" lang="en-US" altLang="en-US" sz="7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1" indent="0" algn="l"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t>2023</a:t>
            </a:fld>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55" name="Text Placeholder 3">
            <a:extLst>
              <a:ext uri="{FF2B5EF4-FFF2-40B4-BE49-F238E27FC236}">
                <a16:creationId xmlns:a16="http://schemas.microsoft.com/office/drawing/2014/main" id="{E598E8EA-2451-5D17-8B97-E8997AB75576}"/>
              </a:ext>
            </a:extLst>
          </p:cNvPr>
          <p:cNvSpPr>
            <a:spLocks noGrp="1"/>
          </p:cNvSpPr>
          <p:nvPr>
            <p:custDataLst>
              <p:tags r:id="rId20"/>
            </p:custDataLst>
          </p:nvPr>
        </p:nvSpPr>
        <p:spPr bwMode="gray">
          <a:xfrm>
            <a:off x="6073777" y="5932313"/>
            <a:ext cx="196836" cy="10635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l"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fld id="{A668C107-A5B4-4240-8DDC-75186599C7BD}" type="datetime'20''''2''4'''''''''''''''''''''''">
              <a:rPr kumimoji="0" lang="en-US" altLang="en-US" sz="7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1" indent="0" algn="l"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t>2024</a:t>
            </a:fld>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32" name="TextBox 31">
            <a:extLst>
              <a:ext uri="{FF2B5EF4-FFF2-40B4-BE49-F238E27FC236}">
                <a16:creationId xmlns:a16="http://schemas.microsoft.com/office/drawing/2014/main" id="{5E6F8564-96E9-B8E0-DAC3-207F880DDF8F}"/>
              </a:ext>
            </a:extLst>
          </p:cNvPr>
          <p:cNvSpPr txBox="1"/>
          <p:nvPr/>
        </p:nvSpPr>
        <p:spPr>
          <a:xfrm>
            <a:off x="4323909" y="4589382"/>
            <a:ext cx="3543051" cy="3682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buSzPts val="1200"/>
              <a:defRPr sz="1200" b="1">
                <a:solidFill>
                  <a:srgbClr val="1F4675"/>
                </a:solidFill>
              </a:defRPr>
            </a:lvl1pPr>
          </a:lstStyle>
          <a:p>
            <a:pPr marL="0" marR="0" lvl="0" indent="0" algn="ctr" defTabSz="914358" rtl="0" eaLnBrk="1" fontAlgn="auto" latinLnBrk="0" hangingPunct="1">
              <a:lnSpc>
                <a:spcPct val="100000"/>
              </a:lnSpc>
              <a:spcBef>
                <a:spcPts val="0"/>
              </a:spcBef>
              <a:spcAft>
                <a:spcPts val="0"/>
              </a:spcAft>
              <a:buClrTx/>
              <a:buSzPts val="1200"/>
              <a:buFontTx/>
              <a:buNone/>
              <a:tabLst/>
              <a:defRPr/>
            </a:pPr>
            <a:r>
              <a:rPr kumimoji="0" lang="en-US" sz="1000" b="1" i="0" u="none" strike="noStrike" kern="1200" cap="none" spc="0" normalizeH="0" baseline="0" noProof="0">
                <a:ln>
                  <a:noFill/>
                </a:ln>
                <a:solidFill>
                  <a:srgbClr val="7F6900"/>
                </a:solidFill>
                <a:effectLst/>
                <a:uLnTx/>
                <a:uFillTx/>
                <a:latin typeface="Arial" panose="020B0604020202020204"/>
                <a:ea typeface="+mn-ea"/>
                <a:cs typeface="+mn-cs"/>
              </a:rPr>
              <a:t>500 Vaccine introductions in low - and middle-income countries</a:t>
            </a:r>
          </a:p>
        </p:txBody>
      </p:sp>
      <p:cxnSp>
        <p:nvCxnSpPr>
          <p:cNvPr id="33" name="Straight Connector 32">
            <a:extLst>
              <a:ext uri="{FF2B5EF4-FFF2-40B4-BE49-F238E27FC236}">
                <a16:creationId xmlns:a16="http://schemas.microsoft.com/office/drawing/2014/main" id="{83E6BEB6-E18B-DCE7-B148-CDA8A0275969}"/>
              </a:ext>
            </a:extLst>
          </p:cNvPr>
          <p:cNvCxnSpPr>
            <a:cxnSpLocks/>
          </p:cNvCxnSpPr>
          <p:nvPr/>
        </p:nvCxnSpPr>
        <p:spPr>
          <a:xfrm>
            <a:off x="6997956" y="5097347"/>
            <a:ext cx="0" cy="682577"/>
          </a:xfrm>
          <a:prstGeom prst="line">
            <a:avLst/>
          </a:prstGeom>
          <a:ln w="9525" cap="rnd" cmpd="sng" algn="ctr">
            <a:solidFill>
              <a:schemeClr val="accent5"/>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F17D35C-DAC7-06B5-6491-521467817AAC}"/>
              </a:ext>
            </a:extLst>
          </p:cNvPr>
          <p:cNvSpPr txBox="1"/>
          <p:nvPr/>
        </p:nvSpPr>
        <p:spPr>
          <a:xfrm>
            <a:off x="6423003" y="5771986"/>
            <a:ext cx="1019103" cy="1523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500 (2030 target)</a:t>
            </a:r>
          </a:p>
        </p:txBody>
      </p:sp>
      <p:sp>
        <p:nvSpPr>
          <p:cNvPr id="36" name="Oval 35">
            <a:extLst>
              <a:ext uri="{FF2B5EF4-FFF2-40B4-BE49-F238E27FC236}">
                <a16:creationId xmlns:a16="http://schemas.microsoft.com/office/drawing/2014/main" id="{7945922B-F1D4-B12B-BA9B-C5CAB03EA7FE}"/>
              </a:ext>
            </a:extLst>
          </p:cNvPr>
          <p:cNvSpPr/>
          <p:nvPr/>
        </p:nvSpPr>
        <p:spPr>
          <a:xfrm>
            <a:off x="7221460" y="5130681"/>
            <a:ext cx="593683" cy="576223"/>
          </a:xfrm>
          <a:prstGeom prst="ellipse">
            <a:avLst/>
          </a:prstGeom>
          <a:solidFill>
            <a:srgbClr val="C6C6C6"/>
          </a:solidFill>
          <a:ln w="9525" cap="rnd" cmpd="sng" algn="ctr">
            <a:solidFill>
              <a:srgbClr val="C6C6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altLang="en-US" sz="1100" b="1" i="0" u="none" strike="noStrike" kern="1200" cap="none" spc="0" normalizeH="0" baseline="0" noProof="0">
                <a:ln>
                  <a:noFill/>
                </a:ln>
                <a:solidFill>
                  <a:srgbClr val="206356"/>
                </a:solidFill>
                <a:effectLst/>
                <a:uLnTx/>
                <a:uFillTx/>
                <a:latin typeface="Arial" panose="020B0604020202020204"/>
                <a:ea typeface="+mn-ea"/>
                <a:cs typeface="+mn-cs"/>
              </a:rPr>
              <a:t>On</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altLang="en-US" sz="1100" b="1" i="0" u="none" strike="noStrike" kern="1200" cap="none" spc="0" normalizeH="0" baseline="0" noProof="0">
                <a:ln>
                  <a:noFill/>
                </a:ln>
                <a:solidFill>
                  <a:srgbClr val="206356"/>
                </a:solidFill>
                <a:effectLst/>
                <a:uLnTx/>
                <a:uFillTx/>
                <a:latin typeface="Arial" panose="020B0604020202020204"/>
                <a:ea typeface="+mn-ea"/>
                <a:cs typeface="+mn-cs"/>
              </a:rPr>
              <a:t>Track</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panose="020B0604020202020204"/>
                <a:ea typeface="+mn-ea"/>
                <a:cs typeface="+mn-cs"/>
              </a:rPr>
              <a:t>for target</a:t>
            </a: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35" name="Group 134">
            <a:extLst>
              <a:ext uri="{FF2B5EF4-FFF2-40B4-BE49-F238E27FC236}">
                <a16:creationId xmlns:a16="http://schemas.microsoft.com/office/drawing/2014/main" id="{A40E3C47-5120-EC9F-854D-B15D90D1AAD8}"/>
              </a:ext>
            </a:extLst>
          </p:cNvPr>
          <p:cNvGrpSpPr>
            <a:grpSpLocks noChangeAspect="1"/>
          </p:cNvGrpSpPr>
          <p:nvPr/>
        </p:nvGrpSpPr>
        <p:grpSpPr>
          <a:xfrm>
            <a:off x="7137328" y="5130681"/>
            <a:ext cx="173026" cy="173026"/>
            <a:chOff x="982662" y="3868738"/>
            <a:chExt cx="269875" cy="269875"/>
          </a:xfrm>
        </p:grpSpPr>
        <p:sp>
          <p:nvSpPr>
            <p:cNvPr id="136" name="Oval 16">
              <a:extLst>
                <a:ext uri="{FF2B5EF4-FFF2-40B4-BE49-F238E27FC236}">
                  <a16:creationId xmlns:a16="http://schemas.microsoft.com/office/drawing/2014/main" id="{2DCA16BF-2571-DEC3-4CD4-F3630DE8343D}"/>
                </a:ext>
              </a:extLst>
            </p:cNvPr>
            <p:cNvSpPr>
              <a:spLocks noChangeArrowheads="1"/>
            </p:cNvSpPr>
            <p:nvPr/>
          </p:nvSpPr>
          <p:spPr bwMode="auto">
            <a:xfrm>
              <a:off x="982662" y="3868738"/>
              <a:ext cx="269875" cy="269875"/>
            </a:xfrm>
            <a:prstGeom prst="ellipse">
              <a:avLst/>
            </a:prstGeom>
            <a:solidFill>
              <a:srgbClr val="206356"/>
            </a:solidFill>
            <a:ln w="9525" cap="flat" cmpd="sng" algn="ctr">
              <a:solidFill>
                <a:srgbClr val="206356"/>
              </a:solidFill>
              <a:prstDash val="solid"/>
              <a:round/>
              <a:headEnd type="none" w="med" len="med"/>
              <a:tailEnd type="none" w="med" len="med"/>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6900"/>
                </a:solidFill>
                <a:effectLst/>
                <a:uLnTx/>
                <a:uFillTx/>
                <a:latin typeface="Arial" panose="020B0604020202020204"/>
                <a:ea typeface="+mn-ea"/>
                <a:cs typeface="+mn-cs"/>
              </a:endParaRPr>
            </a:p>
          </p:txBody>
        </p:sp>
        <p:sp>
          <p:nvSpPr>
            <p:cNvPr id="137" name="Freeform 17">
              <a:extLst>
                <a:ext uri="{FF2B5EF4-FFF2-40B4-BE49-F238E27FC236}">
                  <a16:creationId xmlns:a16="http://schemas.microsoft.com/office/drawing/2014/main" id="{7274ED5A-7DF6-305C-8E30-741ADC236F54}"/>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aphicFrame>
        <p:nvGraphicFramePr>
          <p:cNvPr id="37" name="Chart 36">
            <a:extLst>
              <a:ext uri="{FF2B5EF4-FFF2-40B4-BE49-F238E27FC236}">
                <a16:creationId xmlns:a16="http://schemas.microsoft.com/office/drawing/2014/main" id="{22752274-007A-BD1B-489A-898AE35AAFD1}"/>
              </a:ext>
            </a:extLst>
          </p:cNvPr>
          <p:cNvGraphicFramePr/>
          <p:nvPr>
            <p:custDataLst>
              <p:tags r:id="rId21"/>
            </p:custDataLst>
          </p:nvPr>
        </p:nvGraphicFramePr>
        <p:xfrm>
          <a:off x="9083465" y="4997340"/>
          <a:ext cx="2428705" cy="827030"/>
        </p:xfrm>
        <a:graphic>
          <a:graphicData uri="http://schemas.openxmlformats.org/drawingml/2006/chart">
            <c:chart xmlns:c="http://schemas.openxmlformats.org/drawingml/2006/chart" xmlns:r="http://schemas.openxmlformats.org/officeDocument/2006/relationships" r:id="rId39"/>
          </a:graphicData>
        </a:graphic>
      </p:graphicFrame>
      <p:sp>
        <p:nvSpPr>
          <p:cNvPr id="56" name="Text Placeholder 3">
            <a:extLst>
              <a:ext uri="{FF2B5EF4-FFF2-40B4-BE49-F238E27FC236}">
                <a16:creationId xmlns:a16="http://schemas.microsoft.com/office/drawing/2014/main" id="{14C91C89-0D34-C351-7E6A-DA61CDEFC8A1}"/>
              </a:ext>
            </a:extLst>
          </p:cNvPr>
          <p:cNvSpPr>
            <a:spLocks noGrp="1"/>
          </p:cNvSpPr>
          <p:nvPr>
            <p:custDataLst>
              <p:tags r:id="rId22"/>
            </p:custDataLst>
          </p:nvPr>
        </p:nvSpPr>
        <p:spPr bwMode="gray">
          <a:xfrm>
            <a:off x="8137382" y="5259260"/>
            <a:ext cx="952433" cy="30160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358" rtl="0" eaLnBrk="1" fontAlgn="auto" latinLnBrk="0" hangingPunct="1">
              <a:lnSpc>
                <a:spcPct val="110000"/>
              </a:lnSpc>
              <a:spcBef>
                <a:spcPct val="0"/>
              </a:spcBef>
              <a:spcAft>
                <a:spcPct val="0"/>
              </a:spcAft>
              <a:buClr>
                <a:srgbClr val="EB5A53"/>
              </a:buClr>
              <a:buSzTx/>
              <a:buFont typeface="Arial" panose="020B0604020202020204" pitchFamily="34" charset="0"/>
              <a:buChar char="​"/>
              <a:tabLst/>
              <a:defRPr/>
            </a:pPr>
            <a:fld id="{1DD8891D-AFEB-4C94-8FDA-1FD6BE0D8A66}" type="datetime'''UH''C ''index'''' in m''o''''st''&#10;re''''cent'' y''e''''a''r'">
              <a:rPr kumimoji="0" lang="en-GB" altLang="en-US" sz="9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0" indent="0" algn="r" defTabSz="914358" rtl="0" eaLnBrk="1" fontAlgn="auto" latinLnBrk="0" hangingPunct="1">
                <a:lnSpc>
                  <a:spcPct val="110000"/>
                </a:lnSpc>
                <a:spcBef>
                  <a:spcPct val="0"/>
                </a:spcBef>
                <a:spcAft>
                  <a:spcPct val="0"/>
                </a:spcAft>
                <a:buClr>
                  <a:srgbClr val="EB5A53"/>
                </a:buClr>
                <a:buSzTx/>
                <a:buFont typeface="Arial" panose="020B0604020202020204" pitchFamily="34" charset="0"/>
                <a:buChar char="​"/>
                <a:tabLst/>
                <a:defRPr/>
              </a:pPr>
              <a:t>UHC index in most
recent year</a:t>
            </a:fld>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57" name="Rectangle 56">
            <a:extLst>
              <a:ext uri="{FF2B5EF4-FFF2-40B4-BE49-F238E27FC236}">
                <a16:creationId xmlns:a16="http://schemas.microsoft.com/office/drawing/2014/main" id="{020E7413-ECCE-B822-584F-65DA8AC1C0F0}"/>
              </a:ext>
            </a:extLst>
          </p:cNvPr>
          <p:cNvSpPr/>
          <p:nvPr>
            <p:custDataLst>
              <p:tags r:id="rId23"/>
            </p:custDataLst>
          </p:nvPr>
        </p:nvSpPr>
        <p:spPr>
          <a:xfrm>
            <a:off x="9808903" y="5834005"/>
            <a:ext cx="1030731" cy="10772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F4675"/>
                </a:solidFill>
              </a14:hiddenFill>
            </a:ext>
            <a:ext uri="{91240B29-F687-4F45-9708-019B960494DF}">
              <a14:hiddenLine xmlns:a14="http://schemas.microsoft.com/office/drawing/2010/main" w="9525" cap="rnd" cmpd="sng" algn="ctr">
                <a:solidFill>
                  <a:srgbClr val="1F467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Baseline UHC Index of 68</a:t>
            </a:r>
          </a:p>
        </p:txBody>
      </p:sp>
      <p:cxnSp>
        <p:nvCxnSpPr>
          <p:cNvPr id="58" name="Straight Connector 57">
            <a:extLst>
              <a:ext uri="{FF2B5EF4-FFF2-40B4-BE49-F238E27FC236}">
                <a16:creationId xmlns:a16="http://schemas.microsoft.com/office/drawing/2014/main" id="{CF37D981-96BE-967D-51FB-248A99EBECB6}"/>
              </a:ext>
            </a:extLst>
          </p:cNvPr>
          <p:cNvCxnSpPr/>
          <p:nvPr>
            <p:custDataLst>
              <p:tags r:id="rId24"/>
            </p:custDataLst>
          </p:nvPr>
        </p:nvCxnSpPr>
        <p:spPr>
          <a:xfrm>
            <a:off x="10310517" y="5408475"/>
            <a:ext cx="0" cy="392085"/>
          </a:xfrm>
          <a:prstGeom prst="line">
            <a:avLst/>
          </a:prstGeom>
          <a:ln w="952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0D2BC400-6D22-8474-91CC-AA26252BAE28}"/>
              </a:ext>
            </a:extLst>
          </p:cNvPr>
          <p:cNvSpPr txBox="1"/>
          <p:nvPr/>
        </p:nvSpPr>
        <p:spPr>
          <a:xfrm>
            <a:off x="8133410" y="4589382"/>
            <a:ext cx="3543051" cy="3682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buSzPts val="1200"/>
              <a:defRPr sz="1200" b="1">
                <a:solidFill>
                  <a:srgbClr val="1F4675"/>
                </a:solidFill>
              </a:defRPr>
            </a:lvl1pPr>
          </a:lstStyle>
          <a:p>
            <a:pPr marL="0" marR="0" lvl="0" indent="0" algn="ctr" defTabSz="914358" rtl="0" eaLnBrk="1" fontAlgn="auto" latinLnBrk="0" hangingPunct="1">
              <a:lnSpc>
                <a:spcPct val="100000"/>
              </a:lnSpc>
              <a:spcBef>
                <a:spcPts val="0"/>
              </a:spcBef>
              <a:spcAft>
                <a:spcPts val="0"/>
              </a:spcAft>
              <a:buClrTx/>
              <a:buSzPts val="1200"/>
              <a:buFontTx/>
              <a:buNone/>
              <a:tabLst/>
              <a:defRPr/>
            </a:pPr>
            <a:r>
              <a:rPr kumimoji="0" lang="en-US" sz="1000" b="1" i="0" u="none" strike="noStrike" kern="1200" cap="none" spc="0" normalizeH="0" baseline="0" noProof="0">
                <a:ln>
                  <a:noFill/>
                </a:ln>
                <a:solidFill>
                  <a:srgbClr val="7F6900"/>
                </a:solidFill>
                <a:effectLst/>
                <a:uLnTx/>
                <a:uFillTx/>
                <a:latin typeface="Arial" panose="020B0604020202020204"/>
                <a:ea typeface="+mn-ea"/>
                <a:cs typeface="+mn-cs"/>
              </a:rPr>
              <a:t>Improve Universal Health Coverage</a:t>
            </a:r>
          </a:p>
        </p:txBody>
      </p:sp>
      <p:sp>
        <p:nvSpPr>
          <p:cNvPr id="155" name="Rectangle: Rounded Corners 154">
            <a:extLst>
              <a:ext uri="{FF2B5EF4-FFF2-40B4-BE49-F238E27FC236}">
                <a16:creationId xmlns:a16="http://schemas.microsoft.com/office/drawing/2014/main" id="{685B1886-EA88-0FB1-98A8-C1D32C0C14F3}"/>
              </a:ext>
            </a:extLst>
          </p:cNvPr>
          <p:cNvSpPr/>
          <p:nvPr/>
        </p:nvSpPr>
        <p:spPr>
          <a:xfrm>
            <a:off x="8080817" y="2405679"/>
            <a:ext cx="3686922" cy="1902734"/>
          </a:xfrm>
          <a:prstGeom prst="roundRect">
            <a:avLst>
              <a:gd name="adj" fmla="val 3337"/>
            </a:avLst>
          </a:prstGeom>
          <a:solidFill>
            <a:srgbClr val="FFFFFF"/>
          </a:solidFill>
          <a:ln w="9525" cap="rnd"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94B31658-9CD2-A81F-985F-6E15A0BF4039}"/>
              </a:ext>
            </a:extLst>
          </p:cNvPr>
          <p:cNvSpPr txBox="1"/>
          <p:nvPr/>
        </p:nvSpPr>
        <p:spPr>
          <a:xfrm>
            <a:off x="9679529" y="5967500"/>
            <a:ext cx="1920327" cy="1215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2021 result unchanged from baseline</a:t>
            </a:r>
          </a:p>
        </p:txBody>
      </p:sp>
      <p:sp>
        <p:nvSpPr>
          <p:cNvPr id="228" name="TextBox 227">
            <a:extLst>
              <a:ext uri="{FF2B5EF4-FFF2-40B4-BE49-F238E27FC236}">
                <a16:creationId xmlns:a16="http://schemas.microsoft.com/office/drawing/2014/main" id="{D0F30C08-87EF-822D-CF76-74DB12619573}"/>
              </a:ext>
            </a:extLst>
          </p:cNvPr>
          <p:cNvSpPr txBox="1"/>
          <p:nvPr/>
        </p:nvSpPr>
        <p:spPr>
          <a:xfrm>
            <a:off x="8080817" y="2481330"/>
            <a:ext cx="3686921" cy="3682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buSzPts val="1200"/>
              <a:defRPr sz="1200" b="1">
                <a:solidFill>
                  <a:srgbClr val="1F4675"/>
                </a:solidFill>
              </a:defRPr>
            </a:lvl1pPr>
          </a:lstStyle>
          <a:p>
            <a:pPr marL="0" marR="0" lvl="0" indent="0" algn="ctr" defTabSz="914358" rtl="0" eaLnBrk="1" fontAlgn="auto" latinLnBrk="0" hangingPunct="1">
              <a:lnSpc>
                <a:spcPct val="100000"/>
              </a:lnSpc>
              <a:spcBef>
                <a:spcPts val="0"/>
              </a:spcBef>
              <a:spcAft>
                <a:spcPts val="0"/>
              </a:spcAft>
              <a:buClrTx/>
              <a:buSzPts val="1200"/>
              <a:buFontTx/>
              <a:buNone/>
              <a:tabLst/>
              <a:defRPr/>
            </a:pPr>
            <a:r>
              <a:rPr kumimoji="0" lang="en-US" sz="1000" b="1" i="0" u="none" strike="noStrike" kern="1200" cap="none" spc="0" normalizeH="0" baseline="0" noProof="0">
                <a:ln>
                  <a:noFill/>
                </a:ln>
                <a:solidFill>
                  <a:srgbClr val="7F6900"/>
                </a:solidFill>
                <a:effectLst/>
                <a:uLnTx/>
                <a:uFillTx/>
                <a:latin typeface="Arial" panose="020B0604020202020204"/>
                <a:ea typeface="+mn-ea"/>
                <a:cs typeface="+mn-cs"/>
              </a:rPr>
              <a:t>90% Global Coverage for DTP3, MCV2, PCV3 &amp; HPVc </a:t>
            </a:r>
          </a:p>
        </p:txBody>
      </p:sp>
      <p:graphicFrame>
        <p:nvGraphicFramePr>
          <p:cNvPr id="60" name="Chart 59">
            <a:extLst>
              <a:ext uri="{FF2B5EF4-FFF2-40B4-BE49-F238E27FC236}">
                <a16:creationId xmlns:a16="http://schemas.microsoft.com/office/drawing/2014/main" id="{E295F97A-822A-32D7-8BE8-C7783C543AE8}"/>
              </a:ext>
            </a:extLst>
          </p:cNvPr>
          <p:cNvGraphicFramePr/>
          <p:nvPr>
            <p:custDataLst>
              <p:tags r:id="rId25"/>
            </p:custDataLst>
          </p:nvPr>
        </p:nvGraphicFramePr>
        <p:xfrm>
          <a:off x="8451685" y="2771821"/>
          <a:ext cx="2638240" cy="1168318"/>
        </p:xfrm>
        <a:graphic>
          <a:graphicData uri="http://schemas.openxmlformats.org/drawingml/2006/chart">
            <c:chart xmlns:c="http://schemas.openxmlformats.org/drawingml/2006/chart" xmlns:r="http://schemas.openxmlformats.org/officeDocument/2006/relationships" r:id="rId40"/>
          </a:graphicData>
        </a:graphic>
      </p:graphicFrame>
      <p:cxnSp>
        <p:nvCxnSpPr>
          <p:cNvPr id="371" name="Straight Connector 370">
            <a:extLst>
              <a:ext uri="{FF2B5EF4-FFF2-40B4-BE49-F238E27FC236}">
                <a16:creationId xmlns:a16="http://schemas.microsoft.com/office/drawing/2014/main" id="{82D11B6C-1750-BB2E-4738-1057109346BD}"/>
              </a:ext>
            </a:extLst>
          </p:cNvPr>
          <p:cNvCxnSpPr/>
          <p:nvPr>
            <p:custDataLst>
              <p:tags r:id="rId26"/>
            </p:custDataLst>
          </p:nvPr>
        </p:nvCxnSpPr>
        <p:spPr bwMode="gray">
          <a:xfrm>
            <a:off x="10759747" y="2854365"/>
            <a:ext cx="0" cy="1003230"/>
          </a:xfrm>
          <a:prstGeom prst="line">
            <a:avLst/>
          </a:prstGeom>
          <a:ln w="9525"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8" name="Text Placeholder 3">
            <a:extLst>
              <a:ext uri="{FF2B5EF4-FFF2-40B4-BE49-F238E27FC236}">
                <a16:creationId xmlns:a16="http://schemas.microsoft.com/office/drawing/2014/main" id="{24AA947B-60F2-82F3-9880-B9BD1E649E39}"/>
              </a:ext>
            </a:extLst>
          </p:cNvPr>
          <p:cNvSpPr>
            <a:spLocks noGrp="1"/>
          </p:cNvSpPr>
          <p:nvPr>
            <p:custDataLst>
              <p:tags r:id="rId27"/>
            </p:custDataLst>
          </p:nvPr>
        </p:nvSpPr>
        <p:spPr bwMode="gray">
          <a:xfrm>
            <a:off x="8165955" y="2909925"/>
            <a:ext cx="292080" cy="13651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r"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fld id="{4F95F25B-28D9-41CA-BEA8-F89BA50D6E4A}" type="datetime'''D''''''''''T''''''P''''3'''''''''''''''''''''''''''''''">
              <a:rPr kumimoji="0" lang="en-US" altLang="en-US" sz="9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1" indent="0" algn="r"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t>DTP3</a:t>
            </a:fld>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270" name="Text Placeholder 3">
            <a:extLst>
              <a:ext uri="{FF2B5EF4-FFF2-40B4-BE49-F238E27FC236}">
                <a16:creationId xmlns:a16="http://schemas.microsoft.com/office/drawing/2014/main" id="{27FA646F-9A9B-18B7-2FCE-DC0F9C48D98F}"/>
              </a:ext>
            </a:extLst>
          </p:cNvPr>
          <p:cNvSpPr>
            <a:spLocks noGrp="1"/>
          </p:cNvSpPr>
          <p:nvPr>
            <p:custDataLst>
              <p:tags r:id="rId28"/>
            </p:custDataLst>
          </p:nvPr>
        </p:nvSpPr>
        <p:spPr bwMode="gray">
          <a:xfrm>
            <a:off x="8159605" y="3160733"/>
            <a:ext cx="298429" cy="13651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r"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fld id="{FD92877C-2283-49B4-82F5-481A98D547A7}" type="datetime'''P''''''''''''C''''''''''''''''''V''''''3'">
              <a:rPr kumimoji="0" lang="en-US" altLang="en-US" sz="9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1" indent="0" algn="r"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t>PCV3</a:t>
            </a:fld>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273" name="Text Placeholder 3">
            <a:extLst>
              <a:ext uri="{FF2B5EF4-FFF2-40B4-BE49-F238E27FC236}">
                <a16:creationId xmlns:a16="http://schemas.microsoft.com/office/drawing/2014/main" id="{BA88CE3E-992F-31EF-59E5-3DB1E316F674}"/>
              </a:ext>
            </a:extLst>
          </p:cNvPr>
          <p:cNvSpPr>
            <a:spLocks noGrp="1"/>
          </p:cNvSpPr>
          <p:nvPr>
            <p:custDataLst>
              <p:tags r:id="rId29"/>
            </p:custDataLst>
          </p:nvPr>
        </p:nvSpPr>
        <p:spPr bwMode="gray">
          <a:xfrm>
            <a:off x="8140556" y="3411540"/>
            <a:ext cx="317478" cy="13651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r"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fld id="{3155A647-EDDE-43D8-836A-3D1102C91B28}" type="datetime'''''M''''''C''''''''''''''''V''''''''''''2'''''">
              <a:rPr kumimoji="0" lang="en-US" altLang="en-US" sz="9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1" indent="0" algn="r"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t>MCV2</a:t>
            </a:fld>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276" name="Text Placeholder 3">
            <a:extLst>
              <a:ext uri="{FF2B5EF4-FFF2-40B4-BE49-F238E27FC236}">
                <a16:creationId xmlns:a16="http://schemas.microsoft.com/office/drawing/2014/main" id="{30624281-6809-021D-C39D-ECDCD11E5B68}"/>
              </a:ext>
            </a:extLst>
          </p:cNvPr>
          <p:cNvSpPr>
            <a:spLocks noGrp="1"/>
          </p:cNvSpPr>
          <p:nvPr>
            <p:custDataLst>
              <p:tags r:id="rId30"/>
            </p:custDataLst>
          </p:nvPr>
        </p:nvSpPr>
        <p:spPr bwMode="gray">
          <a:xfrm>
            <a:off x="8165955" y="3662348"/>
            <a:ext cx="292080" cy="13651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EB5A53"/>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B5A53"/>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B5A53"/>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B5A53"/>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B5A53"/>
              </a:buClr>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B5A53"/>
              </a:buClr>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r"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fld id="{2BA286FB-0D2D-4F76-A145-252C53E5E275}" type="datetime'''''''''''''H''''''P''V''''''''c'''''''''''''''''">
              <a:rPr kumimoji="0" lang="en-US" altLang="en-US" sz="9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rPr>
              <a:pPr marL="0" marR="0" lvl="1" indent="0" algn="r" defTabSz="914358" rtl="0" eaLnBrk="1" fontAlgn="auto" latinLnBrk="0" hangingPunct="1">
                <a:lnSpc>
                  <a:spcPct val="100000"/>
                </a:lnSpc>
                <a:spcBef>
                  <a:spcPct val="0"/>
                </a:spcBef>
                <a:spcAft>
                  <a:spcPct val="0"/>
                </a:spcAft>
                <a:buClr>
                  <a:srgbClr val="1F4675"/>
                </a:buClr>
                <a:buSzTx/>
                <a:buFont typeface="Arial" panose="020B0604020202020204" pitchFamily="34" charset="0"/>
                <a:buNone/>
                <a:tabLst/>
                <a:defRPr/>
              </a:pPr>
              <a:t>HPVc</a:t>
            </a:fld>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sym typeface="Trebuchet MS" panose="020B0603020202020204" pitchFamily="34" charset="0"/>
            </a:endParaRPr>
          </a:p>
        </p:txBody>
      </p:sp>
      <p:sp>
        <p:nvSpPr>
          <p:cNvPr id="379" name="TextBox 378">
            <a:extLst>
              <a:ext uri="{FF2B5EF4-FFF2-40B4-BE49-F238E27FC236}">
                <a16:creationId xmlns:a16="http://schemas.microsoft.com/office/drawing/2014/main" id="{34C1ECFD-7AAA-A5BA-1242-0F6F15F73AA0}"/>
              </a:ext>
            </a:extLst>
          </p:cNvPr>
          <p:cNvSpPr txBox="1"/>
          <p:nvPr/>
        </p:nvSpPr>
        <p:spPr>
          <a:xfrm>
            <a:off x="10324011" y="3856008"/>
            <a:ext cx="1178098" cy="1523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r" defTabSz="91435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90% (2030 target)</a:t>
            </a:r>
          </a:p>
        </p:txBody>
      </p:sp>
      <p:grpSp>
        <p:nvGrpSpPr>
          <p:cNvPr id="383" name="Group 382">
            <a:extLst>
              <a:ext uri="{FF2B5EF4-FFF2-40B4-BE49-F238E27FC236}">
                <a16:creationId xmlns:a16="http://schemas.microsoft.com/office/drawing/2014/main" id="{BDD723DB-A68B-7338-9F6A-ACF414AA5F16}"/>
              </a:ext>
            </a:extLst>
          </p:cNvPr>
          <p:cNvGrpSpPr>
            <a:grpSpLocks noChangeAspect="1"/>
          </p:cNvGrpSpPr>
          <p:nvPr/>
        </p:nvGrpSpPr>
        <p:grpSpPr>
          <a:xfrm>
            <a:off x="11058821" y="2892462"/>
            <a:ext cx="173026" cy="173026"/>
            <a:chOff x="628650" y="4271963"/>
            <a:chExt cx="269875" cy="269875"/>
          </a:xfrm>
        </p:grpSpPr>
        <p:sp>
          <p:nvSpPr>
            <p:cNvPr id="384" name="Oval 40">
              <a:extLst>
                <a:ext uri="{FF2B5EF4-FFF2-40B4-BE49-F238E27FC236}">
                  <a16:creationId xmlns:a16="http://schemas.microsoft.com/office/drawing/2014/main" id="{CEB223B9-CB66-56E5-D75E-B0B3D8F5726D}"/>
                </a:ext>
              </a:extLst>
            </p:cNvPr>
            <p:cNvSpPr>
              <a:spLocks noChangeArrowheads="1"/>
            </p:cNvSpPr>
            <p:nvPr/>
          </p:nvSpPr>
          <p:spPr bwMode="auto">
            <a:xfrm>
              <a:off x="628650" y="4271963"/>
              <a:ext cx="269875" cy="269875"/>
            </a:xfrm>
            <a:prstGeom prst="ellipse">
              <a:avLst/>
            </a:prstGeom>
            <a:solidFill>
              <a:srgbClr val="5F0509"/>
            </a:solidFill>
            <a:ln>
              <a:noFill/>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5" name="Freeform 41">
              <a:extLst>
                <a:ext uri="{FF2B5EF4-FFF2-40B4-BE49-F238E27FC236}">
                  <a16:creationId xmlns:a16="http://schemas.microsoft.com/office/drawing/2014/main" id="{4340AD3C-7BBC-9466-982A-25AA745303BE}"/>
                </a:ext>
              </a:extLst>
            </p:cNvPr>
            <p:cNvSpPr>
              <a:spLocks noEditPoints="1"/>
            </p:cNvSpPr>
            <p:nvPr/>
          </p:nvSpPr>
          <p:spPr bwMode="auto">
            <a:xfrm>
              <a:off x="748506" y="4333082"/>
              <a:ext cx="30162" cy="147637"/>
            </a:xfrm>
            <a:custGeom>
              <a:avLst/>
              <a:gdLst>
                <a:gd name="T0" fmla="*/ 50 w 137"/>
                <a:gd name="T1" fmla="*/ 506 h 689"/>
                <a:gd name="T2" fmla="*/ 15 w 137"/>
                <a:gd name="T3" fmla="*/ 187 h 689"/>
                <a:gd name="T4" fmla="*/ 15 w 137"/>
                <a:gd name="T5" fmla="*/ 0 h 689"/>
                <a:gd name="T6" fmla="*/ 118 w 137"/>
                <a:gd name="T7" fmla="*/ 0 h 689"/>
                <a:gd name="T8" fmla="*/ 118 w 137"/>
                <a:gd name="T9" fmla="*/ 187 h 689"/>
                <a:gd name="T10" fmla="*/ 82 w 137"/>
                <a:gd name="T11" fmla="*/ 506 h 689"/>
                <a:gd name="T12" fmla="*/ 50 w 137"/>
                <a:gd name="T13" fmla="*/ 506 h 689"/>
                <a:gd name="T14" fmla="*/ 69 w 137"/>
                <a:gd name="T15" fmla="*/ 552 h 689"/>
                <a:gd name="T16" fmla="*/ 21 w 137"/>
                <a:gd name="T17" fmla="*/ 572 h 689"/>
                <a:gd name="T18" fmla="*/ 0 w 137"/>
                <a:gd name="T19" fmla="*/ 620 h 689"/>
                <a:gd name="T20" fmla="*/ 21 w 137"/>
                <a:gd name="T21" fmla="*/ 669 h 689"/>
                <a:gd name="T22" fmla="*/ 69 w 137"/>
                <a:gd name="T23" fmla="*/ 689 h 689"/>
                <a:gd name="T24" fmla="*/ 117 w 137"/>
                <a:gd name="T25" fmla="*/ 669 h 689"/>
                <a:gd name="T26" fmla="*/ 137 w 137"/>
                <a:gd name="T27" fmla="*/ 620 h 689"/>
                <a:gd name="T28" fmla="*/ 117 w 137"/>
                <a:gd name="T29" fmla="*/ 572 h 689"/>
                <a:gd name="T30" fmla="*/ 69 w 137"/>
                <a:gd name="T31" fmla="*/ 552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689">
                  <a:moveTo>
                    <a:pt x="50" y="506"/>
                  </a:moveTo>
                  <a:cubicBezTo>
                    <a:pt x="26" y="353"/>
                    <a:pt x="15" y="247"/>
                    <a:pt x="15" y="187"/>
                  </a:cubicBezTo>
                  <a:cubicBezTo>
                    <a:pt x="15" y="0"/>
                    <a:pt x="15" y="0"/>
                    <a:pt x="15" y="0"/>
                  </a:cubicBezTo>
                  <a:cubicBezTo>
                    <a:pt x="118" y="0"/>
                    <a:pt x="118" y="0"/>
                    <a:pt x="118" y="0"/>
                  </a:cubicBezTo>
                  <a:cubicBezTo>
                    <a:pt x="118" y="187"/>
                    <a:pt x="118" y="187"/>
                    <a:pt x="118" y="187"/>
                  </a:cubicBezTo>
                  <a:cubicBezTo>
                    <a:pt x="118" y="245"/>
                    <a:pt x="106" y="351"/>
                    <a:pt x="82" y="506"/>
                  </a:cubicBezTo>
                  <a:lnTo>
                    <a:pt x="50" y="506"/>
                  </a:lnTo>
                  <a:close/>
                  <a:moveTo>
                    <a:pt x="69" y="552"/>
                  </a:moveTo>
                  <a:cubicBezTo>
                    <a:pt x="50" y="552"/>
                    <a:pt x="34" y="558"/>
                    <a:pt x="21" y="572"/>
                  </a:cubicBezTo>
                  <a:cubicBezTo>
                    <a:pt x="7" y="585"/>
                    <a:pt x="0" y="601"/>
                    <a:pt x="0" y="620"/>
                  </a:cubicBezTo>
                  <a:cubicBezTo>
                    <a:pt x="0" y="639"/>
                    <a:pt x="7" y="655"/>
                    <a:pt x="21" y="669"/>
                  </a:cubicBezTo>
                  <a:cubicBezTo>
                    <a:pt x="34" y="682"/>
                    <a:pt x="50" y="689"/>
                    <a:pt x="69" y="689"/>
                  </a:cubicBezTo>
                  <a:cubicBezTo>
                    <a:pt x="88" y="689"/>
                    <a:pt x="104" y="682"/>
                    <a:pt x="117" y="669"/>
                  </a:cubicBezTo>
                  <a:cubicBezTo>
                    <a:pt x="131" y="655"/>
                    <a:pt x="137" y="639"/>
                    <a:pt x="137" y="620"/>
                  </a:cubicBezTo>
                  <a:cubicBezTo>
                    <a:pt x="137" y="601"/>
                    <a:pt x="131" y="585"/>
                    <a:pt x="117" y="572"/>
                  </a:cubicBezTo>
                  <a:cubicBezTo>
                    <a:pt x="104" y="558"/>
                    <a:pt x="88" y="552"/>
                    <a:pt x="69" y="552"/>
                  </a:cubicBezTo>
                  <a:close/>
                </a:path>
              </a:pathLst>
            </a:custGeom>
            <a:solidFill>
              <a:srgbClr val="FFFFFF">
                <a:lumMod val="100000"/>
              </a:srgbClr>
            </a:solidFill>
            <a:ln>
              <a:noFill/>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86" name="Group 385">
            <a:extLst>
              <a:ext uri="{FF2B5EF4-FFF2-40B4-BE49-F238E27FC236}">
                <a16:creationId xmlns:a16="http://schemas.microsoft.com/office/drawing/2014/main" id="{FE17379C-7183-4A88-EA9B-30AC38D9C006}"/>
              </a:ext>
            </a:extLst>
          </p:cNvPr>
          <p:cNvGrpSpPr>
            <a:grpSpLocks noChangeAspect="1"/>
          </p:cNvGrpSpPr>
          <p:nvPr/>
        </p:nvGrpSpPr>
        <p:grpSpPr>
          <a:xfrm>
            <a:off x="11058821" y="3143270"/>
            <a:ext cx="173026" cy="173026"/>
            <a:chOff x="982662" y="3868738"/>
            <a:chExt cx="269875" cy="269875"/>
          </a:xfrm>
        </p:grpSpPr>
        <p:sp>
          <p:nvSpPr>
            <p:cNvPr id="387" name="Oval 16">
              <a:extLst>
                <a:ext uri="{FF2B5EF4-FFF2-40B4-BE49-F238E27FC236}">
                  <a16:creationId xmlns:a16="http://schemas.microsoft.com/office/drawing/2014/main" id="{15992B33-1C90-3A7F-7336-7AD0BAC2510E}"/>
                </a:ext>
              </a:extLst>
            </p:cNvPr>
            <p:cNvSpPr>
              <a:spLocks noChangeArrowheads="1"/>
            </p:cNvSpPr>
            <p:nvPr/>
          </p:nvSpPr>
          <p:spPr bwMode="auto">
            <a:xfrm>
              <a:off x="982662" y="3868738"/>
              <a:ext cx="269875" cy="269875"/>
            </a:xfrm>
            <a:prstGeom prst="ellipse">
              <a:avLst/>
            </a:prstGeom>
            <a:solidFill>
              <a:srgbClr val="206356"/>
            </a:solidFill>
            <a:ln>
              <a:noFill/>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8" name="Freeform 17">
              <a:extLst>
                <a:ext uri="{FF2B5EF4-FFF2-40B4-BE49-F238E27FC236}">
                  <a16:creationId xmlns:a16="http://schemas.microsoft.com/office/drawing/2014/main" id="{2AAD9994-B281-53BE-6BA3-974522DF117C}"/>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cxnSp>
        <p:nvCxnSpPr>
          <p:cNvPr id="404" name="Straight Connector 403">
            <a:extLst>
              <a:ext uri="{FF2B5EF4-FFF2-40B4-BE49-F238E27FC236}">
                <a16:creationId xmlns:a16="http://schemas.microsoft.com/office/drawing/2014/main" id="{A71428A1-18EC-FDD8-B2B5-7381378D869D}"/>
              </a:ext>
            </a:extLst>
          </p:cNvPr>
          <p:cNvCxnSpPr>
            <a:cxnSpLocks/>
          </p:cNvCxnSpPr>
          <p:nvPr/>
        </p:nvCxnSpPr>
        <p:spPr>
          <a:xfrm>
            <a:off x="10716882" y="2860716"/>
            <a:ext cx="0" cy="238108"/>
          </a:xfrm>
          <a:prstGeom prst="line">
            <a:avLst/>
          </a:prstGeom>
          <a:ln w="9525" cap="rnd"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6" name="Straight Connector 405">
            <a:extLst>
              <a:ext uri="{FF2B5EF4-FFF2-40B4-BE49-F238E27FC236}">
                <a16:creationId xmlns:a16="http://schemas.microsoft.com/office/drawing/2014/main" id="{14AFC737-C3D9-8A84-653E-6BCB6B9A173B}"/>
              </a:ext>
            </a:extLst>
          </p:cNvPr>
          <p:cNvCxnSpPr>
            <a:cxnSpLocks/>
          </p:cNvCxnSpPr>
          <p:nvPr/>
        </p:nvCxnSpPr>
        <p:spPr>
          <a:xfrm>
            <a:off x="9768682" y="3111523"/>
            <a:ext cx="0" cy="238108"/>
          </a:xfrm>
          <a:prstGeom prst="line">
            <a:avLst/>
          </a:prstGeom>
          <a:ln w="9525" cap="rnd"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50EB963B-170A-C411-4DF1-E7B7D4B393CF}"/>
              </a:ext>
            </a:extLst>
          </p:cNvPr>
          <p:cNvCxnSpPr>
            <a:cxnSpLocks/>
          </p:cNvCxnSpPr>
          <p:nvPr/>
        </p:nvCxnSpPr>
        <p:spPr>
          <a:xfrm>
            <a:off x="10310513" y="3362331"/>
            <a:ext cx="0" cy="238108"/>
          </a:xfrm>
          <a:prstGeom prst="line">
            <a:avLst/>
          </a:prstGeom>
          <a:ln w="9525" cap="rnd"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8" name="Straight Connector 407">
            <a:extLst>
              <a:ext uri="{FF2B5EF4-FFF2-40B4-BE49-F238E27FC236}">
                <a16:creationId xmlns:a16="http://schemas.microsoft.com/office/drawing/2014/main" id="{E5737BE0-7B21-8108-7C6B-BCABB31283DB}"/>
              </a:ext>
            </a:extLst>
          </p:cNvPr>
          <p:cNvCxnSpPr>
            <a:cxnSpLocks/>
          </p:cNvCxnSpPr>
          <p:nvPr/>
        </p:nvCxnSpPr>
        <p:spPr>
          <a:xfrm>
            <a:off x="8767842" y="3611551"/>
            <a:ext cx="0" cy="239696"/>
          </a:xfrm>
          <a:prstGeom prst="line">
            <a:avLst/>
          </a:prstGeom>
          <a:ln w="9525" cap="rnd"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4" name="Connector: Elbow 423">
            <a:extLst>
              <a:ext uri="{FF2B5EF4-FFF2-40B4-BE49-F238E27FC236}">
                <a16:creationId xmlns:a16="http://schemas.microsoft.com/office/drawing/2014/main" id="{E1A6C1B9-64A2-D794-3195-2BE47BE9E1CB}"/>
              </a:ext>
            </a:extLst>
          </p:cNvPr>
          <p:cNvCxnSpPr>
            <a:cxnSpLocks/>
          </p:cNvCxnSpPr>
          <p:nvPr/>
        </p:nvCxnSpPr>
        <p:spPr>
          <a:xfrm rot="16200000" flipV="1">
            <a:off x="8756463" y="3857595"/>
            <a:ext cx="221595" cy="198424"/>
          </a:xfrm>
          <a:prstGeom prst="bentConnector3">
            <a:avLst/>
          </a:prstGeom>
          <a:ln w="9525" cap="rnd" cmpd="sng" algn="ctr">
            <a:solidFill>
              <a:srgbClr val="70707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6" name="TextBox 425">
            <a:extLst>
              <a:ext uri="{FF2B5EF4-FFF2-40B4-BE49-F238E27FC236}">
                <a16:creationId xmlns:a16="http://schemas.microsoft.com/office/drawing/2014/main" id="{3050020C-6316-6887-F3BC-D9337C80CD76}"/>
              </a:ext>
            </a:extLst>
          </p:cNvPr>
          <p:cNvSpPr txBox="1"/>
          <p:nvPr/>
        </p:nvSpPr>
        <p:spPr>
          <a:xfrm>
            <a:off x="8897328" y="3821879"/>
            <a:ext cx="1178098" cy="261390"/>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l" defTabSz="914358" rtl="0" eaLnBrk="1" fontAlgn="auto" latinLnBrk="0" hangingPunct="1">
              <a:lnSpc>
                <a:spcPct val="100000"/>
              </a:lnSpc>
              <a:spcBef>
                <a:spcPts val="0"/>
              </a:spcBef>
              <a:spcAft>
                <a:spcPts val="0"/>
              </a:spcAft>
              <a:buClr>
                <a:srgbClr val="EB5A53"/>
              </a:buClr>
              <a:buSzTx/>
              <a:buFont typeface="Trebuchet MS" panose="020B0603020202020204" pitchFamily="34" charset="0"/>
              <a:buChar char="​"/>
              <a:tabLst/>
              <a:defRPr/>
            </a:pPr>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Baseline coverage</a:t>
            </a:r>
          </a:p>
        </p:txBody>
      </p:sp>
      <p:sp>
        <p:nvSpPr>
          <p:cNvPr id="433" name="TextBox 432">
            <a:extLst>
              <a:ext uri="{FF2B5EF4-FFF2-40B4-BE49-F238E27FC236}">
                <a16:creationId xmlns:a16="http://schemas.microsoft.com/office/drawing/2014/main" id="{72CA1614-EEF2-D528-4B76-9356F2901435}"/>
              </a:ext>
            </a:extLst>
          </p:cNvPr>
          <p:cNvSpPr txBox="1"/>
          <p:nvPr/>
        </p:nvSpPr>
        <p:spPr>
          <a:xfrm>
            <a:off x="10213423" y="2901988"/>
            <a:ext cx="483253" cy="1555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85%</a:t>
            </a:r>
          </a:p>
        </p:txBody>
      </p:sp>
      <p:sp>
        <p:nvSpPr>
          <p:cNvPr id="439" name="TextBox 438">
            <a:extLst>
              <a:ext uri="{FF2B5EF4-FFF2-40B4-BE49-F238E27FC236}">
                <a16:creationId xmlns:a16="http://schemas.microsoft.com/office/drawing/2014/main" id="{2E396564-690A-AD3A-8B47-20F7BC28FCA1}"/>
              </a:ext>
            </a:extLst>
          </p:cNvPr>
          <p:cNvSpPr txBox="1"/>
          <p:nvPr/>
        </p:nvSpPr>
        <p:spPr>
          <a:xfrm>
            <a:off x="8704577" y="3652823"/>
            <a:ext cx="483253" cy="1571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28%</a:t>
            </a:r>
          </a:p>
        </p:txBody>
      </p:sp>
      <p:sp>
        <p:nvSpPr>
          <p:cNvPr id="239" name="TextBox 238">
            <a:extLst>
              <a:ext uri="{FF2B5EF4-FFF2-40B4-BE49-F238E27FC236}">
                <a16:creationId xmlns:a16="http://schemas.microsoft.com/office/drawing/2014/main" id="{DF601720-37D5-772D-6456-BDFB7E2B2987}"/>
              </a:ext>
            </a:extLst>
          </p:cNvPr>
          <p:cNvSpPr txBox="1"/>
          <p:nvPr/>
        </p:nvSpPr>
        <p:spPr>
          <a:xfrm>
            <a:off x="10023919" y="3402016"/>
            <a:ext cx="483253" cy="1571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76%</a:t>
            </a:r>
          </a:p>
        </p:txBody>
      </p:sp>
      <p:sp>
        <p:nvSpPr>
          <p:cNvPr id="240" name="TextBox 239">
            <a:extLst>
              <a:ext uri="{FF2B5EF4-FFF2-40B4-BE49-F238E27FC236}">
                <a16:creationId xmlns:a16="http://schemas.microsoft.com/office/drawing/2014/main" id="{17C4189A-1EEF-1122-BDA6-6331F091A1DA}"/>
              </a:ext>
            </a:extLst>
          </p:cNvPr>
          <p:cNvSpPr txBox="1"/>
          <p:nvPr/>
        </p:nvSpPr>
        <p:spPr>
          <a:xfrm>
            <a:off x="9748618" y="3151208"/>
            <a:ext cx="483253" cy="1555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67%</a:t>
            </a:r>
          </a:p>
        </p:txBody>
      </p:sp>
      <p:grpSp>
        <p:nvGrpSpPr>
          <p:cNvPr id="165" name="Group 164">
            <a:extLst>
              <a:ext uri="{FF2B5EF4-FFF2-40B4-BE49-F238E27FC236}">
                <a16:creationId xmlns:a16="http://schemas.microsoft.com/office/drawing/2014/main" id="{877C3658-2702-DCDB-06B0-EE8494E88BDA}"/>
              </a:ext>
            </a:extLst>
          </p:cNvPr>
          <p:cNvGrpSpPr>
            <a:grpSpLocks noChangeAspect="1"/>
          </p:cNvGrpSpPr>
          <p:nvPr/>
        </p:nvGrpSpPr>
        <p:grpSpPr>
          <a:xfrm>
            <a:off x="11058821" y="3392490"/>
            <a:ext cx="173026" cy="173026"/>
            <a:chOff x="628650" y="4271963"/>
            <a:chExt cx="269875" cy="269875"/>
          </a:xfrm>
        </p:grpSpPr>
        <p:sp>
          <p:nvSpPr>
            <p:cNvPr id="166" name="Oval 40">
              <a:extLst>
                <a:ext uri="{FF2B5EF4-FFF2-40B4-BE49-F238E27FC236}">
                  <a16:creationId xmlns:a16="http://schemas.microsoft.com/office/drawing/2014/main" id="{5E81C1E3-DE7B-9EBB-FDA9-5D54BA2050F0}"/>
                </a:ext>
              </a:extLst>
            </p:cNvPr>
            <p:cNvSpPr>
              <a:spLocks noChangeArrowheads="1"/>
            </p:cNvSpPr>
            <p:nvPr/>
          </p:nvSpPr>
          <p:spPr bwMode="auto">
            <a:xfrm>
              <a:off x="628650" y="4271963"/>
              <a:ext cx="269875" cy="269875"/>
            </a:xfrm>
            <a:prstGeom prst="ellipse">
              <a:avLst/>
            </a:prstGeom>
            <a:solidFill>
              <a:srgbClr val="5F0509"/>
            </a:solidFill>
            <a:ln>
              <a:noFill/>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7" name="Freeform 41">
              <a:extLst>
                <a:ext uri="{FF2B5EF4-FFF2-40B4-BE49-F238E27FC236}">
                  <a16:creationId xmlns:a16="http://schemas.microsoft.com/office/drawing/2014/main" id="{B60F6C68-7D9E-222C-2B49-879181572DBF}"/>
                </a:ext>
              </a:extLst>
            </p:cNvPr>
            <p:cNvSpPr>
              <a:spLocks noEditPoints="1"/>
            </p:cNvSpPr>
            <p:nvPr/>
          </p:nvSpPr>
          <p:spPr bwMode="auto">
            <a:xfrm>
              <a:off x="748506" y="4333082"/>
              <a:ext cx="30162" cy="147637"/>
            </a:xfrm>
            <a:custGeom>
              <a:avLst/>
              <a:gdLst>
                <a:gd name="T0" fmla="*/ 50 w 137"/>
                <a:gd name="T1" fmla="*/ 506 h 689"/>
                <a:gd name="T2" fmla="*/ 15 w 137"/>
                <a:gd name="T3" fmla="*/ 187 h 689"/>
                <a:gd name="T4" fmla="*/ 15 w 137"/>
                <a:gd name="T5" fmla="*/ 0 h 689"/>
                <a:gd name="T6" fmla="*/ 118 w 137"/>
                <a:gd name="T7" fmla="*/ 0 h 689"/>
                <a:gd name="T8" fmla="*/ 118 w 137"/>
                <a:gd name="T9" fmla="*/ 187 h 689"/>
                <a:gd name="T10" fmla="*/ 82 w 137"/>
                <a:gd name="T11" fmla="*/ 506 h 689"/>
                <a:gd name="T12" fmla="*/ 50 w 137"/>
                <a:gd name="T13" fmla="*/ 506 h 689"/>
                <a:gd name="T14" fmla="*/ 69 w 137"/>
                <a:gd name="T15" fmla="*/ 552 h 689"/>
                <a:gd name="T16" fmla="*/ 21 w 137"/>
                <a:gd name="T17" fmla="*/ 572 h 689"/>
                <a:gd name="T18" fmla="*/ 0 w 137"/>
                <a:gd name="T19" fmla="*/ 620 h 689"/>
                <a:gd name="T20" fmla="*/ 21 w 137"/>
                <a:gd name="T21" fmla="*/ 669 h 689"/>
                <a:gd name="T22" fmla="*/ 69 w 137"/>
                <a:gd name="T23" fmla="*/ 689 h 689"/>
                <a:gd name="T24" fmla="*/ 117 w 137"/>
                <a:gd name="T25" fmla="*/ 669 h 689"/>
                <a:gd name="T26" fmla="*/ 137 w 137"/>
                <a:gd name="T27" fmla="*/ 620 h 689"/>
                <a:gd name="T28" fmla="*/ 117 w 137"/>
                <a:gd name="T29" fmla="*/ 572 h 689"/>
                <a:gd name="T30" fmla="*/ 69 w 137"/>
                <a:gd name="T31" fmla="*/ 552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689">
                  <a:moveTo>
                    <a:pt x="50" y="506"/>
                  </a:moveTo>
                  <a:cubicBezTo>
                    <a:pt x="26" y="353"/>
                    <a:pt x="15" y="247"/>
                    <a:pt x="15" y="187"/>
                  </a:cubicBezTo>
                  <a:cubicBezTo>
                    <a:pt x="15" y="0"/>
                    <a:pt x="15" y="0"/>
                    <a:pt x="15" y="0"/>
                  </a:cubicBezTo>
                  <a:cubicBezTo>
                    <a:pt x="118" y="0"/>
                    <a:pt x="118" y="0"/>
                    <a:pt x="118" y="0"/>
                  </a:cubicBezTo>
                  <a:cubicBezTo>
                    <a:pt x="118" y="187"/>
                    <a:pt x="118" y="187"/>
                    <a:pt x="118" y="187"/>
                  </a:cubicBezTo>
                  <a:cubicBezTo>
                    <a:pt x="118" y="245"/>
                    <a:pt x="106" y="351"/>
                    <a:pt x="82" y="506"/>
                  </a:cubicBezTo>
                  <a:lnTo>
                    <a:pt x="50" y="506"/>
                  </a:lnTo>
                  <a:close/>
                  <a:moveTo>
                    <a:pt x="69" y="552"/>
                  </a:moveTo>
                  <a:cubicBezTo>
                    <a:pt x="50" y="552"/>
                    <a:pt x="34" y="558"/>
                    <a:pt x="21" y="572"/>
                  </a:cubicBezTo>
                  <a:cubicBezTo>
                    <a:pt x="7" y="585"/>
                    <a:pt x="0" y="601"/>
                    <a:pt x="0" y="620"/>
                  </a:cubicBezTo>
                  <a:cubicBezTo>
                    <a:pt x="0" y="639"/>
                    <a:pt x="7" y="655"/>
                    <a:pt x="21" y="669"/>
                  </a:cubicBezTo>
                  <a:cubicBezTo>
                    <a:pt x="34" y="682"/>
                    <a:pt x="50" y="689"/>
                    <a:pt x="69" y="689"/>
                  </a:cubicBezTo>
                  <a:cubicBezTo>
                    <a:pt x="88" y="689"/>
                    <a:pt x="104" y="682"/>
                    <a:pt x="117" y="669"/>
                  </a:cubicBezTo>
                  <a:cubicBezTo>
                    <a:pt x="131" y="655"/>
                    <a:pt x="137" y="639"/>
                    <a:pt x="137" y="620"/>
                  </a:cubicBezTo>
                  <a:cubicBezTo>
                    <a:pt x="137" y="601"/>
                    <a:pt x="131" y="585"/>
                    <a:pt x="117" y="572"/>
                  </a:cubicBezTo>
                  <a:cubicBezTo>
                    <a:pt x="104" y="558"/>
                    <a:pt x="88" y="552"/>
                    <a:pt x="69" y="552"/>
                  </a:cubicBezTo>
                  <a:close/>
                </a:path>
              </a:pathLst>
            </a:custGeom>
            <a:solidFill>
              <a:srgbClr val="FFFFFF">
                <a:lumMod val="100000"/>
              </a:srgbClr>
            </a:solidFill>
            <a:ln>
              <a:noFill/>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68" name="Group 167">
            <a:extLst>
              <a:ext uri="{FF2B5EF4-FFF2-40B4-BE49-F238E27FC236}">
                <a16:creationId xmlns:a16="http://schemas.microsoft.com/office/drawing/2014/main" id="{E6BDF12E-B08E-AD96-3E86-D0D242CBD023}"/>
              </a:ext>
            </a:extLst>
          </p:cNvPr>
          <p:cNvGrpSpPr>
            <a:grpSpLocks noChangeAspect="1"/>
          </p:cNvGrpSpPr>
          <p:nvPr/>
        </p:nvGrpSpPr>
        <p:grpSpPr>
          <a:xfrm>
            <a:off x="11058821" y="3640123"/>
            <a:ext cx="173026" cy="173026"/>
            <a:chOff x="628650" y="4271963"/>
            <a:chExt cx="269875" cy="269875"/>
          </a:xfrm>
        </p:grpSpPr>
        <p:sp>
          <p:nvSpPr>
            <p:cNvPr id="169" name="Oval 40">
              <a:extLst>
                <a:ext uri="{FF2B5EF4-FFF2-40B4-BE49-F238E27FC236}">
                  <a16:creationId xmlns:a16="http://schemas.microsoft.com/office/drawing/2014/main" id="{066A0561-7511-1626-0DDA-2203F86400EE}"/>
                </a:ext>
              </a:extLst>
            </p:cNvPr>
            <p:cNvSpPr>
              <a:spLocks noChangeArrowheads="1"/>
            </p:cNvSpPr>
            <p:nvPr/>
          </p:nvSpPr>
          <p:spPr bwMode="auto">
            <a:xfrm>
              <a:off x="628650" y="4271963"/>
              <a:ext cx="269875" cy="269875"/>
            </a:xfrm>
            <a:prstGeom prst="ellipse">
              <a:avLst/>
            </a:prstGeom>
            <a:solidFill>
              <a:srgbClr val="5F0509"/>
            </a:solidFill>
            <a:ln>
              <a:noFill/>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0" name="Freeform 41">
              <a:extLst>
                <a:ext uri="{FF2B5EF4-FFF2-40B4-BE49-F238E27FC236}">
                  <a16:creationId xmlns:a16="http://schemas.microsoft.com/office/drawing/2014/main" id="{D37895FD-AA10-9BF8-3FF0-01E6B2646218}"/>
                </a:ext>
              </a:extLst>
            </p:cNvPr>
            <p:cNvSpPr>
              <a:spLocks noEditPoints="1"/>
            </p:cNvSpPr>
            <p:nvPr/>
          </p:nvSpPr>
          <p:spPr bwMode="auto">
            <a:xfrm>
              <a:off x="748506" y="4333082"/>
              <a:ext cx="30162" cy="147637"/>
            </a:xfrm>
            <a:custGeom>
              <a:avLst/>
              <a:gdLst>
                <a:gd name="T0" fmla="*/ 50 w 137"/>
                <a:gd name="T1" fmla="*/ 506 h 689"/>
                <a:gd name="T2" fmla="*/ 15 w 137"/>
                <a:gd name="T3" fmla="*/ 187 h 689"/>
                <a:gd name="T4" fmla="*/ 15 w 137"/>
                <a:gd name="T5" fmla="*/ 0 h 689"/>
                <a:gd name="T6" fmla="*/ 118 w 137"/>
                <a:gd name="T7" fmla="*/ 0 h 689"/>
                <a:gd name="T8" fmla="*/ 118 w 137"/>
                <a:gd name="T9" fmla="*/ 187 h 689"/>
                <a:gd name="T10" fmla="*/ 82 w 137"/>
                <a:gd name="T11" fmla="*/ 506 h 689"/>
                <a:gd name="T12" fmla="*/ 50 w 137"/>
                <a:gd name="T13" fmla="*/ 506 h 689"/>
                <a:gd name="T14" fmla="*/ 69 w 137"/>
                <a:gd name="T15" fmla="*/ 552 h 689"/>
                <a:gd name="T16" fmla="*/ 21 w 137"/>
                <a:gd name="T17" fmla="*/ 572 h 689"/>
                <a:gd name="T18" fmla="*/ 0 w 137"/>
                <a:gd name="T19" fmla="*/ 620 h 689"/>
                <a:gd name="T20" fmla="*/ 21 w 137"/>
                <a:gd name="T21" fmla="*/ 669 h 689"/>
                <a:gd name="T22" fmla="*/ 69 w 137"/>
                <a:gd name="T23" fmla="*/ 689 h 689"/>
                <a:gd name="T24" fmla="*/ 117 w 137"/>
                <a:gd name="T25" fmla="*/ 669 h 689"/>
                <a:gd name="T26" fmla="*/ 137 w 137"/>
                <a:gd name="T27" fmla="*/ 620 h 689"/>
                <a:gd name="T28" fmla="*/ 117 w 137"/>
                <a:gd name="T29" fmla="*/ 572 h 689"/>
                <a:gd name="T30" fmla="*/ 69 w 137"/>
                <a:gd name="T31" fmla="*/ 552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689">
                  <a:moveTo>
                    <a:pt x="50" y="506"/>
                  </a:moveTo>
                  <a:cubicBezTo>
                    <a:pt x="26" y="353"/>
                    <a:pt x="15" y="247"/>
                    <a:pt x="15" y="187"/>
                  </a:cubicBezTo>
                  <a:cubicBezTo>
                    <a:pt x="15" y="0"/>
                    <a:pt x="15" y="0"/>
                    <a:pt x="15" y="0"/>
                  </a:cubicBezTo>
                  <a:cubicBezTo>
                    <a:pt x="118" y="0"/>
                    <a:pt x="118" y="0"/>
                    <a:pt x="118" y="0"/>
                  </a:cubicBezTo>
                  <a:cubicBezTo>
                    <a:pt x="118" y="187"/>
                    <a:pt x="118" y="187"/>
                    <a:pt x="118" y="187"/>
                  </a:cubicBezTo>
                  <a:cubicBezTo>
                    <a:pt x="118" y="245"/>
                    <a:pt x="106" y="351"/>
                    <a:pt x="82" y="506"/>
                  </a:cubicBezTo>
                  <a:lnTo>
                    <a:pt x="50" y="506"/>
                  </a:lnTo>
                  <a:close/>
                  <a:moveTo>
                    <a:pt x="69" y="552"/>
                  </a:moveTo>
                  <a:cubicBezTo>
                    <a:pt x="50" y="552"/>
                    <a:pt x="34" y="558"/>
                    <a:pt x="21" y="572"/>
                  </a:cubicBezTo>
                  <a:cubicBezTo>
                    <a:pt x="7" y="585"/>
                    <a:pt x="0" y="601"/>
                    <a:pt x="0" y="620"/>
                  </a:cubicBezTo>
                  <a:cubicBezTo>
                    <a:pt x="0" y="639"/>
                    <a:pt x="7" y="655"/>
                    <a:pt x="21" y="669"/>
                  </a:cubicBezTo>
                  <a:cubicBezTo>
                    <a:pt x="34" y="682"/>
                    <a:pt x="50" y="689"/>
                    <a:pt x="69" y="689"/>
                  </a:cubicBezTo>
                  <a:cubicBezTo>
                    <a:pt x="88" y="689"/>
                    <a:pt x="104" y="682"/>
                    <a:pt x="117" y="669"/>
                  </a:cubicBezTo>
                  <a:cubicBezTo>
                    <a:pt x="131" y="655"/>
                    <a:pt x="137" y="639"/>
                    <a:pt x="137" y="620"/>
                  </a:cubicBezTo>
                  <a:cubicBezTo>
                    <a:pt x="137" y="601"/>
                    <a:pt x="131" y="585"/>
                    <a:pt x="117" y="572"/>
                  </a:cubicBezTo>
                  <a:cubicBezTo>
                    <a:pt x="104" y="558"/>
                    <a:pt x="88" y="552"/>
                    <a:pt x="69" y="552"/>
                  </a:cubicBezTo>
                  <a:close/>
                </a:path>
              </a:pathLst>
            </a:custGeom>
            <a:solidFill>
              <a:srgbClr val="FFFFFF">
                <a:lumMod val="100000"/>
              </a:srgbClr>
            </a:solidFill>
            <a:ln>
              <a:noFill/>
            </a:ln>
          </p:spPr>
          <p:txBody>
            <a:bodyPr vert="horz" wrap="square" lIns="91434" tIns="45717" rIns="91434" bIns="45717" numCol="1" anchor="t" anchorCtr="0" compatLnSpc="1">
              <a:prstTxWarp prst="textNoShape">
                <a:avLst/>
              </a:prstTxWarp>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54" name="Oval 53">
            <a:extLst>
              <a:ext uri="{FF2B5EF4-FFF2-40B4-BE49-F238E27FC236}">
                <a16:creationId xmlns:a16="http://schemas.microsoft.com/office/drawing/2014/main" id="{F42A2E0E-730F-4893-D3A5-896FA49456BC}"/>
              </a:ext>
            </a:extLst>
          </p:cNvPr>
          <p:cNvSpPr/>
          <p:nvPr/>
        </p:nvSpPr>
        <p:spPr>
          <a:xfrm>
            <a:off x="11312160" y="2892462"/>
            <a:ext cx="360557" cy="173026"/>
          </a:xfrm>
          <a:prstGeom prst="ellipse">
            <a:avLst/>
          </a:prstGeom>
          <a:noFill/>
          <a:ln w="9525" cap="rnd" cmpd="sng" algn="ctr">
            <a:solidFill>
              <a:srgbClr val="206356"/>
            </a:solidFill>
            <a:prstDash val="solid"/>
            <a:round/>
            <a:headEnd type="none" w="med" len="med"/>
            <a:tailEnd type="none" w="med" len="med"/>
          </a:ln>
          <a:extLst>
            <a:ext uri="{909E8E84-426E-40DD-AFC4-6F175D3DCCD1}">
              <a14:hiddenFill xmlns:a14="http://schemas.microsoft.com/office/drawing/2010/main">
                <a:solidFill>
                  <a:srgbClr val="7F69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06356"/>
                </a:solidFill>
                <a:effectLst/>
                <a:uLnTx/>
                <a:uFillTx/>
                <a:latin typeface="Arial" panose="020B0604020202020204"/>
                <a:ea typeface="+mn-ea"/>
                <a:cs typeface="+mn-cs"/>
              </a:rPr>
              <a:t>110</a:t>
            </a:r>
          </a:p>
        </p:txBody>
      </p:sp>
      <p:sp>
        <p:nvSpPr>
          <p:cNvPr id="59" name="Oval 58">
            <a:extLst>
              <a:ext uri="{FF2B5EF4-FFF2-40B4-BE49-F238E27FC236}">
                <a16:creationId xmlns:a16="http://schemas.microsoft.com/office/drawing/2014/main" id="{6E4ABB64-713F-D6BE-7DDC-3BBC3E3347BD}"/>
              </a:ext>
            </a:extLst>
          </p:cNvPr>
          <p:cNvSpPr/>
          <p:nvPr/>
        </p:nvSpPr>
        <p:spPr>
          <a:xfrm>
            <a:off x="8140557" y="4085717"/>
            <a:ext cx="360557" cy="173026"/>
          </a:xfrm>
          <a:prstGeom prst="ellipse">
            <a:avLst/>
          </a:prstGeom>
          <a:noFill/>
          <a:ln w="9525" cap="rnd" cmpd="sng" algn="ctr">
            <a:solidFill>
              <a:srgbClr val="206356"/>
            </a:solidFill>
            <a:prstDash val="solid"/>
            <a:round/>
            <a:headEnd type="none" w="med" len="med"/>
            <a:tailEnd type="none" w="med" len="med"/>
          </a:ln>
          <a:extLst>
            <a:ext uri="{909E8E84-426E-40DD-AFC4-6F175D3DCCD1}">
              <a14:hiddenFill xmlns:a14="http://schemas.microsoft.com/office/drawing/2010/main">
                <a:solidFill>
                  <a:srgbClr val="7F69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6356"/>
                </a:solidFill>
                <a:effectLst/>
                <a:uLnTx/>
                <a:uFillTx/>
                <a:latin typeface="Arial" panose="020B0604020202020204"/>
                <a:ea typeface="+mn-ea"/>
                <a:cs typeface="+mn-cs"/>
              </a:rPr>
              <a:t>#</a:t>
            </a:r>
          </a:p>
        </p:txBody>
      </p:sp>
      <p:sp>
        <p:nvSpPr>
          <p:cNvPr id="140" name="TextBox 139">
            <a:extLst>
              <a:ext uri="{FF2B5EF4-FFF2-40B4-BE49-F238E27FC236}">
                <a16:creationId xmlns:a16="http://schemas.microsoft.com/office/drawing/2014/main" id="{A98643A4-AE64-7347-BF22-EDEBC9D3590B}"/>
              </a:ext>
            </a:extLst>
          </p:cNvPr>
          <p:cNvSpPr txBox="1"/>
          <p:nvPr/>
        </p:nvSpPr>
        <p:spPr>
          <a:xfrm>
            <a:off x="8489783" y="4109991"/>
            <a:ext cx="3258613" cy="124478"/>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l" defTabSz="914358" rtl="0" eaLnBrk="1" fontAlgn="auto" latinLnBrk="0" hangingPunct="1">
              <a:lnSpc>
                <a:spcPct val="100000"/>
              </a:lnSpc>
              <a:spcBef>
                <a:spcPts val="0"/>
              </a:spcBef>
              <a:spcAft>
                <a:spcPts val="0"/>
              </a:spcAft>
              <a:buClr>
                <a:srgbClr val="EB5A53"/>
              </a:buClr>
              <a:buSzTx/>
              <a:buFont typeface="Trebuchet MS" panose="020B0603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Arial" panose="020B0604020202020204"/>
                <a:ea typeface="+mn-ea"/>
                <a:cs typeface="+mn-cs"/>
              </a:rPr>
              <a:t># of countries that have achieved / sustained 90% coverage</a:t>
            </a:r>
          </a:p>
        </p:txBody>
      </p:sp>
      <p:sp>
        <p:nvSpPr>
          <p:cNvPr id="141" name="Oval 140">
            <a:extLst>
              <a:ext uri="{FF2B5EF4-FFF2-40B4-BE49-F238E27FC236}">
                <a16:creationId xmlns:a16="http://schemas.microsoft.com/office/drawing/2014/main" id="{1138B816-F498-0454-361D-DB3E16F2788C}"/>
              </a:ext>
            </a:extLst>
          </p:cNvPr>
          <p:cNvSpPr/>
          <p:nvPr/>
        </p:nvSpPr>
        <p:spPr>
          <a:xfrm>
            <a:off x="11312160" y="3143270"/>
            <a:ext cx="360557" cy="173026"/>
          </a:xfrm>
          <a:prstGeom prst="ellipse">
            <a:avLst/>
          </a:prstGeom>
          <a:noFill/>
          <a:ln w="9525" cap="rnd" cmpd="sng" algn="ctr">
            <a:solidFill>
              <a:srgbClr val="206356"/>
            </a:solidFill>
            <a:prstDash val="solid"/>
            <a:round/>
            <a:headEnd type="none" w="med" len="med"/>
            <a:tailEnd type="none" w="med" len="med"/>
          </a:ln>
          <a:extLst>
            <a:ext uri="{909E8E84-426E-40DD-AFC4-6F175D3DCCD1}">
              <a14:hiddenFill xmlns:a14="http://schemas.microsoft.com/office/drawing/2010/main">
                <a:solidFill>
                  <a:srgbClr val="7F69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06356"/>
                </a:solidFill>
                <a:effectLst/>
                <a:uLnTx/>
                <a:uFillTx/>
                <a:latin typeface="Arial" panose="020B0604020202020204"/>
                <a:ea typeface="+mn-ea"/>
                <a:cs typeface="+mn-cs"/>
              </a:rPr>
              <a:t>74</a:t>
            </a:r>
          </a:p>
        </p:txBody>
      </p:sp>
      <p:sp>
        <p:nvSpPr>
          <p:cNvPr id="142" name="Oval 141">
            <a:extLst>
              <a:ext uri="{FF2B5EF4-FFF2-40B4-BE49-F238E27FC236}">
                <a16:creationId xmlns:a16="http://schemas.microsoft.com/office/drawing/2014/main" id="{41394087-728C-F78D-E447-5597DC19C68B}"/>
              </a:ext>
            </a:extLst>
          </p:cNvPr>
          <p:cNvSpPr/>
          <p:nvPr/>
        </p:nvSpPr>
        <p:spPr>
          <a:xfrm>
            <a:off x="11312160" y="3392491"/>
            <a:ext cx="360557" cy="173026"/>
          </a:xfrm>
          <a:prstGeom prst="ellipse">
            <a:avLst/>
          </a:prstGeom>
          <a:noFill/>
          <a:ln w="9525" cap="rnd" cmpd="sng" algn="ctr">
            <a:solidFill>
              <a:srgbClr val="206356"/>
            </a:solidFill>
            <a:prstDash val="solid"/>
            <a:round/>
            <a:headEnd type="none" w="med" len="med"/>
            <a:tailEnd type="none" w="med" len="med"/>
          </a:ln>
          <a:extLst>
            <a:ext uri="{909E8E84-426E-40DD-AFC4-6F175D3DCCD1}">
              <a14:hiddenFill xmlns:a14="http://schemas.microsoft.com/office/drawing/2010/main">
                <a:solidFill>
                  <a:srgbClr val="7F69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06356"/>
                </a:solidFill>
                <a:effectLst/>
                <a:uLnTx/>
                <a:uFillTx/>
                <a:latin typeface="Arial" panose="020B0604020202020204"/>
                <a:ea typeface="+mn-ea"/>
                <a:cs typeface="+mn-cs"/>
              </a:rPr>
              <a:t>72</a:t>
            </a:r>
          </a:p>
        </p:txBody>
      </p:sp>
      <p:sp>
        <p:nvSpPr>
          <p:cNvPr id="144" name="Oval 143">
            <a:extLst>
              <a:ext uri="{FF2B5EF4-FFF2-40B4-BE49-F238E27FC236}">
                <a16:creationId xmlns:a16="http://schemas.microsoft.com/office/drawing/2014/main" id="{0A446DA6-DD8D-A343-63E7-70CC3513F14F}"/>
              </a:ext>
            </a:extLst>
          </p:cNvPr>
          <p:cNvSpPr/>
          <p:nvPr/>
        </p:nvSpPr>
        <p:spPr>
          <a:xfrm>
            <a:off x="11312160" y="3640124"/>
            <a:ext cx="360557" cy="173026"/>
          </a:xfrm>
          <a:prstGeom prst="ellipse">
            <a:avLst/>
          </a:prstGeom>
          <a:noFill/>
          <a:ln w="9525" cap="rnd" cmpd="sng" algn="ctr">
            <a:solidFill>
              <a:srgbClr val="206356"/>
            </a:solidFill>
            <a:prstDash val="solid"/>
            <a:round/>
            <a:headEnd type="none" w="med" len="med"/>
            <a:tailEnd type="none" w="med" len="med"/>
          </a:ln>
          <a:extLst>
            <a:ext uri="{909E8E84-426E-40DD-AFC4-6F175D3DCCD1}">
              <a14:hiddenFill xmlns:a14="http://schemas.microsoft.com/office/drawing/2010/main">
                <a:solidFill>
                  <a:srgbClr val="7F69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06356"/>
                </a:solidFill>
                <a:effectLst/>
                <a:uLnTx/>
                <a:uFillTx/>
                <a:latin typeface="Arial" panose="020B0604020202020204"/>
                <a:ea typeface="+mn-ea"/>
                <a:cs typeface="+mn-cs"/>
              </a:rPr>
              <a:t>16</a:t>
            </a:r>
          </a:p>
        </p:txBody>
      </p:sp>
    </p:spTree>
    <p:extLst>
      <p:ext uri="{BB962C8B-B14F-4D97-AF65-F5344CB8AC3E}">
        <p14:creationId xmlns:p14="http://schemas.microsoft.com/office/powerpoint/2010/main" val="3996795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B8830A7-1C06-E2FE-2FA8-BF38AA81DFE4}"/>
            </a:ext>
          </a:extLst>
        </p:cNvPr>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B2AD3FB-5B28-E80E-4D7D-AB0898355051}"/>
              </a:ext>
            </a:extLst>
          </p:cNvPr>
          <p:cNvSpPr>
            <a:spLocks noGrp="1"/>
          </p:cNvSpPr>
          <p:nvPr>
            <p:ph type="sldNum" sz="quarter" idx="12"/>
          </p:nvPr>
        </p:nvSpPr>
        <p:spPr>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15</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634F1E1B-F04A-A8B5-ACCB-062D1D886087}"/>
              </a:ext>
            </a:extLst>
          </p:cNvPr>
          <p:cNvSpPr>
            <a:spLocks noGrp="1"/>
          </p:cNvSpPr>
          <p:nvPr>
            <p:ph type="title"/>
          </p:nvPr>
        </p:nvSpPr>
        <p:spPr>
          <a:xfrm>
            <a:off x="441379" y="212931"/>
            <a:ext cx="9343330" cy="405367"/>
          </a:xfrm>
        </p:spPr>
        <p:txBody>
          <a:bodyPr/>
          <a:lstStyle/>
          <a:p>
            <a:r>
              <a:rPr lang="en-US" sz="2900">
                <a:latin typeface="Poppins SemiBold"/>
                <a:ea typeface="Roboto"/>
                <a:cs typeface="Poppins SemiBold"/>
              </a:rPr>
              <a:t>IA2030 mid-term report</a:t>
            </a:r>
          </a:p>
        </p:txBody>
      </p:sp>
      <p:sp>
        <p:nvSpPr>
          <p:cNvPr id="5" name="Text Placeholder 4">
            <a:extLst>
              <a:ext uri="{FF2B5EF4-FFF2-40B4-BE49-F238E27FC236}">
                <a16:creationId xmlns:a16="http://schemas.microsoft.com/office/drawing/2014/main" id="{960A99A9-2E85-2DD5-E838-0E67A12EDB1C}"/>
              </a:ext>
            </a:extLst>
          </p:cNvPr>
          <p:cNvSpPr>
            <a:spLocks noGrp="1"/>
          </p:cNvSpPr>
          <p:nvPr>
            <p:ph type="body" sz="quarter" idx="13"/>
          </p:nvPr>
        </p:nvSpPr>
        <p:spPr>
          <a:xfrm>
            <a:off x="578025" y="1338046"/>
            <a:ext cx="5080927" cy="261290"/>
          </a:xfrm>
        </p:spPr>
        <p:txBody>
          <a:bodyPr/>
          <a:lstStyle/>
          <a:p>
            <a:endParaRPr lang="en-GB"/>
          </a:p>
        </p:txBody>
      </p:sp>
      <p:sp>
        <p:nvSpPr>
          <p:cNvPr id="7" name="Rectangle: Rounded Corners 6">
            <a:extLst>
              <a:ext uri="{FF2B5EF4-FFF2-40B4-BE49-F238E27FC236}">
                <a16:creationId xmlns:a16="http://schemas.microsoft.com/office/drawing/2014/main" id="{07CE7034-04CF-89AD-E436-EC6F82493467}"/>
              </a:ext>
            </a:extLst>
          </p:cNvPr>
          <p:cNvSpPr/>
          <p:nvPr/>
        </p:nvSpPr>
        <p:spPr>
          <a:xfrm>
            <a:off x="441379" y="1130990"/>
            <a:ext cx="10892403" cy="1556168"/>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34" tIns="45717" rIns="91434" bIns="45717" rtlCol="0" anchor="ctr"/>
          <a:lstStyle/>
          <a:p>
            <a:pPr marL="1198189" marR="0" lvl="0" indent="0" algn="l" defTabSz="277233" rtl="0" eaLnBrk="1" fontAlgn="auto" latinLnBrk="0" hangingPunct="1">
              <a:lnSpc>
                <a:spcPct val="100000"/>
              </a:lnSpc>
              <a:spcBef>
                <a:spcPts val="0"/>
              </a:spcBef>
              <a:spcAft>
                <a:spcPts val="0"/>
              </a:spcAft>
              <a:buClrTx/>
              <a:buSzTx/>
              <a:buFontTx/>
              <a:buNone/>
              <a:tabLst/>
              <a:defRPr/>
            </a:pPr>
            <a:r>
              <a:rPr kumimoji="0" lang="en-US" sz="1698" b="0" i="0" u="none" strike="noStrike" kern="1200" cap="none" spc="0" normalizeH="0" baseline="0" noProof="0">
                <a:ln>
                  <a:noFill/>
                </a:ln>
                <a:solidFill>
                  <a:srgbClr val="000000"/>
                </a:solidFill>
                <a:effectLst/>
                <a:uLnTx/>
                <a:uFillTx/>
                <a:latin typeface="Poppins"/>
                <a:ea typeface="+mn-ea"/>
                <a:cs typeface="Poppins"/>
              </a:rPr>
              <a:t>The IA2030 mid-term report acknowledged the progress made against impact goals to date and reaffirms that the overall vision and strategic priorities remain relevant even though progress is falling behind for several 2030 targets</a:t>
            </a:r>
            <a:r>
              <a:rPr kumimoji="0" lang="en-US" sz="1600" b="0" i="0" u="none" strike="noStrike" kern="1200" cap="none" spc="0" normalizeH="0" baseline="0" noProof="0">
                <a:ln>
                  <a:noFill/>
                </a:ln>
                <a:solidFill>
                  <a:srgbClr val="000000"/>
                </a:solidFill>
                <a:effectLst/>
                <a:uLnTx/>
                <a:uFillTx/>
                <a:latin typeface="Poppins"/>
                <a:ea typeface="+mn-ea"/>
                <a:cs typeface="Poppins"/>
              </a:rPr>
              <a:t>. </a:t>
            </a:r>
          </a:p>
        </p:txBody>
      </p:sp>
      <p:sp>
        <p:nvSpPr>
          <p:cNvPr id="14" name="Rectangle: Rounded Corners 13">
            <a:extLst>
              <a:ext uri="{FF2B5EF4-FFF2-40B4-BE49-F238E27FC236}">
                <a16:creationId xmlns:a16="http://schemas.microsoft.com/office/drawing/2014/main" id="{8C48F09C-B9E0-731B-97EC-D4960D3F7029}"/>
              </a:ext>
            </a:extLst>
          </p:cNvPr>
          <p:cNvSpPr/>
          <p:nvPr/>
        </p:nvSpPr>
        <p:spPr>
          <a:xfrm>
            <a:off x="459784" y="2763466"/>
            <a:ext cx="10883492" cy="1598519"/>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98" b="0" i="0" u="none" strike="noStrike" kern="1200" cap="none" spc="0" normalizeH="0" baseline="0" noProof="0">
                <a:ln>
                  <a:noFill/>
                </a:ln>
                <a:solidFill>
                  <a:srgbClr val="000000"/>
                </a:solidFill>
                <a:effectLst/>
                <a:uLnTx/>
                <a:uFillTx/>
                <a:latin typeface="Poppins"/>
                <a:ea typeface="Source Sans Pro"/>
                <a:cs typeface="Poppins"/>
              </a:rPr>
              <a:t>In an evolving context, SAGE highlighted the importance of the IA2030 partnership to continue supporting countries navigate complex trade-offs, strengthen local monitoring and action cycles, build capabilities to make data-driven decisions based on locally generated evidence, and maintain efforts to integrate immunization into primary health care. </a:t>
            </a:r>
          </a:p>
        </p:txBody>
      </p:sp>
      <p:sp>
        <p:nvSpPr>
          <p:cNvPr id="15" name="Rectangle: Rounded Corners 14">
            <a:extLst>
              <a:ext uri="{FF2B5EF4-FFF2-40B4-BE49-F238E27FC236}">
                <a16:creationId xmlns:a16="http://schemas.microsoft.com/office/drawing/2014/main" id="{6320CF41-0906-8064-70F1-FB224159F0BA}"/>
              </a:ext>
            </a:extLst>
          </p:cNvPr>
          <p:cNvSpPr/>
          <p:nvPr/>
        </p:nvSpPr>
        <p:spPr>
          <a:xfrm>
            <a:off x="431885" y="4489084"/>
            <a:ext cx="10911391" cy="1556168"/>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98" b="0" i="0" u="none" strike="noStrike" kern="1200" cap="none" spc="0" normalizeH="0" baseline="0" noProof="0">
                <a:ln>
                  <a:noFill/>
                </a:ln>
                <a:solidFill>
                  <a:srgbClr val="000000"/>
                </a:solidFill>
                <a:effectLst/>
                <a:uLnTx/>
                <a:uFillTx/>
                <a:latin typeface="Poppins"/>
                <a:ea typeface="Source Sans Pro"/>
                <a:cs typeface="Poppins"/>
              </a:rPr>
              <a:t>To enable this, IA2030 structures at the global and regional level should be reviewed to strengthen focus on driving coordinated action towards common priorities at all levels</a:t>
            </a:r>
            <a:r>
              <a:rPr kumimoji="0" lang="en-US" sz="1600" b="0" i="0" u="none" strike="noStrike" kern="1200" cap="none" spc="0" normalizeH="0" baseline="0" noProof="0">
                <a:ln>
                  <a:noFill/>
                </a:ln>
                <a:solidFill>
                  <a:srgbClr val="000000"/>
                </a:solidFill>
                <a:effectLst/>
                <a:uLnTx/>
                <a:uFillTx/>
                <a:latin typeface="Poppins"/>
                <a:ea typeface="Source Sans Pro"/>
                <a:cs typeface="Poppins"/>
              </a:rPr>
              <a:t>.</a:t>
            </a:r>
          </a:p>
        </p:txBody>
      </p:sp>
      <p:pic>
        <p:nvPicPr>
          <p:cNvPr id="9" name="Graphic 8" descr="Document with solid fill">
            <a:extLst>
              <a:ext uri="{FF2B5EF4-FFF2-40B4-BE49-F238E27FC236}">
                <a16:creationId xmlns:a16="http://schemas.microsoft.com/office/drawing/2014/main" id="{E02B2F0E-325B-7854-A7DD-34F0F3CB250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8218" y="1585256"/>
            <a:ext cx="554493" cy="554493"/>
          </a:xfrm>
          <a:prstGeom prst="rect">
            <a:avLst/>
          </a:prstGeom>
        </p:spPr>
      </p:pic>
      <p:pic>
        <p:nvPicPr>
          <p:cNvPr id="16" name="Graphic 15" descr="Treasure Map outline">
            <a:extLst>
              <a:ext uri="{FF2B5EF4-FFF2-40B4-BE49-F238E27FC236}">
                <a16:creationId xmlns:a16="http://schemas.microsoft.com/office/drawing/2014/main" id="{F76C439F-4710-04CD-4EEF-95EE9ADC3CB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8854" y="3285478"/>
            <a:ext cx="554493" cy="554493"/>
          </a:xfrm>
          <a:prstGeom prst="rect">
            <a:avLst/>
          </a:prstGeom>
        </p:spPr>
      </p:pic>
      <p:pic>
        <p:nvPicPr>
          <p:cNvPr id="19" name="Graphic 18" descr="Management with solid fill">
            <a:extLst>
              <a:ext uri="{FF2B5EF4-FFF2-40B4-BE49-F238E27FC236}">
                <a16:creationId xmlns:a16="http://schemas.microsoft.com/office/drawing/2014/main" id="{E4F5D92F-5BC2-D387-8A2D-DC45454D105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854" y="4965461"/>
            <a:ext cx="554493" cy="554493"/>
          </a:xfrm>
          <a:prstGeom prst="rect">
            <a:avLst/>
          </a:prstGeom>
        </p:spPr>
      </p:pic>
      <p:pic>
        <p:nvPicPr>
          <p:cNvPr id="2" name="Picture 1">
            <a:extLst>
              <a:ext uri="{FF2B5EF4-FFF2-40B4-BE49-F238E27FC236}">
                <a16:creationId xmlns:a16="http://schemas.microsoft.com/office/drawing/2014/main" id="{BA0FF929-1890-7A9E-45D7-BD0B79482602}"/>
              </a:ext>
            </a:extLst>
          </p:cNvPr>
          <p:cNvPicPr>
            <a:picLocks noChangeAspect="1"/>
          </p:cNvPicPr>
          <p:nvPr/>
        </p:nvPicPr>
        <p:blipFill>
          <a:blip r:embed="rId9" cstate="screen">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11017806" y="149178"/>
            <a:ext cx="891773" cy="532855"/>
          </a:xfrm>
          <a:prstGeom prst="rect">
            <a:avLst/>
          </a:prstGeom>
        </p:spPr>
      </p:pic>
    </p:spTree>
    <p:extLst>
      <p:ext uri="{BB962C8B-B14F-4D97-AF65-F5344CB8AC3E}">
        <p14:creationId xmlns:p14="http://schemas.microsoft.com/office/powerpoint/2010/main" val="33716157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AE716-CB72-A1FA-6A9E-91967DD55249}"/>
            </a:ext>
          </a:extLst>
        </p:cNvPr>
        <p:cNvGrpSpPr/>
        <p:nvPr/>
      </p:nvGrpSpPr>
      <p:grpSpPr>
        <a:xfrm>
          <a:off x="0" y="0"/>
          <a:ext cx="0" cy="0"/>
          <a:chOff x="0" y="0"/>
          <a:chExt cx="0" cy="0"/>
        </a:xfrm>
      </p:grpSpPr>
      <p:sp>
        <p:nvSpPr>
          <p:cNvPr id="12" name="Footer Placeholder 1">
            <a:extLst>
              <a:ext uri="{FF2B5EF4-FFF2-40B4-BE49-F238E27FC236}">
                <a16:creationId xmlns:a16="http://schemas.microsoft.com/office/drawing/2014/main" id="{131BAC13-BB53-197D-AECE-93CA15E39240}"/>
              </a:ext>
            </a:extLst>
          </p:cNvPr>
          <p:cNvSpPr>
            <a:spLocks noGrp="1"/>
          </p:cNvSpPr>
          <p:nvPr>
            <p:ph type="ftr" sz="quarter" idx="4294967295"/>
          </p:nvPr>
        </p:nvSpPr>
        <p:spPr>
          <a:xfrm>
            <a:off x="578025" y="6482886"/>
            <a:ext cx="7575183" cy="111982"/>
          </a:xfrm>
          <a:prstGeom prst="rect">
            <a:avLst/>
          </a:prstGeom>
        </p:spPr>
        <p:txBody>
          <a:bodyPr/>
          <a:lstStyle/>
          <a:p>
            <a:pPr marL="0" marR="0" lvl="0" indent="0" algn="l" defTabSz="554492" rtl="0" eaLnBrk="1" fontAlgn="auto" latinLnBrk="0" hangingPunct="1">
              <a:lnSpc>
                <a:spcPct val="100000"/>
              </a:lnSpc>
              <a:spcBef>
                <a:spcPts val="0"/>
              </a:spcBef>
              <a:spcAft>
                <a:spcPts val="364"/>
              </a:spcAft>
              <a:buClrTx/>
              <a:buSzTx/>
              <a:buFontTx/>
              <a:buNone/>
              <a:tabLst/>
              <a:defRPr/>
            </a:pPr>
            <a:r>
              <a:rPr kumimoji="0" lang="en-GB" sz="1092" b="0" i="0" u="none" strike="noStrike" kern="1200" cap="none" spc="0" normalizeH="0" baseline="0" noProof="0">
                <a:ln>
                  <a:noFill/>
                </a:ln>
                <a:solidFill>
                  <a:srgbClr val="000000"/>
                </a:solidFill>
                <a:effectLst/>
                <a:uLnTx/>
                <a:uFillTx/>
                <a:latin typeface="Poppins"/>
                <a:ea typeface="+mn-ea"/>
                <a:cs typeface="+mn-cs"/>
              </a:rPr>
              <a:t>Immunization, Vaccines and Biologicals</a:t>
            </a:r>
          </a:p>
        </p:txBody>
      </p:sp>
      <p:sp>
        <p:nvSpPr>
          <p:cNvPr id="5" name="Title 4">
            <a:extLst>
              <a:ext uri="{FF2B5EF4-FFF2-40B4-BE49-F238E27FC236}">
                <a16:creationId xmlns:a16="http://schemas.microsoft.com/office/drawing/2014/main" id="{C61A84F7-4C08-58DF-99F9-1B2799FA1C9F}"/>
              </a:ext>
            </a:extLst>
          </p:cNvPr>
          <p:cNvSpPr>
            <a:spLocks noGrp="1"/>
          </p:cNvSpPr>
          <p:nvPr>
            <p:ph type="body" sz="quarter" idx="13"/>
          </p:nvPr>
        </p:nvSpPr>
        <p:spPr>
          <a:xfrm>
            <a:off x="1498330" y="2863649"/>
            <a:ext cx="9195342" cy="1130703"/>
          </a:xfrm>
        </p:spPr>
        <p:txBody>
          <a:bodyPr wrap="square" anchor="ctr">
            <a:normAutofit/>
          </a:bodyPr>
          <a:lstStyle/>
          <a:p>
            <a:r>
              <a:rPr lang="en-GB"/>
              <a:t>INFLUENZA A(H5)</a:t>
            </a:r>
          </a:p>
        </p:txBody>
      </p:sp>
      <p:sp>
        <p:nvSpPr>
          <p:cNvPr id="2" name="Slide Number Placeholder 5">
            <a:extLst>
              <a:ext uri="{FF2B5EF4-FFF2-40B4-BE49-F238E27FC236}">
                <a16:creationId xmlns:a16="http://schemas.microsoft.com/office/drawing/2014/main" id="{03E6F0EA-EFFD-4607-444F-1B8BCD4942F9}"/>
              </a:ext>
            </a:extLst>
          </p:cNvPr>
          <p:cNvSpPr txBox="1">
            <a:spLocks/>
          </p:cNvSpPr>
          <p:nvPr/>
        </p:nvSpPr>
        <p:spPr>
          <a:xfrm>
            <a:off x="10693671" y="6482886"/>
            <a:ext cx="897133" cy="112018"/>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16</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pic>
        <p:nvPicPr>
          <p:cNvPr id="4" name="Graphic 3" descr="Germ outline">
            <a:extLst>
              <a:ext uri="{FF2B5EF4-FFF2-40B4-BE49-F238E27FC236}">
                <a16:creationId xmlns:a16="http://schemas.microsoft.com/office/drawing/2014/main" id="{F097200B-D4BF-449A-AA8C-8FA4687ABD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757375" y="170820"/>
            <a:ext cx="1110675" cy="1110675"/>
          </a:xfrm>
          <a:prstGeom prst="rect">
            <a:avLst/>
          </a:prstGeom>
        </p:spPr>
      </p:pic>
    </p:spTree>
    <p:extLst>
      <p:ext uri="{BB962C8B-B14F-4D97-AF65-F5344CB8AC3E}">
        <p14:creationId xmlns:p14="http://schemas.microsoft.com/office/powerpoint/2010/main" val="29178255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FC20C-B7BA-8AE7-3669-AC27A748767F}"/>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C033919-A9C1-6E91-BF01-1CEEB29B3465}"/>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914358" rtl="0" eaLnBrk="1" fontAlgn="auto" latinLnBrk="0" hangingPunct="1">
                <a:lnSpc>
                  <a:spcPct val="100000"/>
                </a:lnSpc>
                <a:spcBef>
                  <a:spcPts val="0"/>
                </a:spcBef>
                <a:spcAft>
                  <a:spcPts val="0"/>
                </a:spcAft>
                <a:buClrTx/>
                <a:buSzTx/>
                <a:buFontTx/>
                <a:buNone/>
                <a:tabLst/>
                <a:defRPr/>
              </a:pPr>
              <a:t>17</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02B7A249-C06A-575B-B59A-5B87C66D6CC6}"/>
              </a:ext>
            </a:extLst>
          </p:cNvPr>
          <p:cNvSpPr>
            <a:spLocks noGrp="1"/>
          </p:cNvSpPr>
          <p:nvPr>
            <p:ph type="title"/>
          </p:nvPr>
        </p:nvSpPr>
        <p:spPr>
          <a:xfrm>
            <a:off x="578026" y="200553"/>
            <a:ext cx="10671732" cy="1011046"/>
          </a:xfrm>
        </p:spPr>
        <p:txBody>
          <a:bodyPr/>
          <a:lstStyle/>
          <a:p>
            <a:r>
              <a:rPr lang="en-US" sz="2426"/>
              <a:t>Avian influenza outbreaks, World Organization for Animal Health (WOAH) and Food and Agriculture Organization of the United Nations (FAO)</a:t>
            </a:r>
          </a:p>
        </p:txBody>
      </p:sp>
      <p:sp>
        <p:nvSpPr>
          <p:cNvPr id="5" name="Text Placeholder 4">
            <a:extLst>
              <a:ext uri="{FF2B5EF4-FFF2-40B4-BE49-F238E27FC236}">
                <a16:creationId xmlns:a16="http://schemas.microsoft.com/office/drawing/2014/main" id="{6723CC83-6265-B997-14F3-E4D448E76F64}"/>
              </a:ext>
            </a:extLst>
          </p:cNvPr>
          <p:cNvSpPr>
            <a:spLocks noGrp="1"/>
          </p:cNvSpPr>
          <p:nvPr>
            <p:ph type="body" sz="quarter" idx="13"/>
          </p:nvPr>
        </p:nvSpPr>
        <p:spPr>
          <a:xfrm>
            <a:off x="578024" y="1301434"/>
            <a:ext cx="5080928" cy="261271"/>
          </a:xfrm>
        </p:spPr>
        <p:txBody>
          <a:bodyPr/>
          <a:lstStyle/>
          <a:p>
            <a:r>
              <a:rPr lang="en-GB"/>
              <a:t>1 Oct 2024 to Sept 2025</a:t>
            </a:r>
            <a:endParaRPr lang="en-US"/>
          </a:p>
        </p:txBody>
      </p:sp>
      <p:pic>
        <p:nvPicPr>
          <p:cNvPr id="8" name="Picture 7" descr="A map of the world&#10;&#10;AI-generated content may be incorrect.">
            <a:extLst>
              <a:ext uri="{FF2B5EF4-FFF2-40B4-BE49-F238E27FC236}">
                <a16:creationId xmlns:a16="http://schemas.microsoft.com/office/drawing/2014/main" id="{F0F69E87-F211-CA22-C4E3-8A16BF3A08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8952" y="1625496"/>
            <a:ext cx="6263710" cy="4021007"/>
          </a:xfrm>
          <a:prstGeom prst="rect">
            <a:avLst/>
          </a:prstGeom>
        </p:spPr>
      </p:pic>
      <p:sp>
        <p:nvSpPr>
          <p:cNvPr id="9" name="TextBox 13">
            <a:extLst>
              <a:ext uri="{FF2B5EF4-FFF2-40B4-BE49-F238E27FC236}">
                <a16:creationId xmlns:a16="http://schemas.microsoft.com/office/drawing/2014/main" id="{6DFA9CCE-D1ED-A708-78E1-18A559103520}"/>
              </a:ext>
            </a:extLst>
          </p:cNvPr>
          <p:cNvSpPr txBox="1"/>
          <p:nvPr/>
        </p:nvSpPr>
        <p:spPr>
          <a:xfrm>
            <a:off x="486589" y="5899912"/>
            <a:ext cx="5609410" cy="276999"/>
          </a:xfrm>
          <a:prstGeom prst="rect">
            <a:avLst/>
          </a:prstGeom>
          <a:noFill/>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7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Poppins"/>
                <a:ea typeface="+mn-ea"/>
                <a:cs typeface="+mn-cs"/>
                <a:hlinkClick r:id="rId4"/>
              </a:rPr>
              <a:t>https://www.woah.org/app/uploads/2025/09/hpai-report-74.pdf</a:t>
            </a:r>
            <a:endParaRPr kumimoji="0" lang="en-GB" sz="1200" b="0" i="0" u="none" strike="noStrike" kern="1200" cap="none" spc="0" normalizeH="0" baseline="0" noProof="0">
              <a:ln>
                <a:noFill/>
              </a:ln>
              <a:solidFill>
                <a:srgbClr val="000000"/>
              </a:solidFill>
              <a:effectLst/>
              <a:uLnTx/>
              <a:uFillTx/>
              <a:latin typeface="Poppins"/>
              <a:ea typeface="+mn-ea"/>
              <a:cs typeface="+mn-cs"/>
            </a:endParaRPr>
          </a:p>
        </p:txBody>
      </p:sp>
      <p:sp>
        <p:nvSpPr>
          <p:cNvPr id="10" name="TextBox 11">
            <a:extLst>
              <a:ext uri="{FF2B5EF4-FFF2-40B4-BE49-F238E27FC236}">
                <a16:creationId xmlns:a16="http://schemas.microsoft.com/office/drawing/2014/main" id="{D588612C-1B9A-8421-DE56-8943D9D4D710}"/>
              </a:ext>
            </a:extLst>
          </p:cNvPr>
          <p:cNvSpPr txBox="1"/>
          <p:nvPr/>
        </p:nvSpPr>
        <p:spPr>
          <a:xfrm>
            <a:off x="5658952" y="5895224"/>
            <a:ext cx="5826661" cy="46166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7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Poppins"/>
                <a:ea typeface="+mn-ea"/>
                <a:cs typeface="+mn-cs"/>
                <a:hlinkClick r:id="rId5"/>
              </a:rPr>
              <a:t>https://www.fao.org/animal-health/situation-updates/global-aiv-with-zoonotic-potential</a:t>
            </a: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pic>
        <p:nvPicPr>
          <p:cNvPr id="7" name="Picture 6" descr="A map of the world with different colored spots&#10;&#10;AI-generated content may be incorrect.">
            <a:extLst>
              <a:ext uri="{FF2B5EF4-FFF2-40B4-BE49-F238E27FC236}">
                <a16:creationId xmlns:a16="http://schemas.microsoft.com/office/drawing/2014/main" id="{2A1B7FBA-7434-BC03-3E73-64005B695C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8024" y="1601280"/>
            <a:ext cx="4420762" cy="4190515"/>
          </a:xfrm>
          <a:prstGeom prst="rect">
            <a:avLst/>
          </a:prstGeom>
        </p:spPr>
      </p:pic>
      <p:pic>
        <p:nvPicPr>
          <p:cNvPr id="2" name="Graphic 1" descr="Germ outline">
            <a:extLst>
              <a:ext uri="{FF2B5EF4-FFF2-40B4-BE49-F238E27FC236}">
                <a16:creationId xmlns:a16="http://schemas.microsoft.com/office/drawing/2014/main" id="{E11C67D3-88DD-AEB1-05CD-C98094EC35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49758" y="170820"/>
            <a:ext cx="618292" cy="618292"/>
          </a:xfrm>
          <a:prstGeom prst="rect">
            <a:avLst/>
          </a:prstGeom>
        </p:spPr>
      </p:pic>
    </p:spTree>
    <p:extLst>
      <p:ext uri="{BB962C8B-B14F-4D97-AF65-F5344CB8AC3E}">
        <p14:creationId xmlns:p14="http://schemas.microsoft.com/office/powerpoint/2010/main" val="3707419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9DDBD67-1A97-822F-707F-5BCF979EA2CB}"/>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914358" rtl="0" eaLnBrk="1" fontAlgn="auto" latinLnBrk="0" hangingPunct="1">
                <a:lnSpc>
                  <a:spcPct val="100000"/>
                </a:lnSpc>
                <a:spcBef>
                  <a:spcPts val="0"/>
                </a:spcBef>
                <a:spcAft>
                  <a:spcPts val="0"/>
                </a:spcAft>
                <a:buClrTx/>
                <a:buSzTx/>
                <a:buFontTx/>
                <a:buNone/>
                <a:tabLst/>
                <a:defRPr/>
              </a:pPr>
              <a:t>18</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1AC8ECF7-4B95-0A3B-F9BA-6BABC2FF2F82}"/>
              </a:ext>
            </a:extLst>
          </p:cNvPr>
          <p:cNvSpPr>
            <a:spLocks noGrp="1"/>
          </p:cNvSpPr>
          <p:nvPr>
            <p:ph type="title"/>
          </p:nvPr>
        </p:nvSpPr>
        <p:spPr>
          <a:xfrm>
            <a:off x="578026" y="537401"/>
            <a:ext cx="11176499" cy="807016"/>
          </a:xfrm>
        </p:spPr>
        <p:txBody>
          <a:bodyPr/>
          <a:lstStyle/>
          <a:p>
            <a:r>
              <a:rPr lang="en-US" sz="2900" b="0"/>
              <a:t>Detections of zoonotic influenza A(H5) </a:t>
            </a:r>
            <a:r>
              <a:rPr lang="en-US" sz="2900" b="0" err="1"/>
              <a:t>Gs</a:t>
            </a:r>
            <a:r>
              <a:rPr lang="en-US" sz="2900" b="0"/>
              <a:t>/Gd lineage viruses in humans </a:t>
            </a:r>
            <a:endParaRPr lang="en-US"/>
          </a:p>
        </p:txBody>
      </p:sp>
      <p:sp>
        <p:nvSpPr>
          <p:cNvPr id="5" name="Text Placeholder 4">
            <a:extLst>
              <a:ext uri="{FF2B5EF4-FFF2-40B4-BE49-F238E27FC236}">
                <a16:creationId xmlns:a16="http://schemas.microsoft.com/office/drawing/2014/main" id="{789B25DF-0683-3A80-C281-F1E5806A441C}"/>
              </a:ext>
            </a:extLst>
          </p:cNvPr>
          <p:cNvSpPr>
            <a:spLocks noGrp="1"/>
          </p:cNvSpPr>
          <p:nvPr>
            <p:ph type="body" sz="quarter" idx="13"/>
          </p:nvPr>
        </p:nvSpPr>
        <p:spPr/>
        <p:txBody>
          <a:bodyPr/>
          <a:lstStyle/>
          <a:p>
            <a:r>
              <a:rPr lang="en-US" sz="1650">
                <a:latin typeface="Poppins"/>
                <a:ea typeface="Roboto"/>
                <a:cs typeface="Poppins"/>
              </a:rPr>
              <a:t>2003 to 10 Sept 2025</a:t>
            </a:r>
            <a:endParaRPr lang="en-US">
              <a:latin typeface="Poppins"/>
              <a:ea typeface="Roboto"/>
              <a:cs typeface="Poppins"/>
            </a:endParaRPr>
          </a:p>
        </p:txBody>
      </p:sp>
      <p:pic>
        <p:nvPicPr>
          <p:cNvPr id="6" name="Picture 5" descr="A graph of a disease&#10;&#10;AI-generated content may be incorrect.">
            <a:extLst>
              <a:ext uri="{FF2B5EF4-FFF2-40B4-BE49-F238E27FC236}">
                <a16:creationId xmlns:a16="http://schemas.microsoft.com/office/drawing/2014/main" id="{BB99CEC6-CD0C-7345-2D9A-EC6588F1F7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426" y="1821493"/>
            <a:ext cx="11154549" cy="3686431"/>
          </a:xfrm>
          <a:prstGeom prst="rect">
            <a:avLst/>
          </a:prstGeom>
        </p:spPr>
      </p:pic>
      <p:sp>
        <p:nvSpPr>
          <p:cNvPr id="7" name="TextBox 7">
            <a:extLst>
              <a:ext uri="{FF2B5EF4-FFF2-40B4-BE49-F238E27FC236}">
                <a16:creationId xmlns:a16="http://schemas.microsoft.com/office/drawing/2014/main" id="{069EEF51-972E-8638-1F81-B12D9AAAE8CF}"/>
              </a:ext>
            </a:extLst>
          </p:cNvPr>
          <p:cNvSpPr txBox="1"/>
          <p:nvPr/>
        </p:nvSpPr>
        <p:spPr>
          <a:xfrm>
            <a:off x="3494807" y="6059008"/>
            <a:ext cx="8696766" cy="261610"/>
          </a:xfrm>
          <a:prstGeom prst="rect">
            <a:avLst/>
          </a:prstGeom>
          <a:noFill/>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7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Poppins"/>
                <a:ea typeface="+mn-ea"/>
                <a:cs typeface="+mn-cs"/>
              </a:rPr>
              <a:t>*This may include detections in persons without symptoms that could represent contamination and not infection.</a:t>
            </a:r>
          </a:p>
        </p:txBody>
      </p:sp>
      <p:pic>
        <p:nvPicPr>
          <p:cNvPr id="2" name="Graphic 1" descr="Germ outline">
            <a:extLst>
              <a:ext uri="{FF2B5EF4-FFF2-40B4-BE49-F238E27FC236}">
                <a16:creationId xmlns:a16="http://schemas.microsoft.com/office/drawing/2014/main" id="{8861FE17-305A-5E62-4713-0DCE06D0AB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49758" y="170820"/>
            <a:ext cx="618292" cy="618292"/>
          </a:xfrm>
          <a:prstGeom prst="rect">
            <a:avLst/>
          </a:prstGeom>
        </p:spPr>
      </p:pic>
    </p:spTree>
    <p:extLst>
      <p:ext uri="{BB962C8B-B14F-4D97-AF65-F5344CB8AC3E}">
        <p14:creationId xmlns:p14="http://schemas.microsoft.com/office/powerpoint/2010/main" val="226235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2E495-0009-D235-7520-D0F63225E21B}"/>
              </a:ext>
            </a:extLst>
          </p:cNvPr>
          <p:cNvSpPr>
            <a:spLocks noGrp="1"/>
          </p:cNvSpPr>
          <p:nvPr>
            <p:ph type="title"/>
          </p:nvPr>
        </p:nvSpPr>
        <p:spPr>
          <a:xfrm>
            <a:off x="462140" y="432985"/>
            <a:ext cx="10880295" cy="886805"/>
          </a:xfrm>
        </p:spPr>
        <p:txBody>
          <a:bodyPr>
            <a:normAutofit/>
          </a:bodyPr>
          <a:lstStyle/>
          <a:p>
            <a:r>
              <a:rPr lang="en-US" sz="3400">
                <a:latin typeface="Arial"/>
                <a:cs typeface="Arial"/>
              </a:rPr>
              <a:t>Summary: approved A(H5) vaccines                           </a:t>
            </a:r>
            <a:endParaRPr lang="en-US"/>
          </a:p>
        </p:txBody>
      </p:sp>
      <p:sp>
        <p:nvSpPr>
          <p:cNvPr id="3" name="Slide Number Placeholder 2">
            <a:extLst>
              <a:ext uri="{FF2B5EF4-FFF2-40B4-BE49-F238E27FC236}">
                <a16:creationId xmlns:a16="http://schemas.microsoft.com/office/drawing/2014/main" id="{3285A11E-9900-DFE8-A4CF-C304DA242719}"/>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477" b="0" i="0" u="none" strike="noStrike" kern="1200" cap="none" spc="0" normalizeH="0" baseline="0" noProof="0">
                <a:ln>
                  <a:noFill/>
                </a:ln>
                <a:solidFill>
                  <a:srgbClr val="FFFFFF">
                    <a:lumMod val="85000"/>
                  </a:srgbClr>
                </a:solidFill>
                <a:effectLst/>
                <a:uLnTx/>
                <a:uFillTx/>
                <a:latin typeface="Poppins" pitchFamily="2" charset="77"/>
                <a:ea typeface="+mn-ea"/>
                <a:cs typeface="Poppins" pitchFamily="2" charset="77"/>
              </a:rPr>
              <a:pPr marL="0" marR="0" lvl="0" indent="0" algn="r" defTabSz="914358" rtl="0" eaLnBrk="1" fontAlgn="auto" latinLnBrk="0" hangingPunct="1">
                <a:lnSpc>
                  <a:spcPct val="100000"/>
                </a:lnSpc>
                <a:spcBef>
                  <a:spcPts val="0"/>
                </a:spcBef>
                <a:spcAft>
                  <a:spcPts val="0"/>
                </a:spcAft>
                <a:buClrTx/>
                <a:buSzTx/>
                <a:buFontTx/>
                <a:buNone/>
                <a:tabLst/>
                <a:defRPr/>
              </a:pPr>
              <a:t>19</a:t>
            </a:fld>
            <a:endParaRPr kumimoji="0" lang="en-US" sz="1477" b="0" i="0" u="none" strike="noStrike" kern="1200" cap="none" spc="0" normalizeH="0" baseline="0" noProof="0">
              <a:ln>
                <a:noFill/>
              </a:ln>
              <a:solidFill>
                <a:srgbClr val="FFFFFF">
                  <a:lumMod val="85000"/>
                </a:srgbClr>
              </a:solidFill>
              <a:effectLst/>
              <a:uLnTx/>
              <a:uFillTx/>
              <a:latin typeface="Poppins" pitchFamily="2" charset="77"/>
              <a:ea typeface="+mn-ea"/>
              <a:cs typeface="Poppins" pitchFamily="2" charset="77"/>
            </a:endParaRPr>
          </a:p>
        </p:txBody>
      </p:sp>
      <p:sp>
        <p:nvSpPr>
          <p:cNvPr id="4" name="Content Placeholder 3">
            <a:extLst>
              <a:ext uri="{FF2B5EF4-FFF2-40B4-BE49-F238E27FC236}">
                <a16:creationId xmlns:a16="http://schemas.microsoft.com/office/drawing/2014/main" id="{C7D95654-0650-61CA-D8F7-118C4909A3B3}"/>
              </a:ext>
            </a:extLst>
          </p:cNvPr>
          <p:cNvSpPr>
            <a:spLocks noGrp="1"/>
          </p:cNvSpPr>
          <p:nvPr>
            <p:ph sz="quarter" idx="13"/>
          </p:nvPr>
        </p:nvSpPr>
        <p:spPr>
          <a:xfrm>
            <a:off x="479519" y="1587324"/>
            <a:ext cx="11264874" cy="4509693"/>
          </a:xfrm>
          <a:solidFill>
            <a:schemeClr val="bg1"/>
          </a:solidFill>
        </p:spPr>
        <p:txBody>
          <a:bodyPr>
            <a:normAutofit fontScale="77500" lnSpcReduction="20000"/>
          </a:bodyPr>
          <a:lstStyle/>
          <a:p>
            <a:pPr>
              <a:lnSpc>
                <a:spcPct val="110000"/>
              </a:lnSpc>
            </a:pPr>
            <a:r>
              <a:rPr lang="en-US" altLang="zh-CN" sz="1800" u="sng">
                <a:latin typeface="Poppins"/>
                <a:ea typeface="Roboto"/>
                <a:cs typeface="Poppins"/>
              </a:rPr>
              <a:t>22 </a:t>
            </a:r>
            <a:r>
              <a:rPr lang="en-US" sz="1800" u="sng">
                <a:latin typeface="Poppins"/>
                <a:ea typeface="Roboto"/>
                <a:cs typeface="Poppins"/>
              </a:rPr>
              <a:t>approved vaccines:</a:t>
            </a:r>
            <a:r>
              <a:rPr lang="zh-CN" altLang="en-US" sz="1800">
                <a:latin typeface="Poppins"/>
                <a:cs typeface="Poppins"/>
              </a:rPr>
              <a:t> </a:t>
            </a:r>
            <a:r>
              <a:rPr lang="en-US" altLang="zh-CN" sz="1800" b="0">
                <a:latin typeface="Poppins"/>
                <a:ea typeface="Roboto"/>
                <a:cs typeface="Poppins"/>
              </a:rPr>
              <a:t>19 A(H5N1) &amp; 2 A(H5N8)</a:t>
            </a:r>
          </a:p>
          <a:p>
            <a:pPr marL="843876" lvl="1" indent="-281292">
              <a:lnSpc>
                <a:spcPct val="110000"/>
              </a:lnSpc>
            </a:pPr>
            <a:r>
              <a:rPr lang="en-US" sz="1800">
                <a:latin typeface="Poppins"/>
                <a:ea typeface="Roboto"/>
                <a:cs typeface="Poppins"/>
              </a:rPr>
              <a:t>An additional vaccine was previously temporarily authorized </a:t>
            </a:r>
          </a:p>
          <a:p>
            <a:pPr marL="843876" lvl="1" indent="-281292">
              <a:lnSpc>
                <a:spcPct val="110000"/>
              </a:lnSpc>
            </a:pPr>
            <a:r>
              <a:rPr lang="en-US" sz="1800">
                <a:latin typeface="Poppins"/>
                <a:ea typeface="Roboto"/>
                <a:cs typeface="Poppins"/>
              </a:rPr>
              <a:t>13 licensed for use during the interpandemic and/or emergency periods</a:t>
            </a:r>
          </a:p>
          <a:p>
            <a:pPr marL="843876" lvl="1" indent="-281292">
              <a:lnSpc>
                <a:spcPct val="110000"/>
              </a:lnSpc>
            </a:pPr>
            <a:r>
              <a:rPr lang="en-US" sz="1800">
                <a:solidFill>
                  <a:srgbClr val="595959"/>
                </a:solidFill>
                <a:latin typeface="Poppins"/>
                <a:ea typeface="Roboto"/>
                <a:cs typeface="Poppins"/>
              </a:rPr>
              <a:t>4 of the manufacturers with approved vaccines are currently in clinical trials for other A(H5) vaccine candidates</a:t>
            </a:r>
          </a:p>
          <a:p>
            <a:pPr>
              <a:lnSpc>
                <a:spcPct val="110000"/>
              </a:lnSpc>
            </a:pPr>
            <a:r>
              <a:rPr lang="en-US" sz="1819" u="sng">
                <a:latin typeface="Poppins"/>
                <a:ea typeface="Roboto"/>
                <a:cs typeface="Poppins"/>
              </a:rPr>
              <a:t>Active licenses</a:t>
            </a:r>
            <a:r>
              <a:rPr lang="en-US" sz="1819">
                <a:latin typeface="Poppins"/>
                <a:ea typeface="Roboto"/>
                <a:cs typeface="Poppins"/>
              </a:rPr>
              <a:t>: </a:t>
            </a:r>
            <a:r>
              <a:rPr lang="en-US" sz="1819" b="0">
                <a:latin typeface="Poppins"/>
                <a:ea typeface="Roboto"/>
                <a:cs typeface="Poppins"/>
              </a:rPr>
              <a:t>21 active (1 not currently active due to lack of demand)</a:t>
            </a:r>
          </a:p>
          <a:p>
            <a:pPr>
              <a:lnSpc>
                <a:spcPct val="110000"/>
              </a:lnSpc>
            </a:pPr>
            <a:r>
              <a:rPr lang="en-US" sz="1819" u="sng">
                <a:latin typeface="Poppins"/>
                <a:ea typeface="Roboto"/>
                <a:cs typeface="Poppins"/>
              </a:rPr>
              <a:t>NRA license</a:t>
            </a:r>
            <a:r>
              <a:rPr lang="en-US" sz="1819">
                <a:latin typeface="Poppins"/>
                <a:ea typeface="Roboto"/>
                <a:cs typeface="Poppins"/>
              </a:rPr>
              <a:t>: </a:t>
            </a:r>
            <a:r>
              <a:rPr lang="en-US" sz="1819" b="0">
                <a:latin typeface="Poppins"/>
                <a:ea typeface="Roboto"/>
                <a:cs typeface="Poppins"/>
              </a:rPr>
              <a:t>EMA, FDA, MFDS, PMDA, NMPA, TGA, Thai FDA</a:t>
            </a:r>
          </a:p>
          <a:p>
            <a:pPr>
              <a:lnSpc>
                <a:spcPct val="110000"/>
              </a:lnSpc>
            </a:pPr>
            <a:r>
              <a:rPr lang="en-US" sz="1819" u="sng">
                <a:latin typeface="Poppins"/>
                <a:ea typeface="Roboto"/>
                <a:cs typeface="Poppins"/>
              </a:rPr>
              <a:t>Prequalified:</a:t>
            </a:r>
            <a:r>
              <a:rPr lang="en-US" sz="1819">
                <a:latin typeface="Poppins"/>
                <a:ea typeface="Roboto"/>
                <a:cs typeface="Poppins"/>
              </a:rPr>
              <a:t> </a:t>
            </a:r>
            <a:r>
              <a:rPr lang="en-US" sz="1819" b="0">
                <a:latin typeface="Poppins"/>
                <a:ea typeface="Roboto"/>
                <a:cs typeface="Poppins"/>
              </a:rPr>
              <a:t>1 (LAIV) for use from 12 months to less than 18 years of age [prudent to not use during the interpandemic/emergence period]</a:t>
            </a:r>
          </a:p>
          <a:p>
            <a:pPr>
              <a:lnSpc>
                <a:spcPct val="110000"/>
              </a:lnSpc>
            </a:pPr>
            <a:r>
              <a:rPr lang="en-US" sz="1819" u="sng">
                <a:latin typeface="Poppins"/>
                <a:ea typeface="Roboto"/>
                <a:cs typeface="Poppins"/>
              </a:rPr>
              <a:t>Currently commercially available (2025):</a:t>
            </a:r>
            <a:r>
              <a:rPr lang="en-US" sz="1819">
                <a:latin typeface="Poppins"/>
                <a:ea typeface="Roboto"/>
                <a:cs typeface="Poppins"/>
              </a:rPr>
              <a:t> </a:t>
            </a:r>
            <a:r>
              <a:rPr lang="en-US" sz="1819" b="0">
                <a:latin typeface="Poppins"/>
                <a:ea typeface="Roboto"/>
                <a:cs typeface="Poppins"/>
              </a:rPr>
              <a:t>2 manufacturers </a:t>
            </a:r>
          </a:p>
          <a:p>
            <a:r>
              <a:rPr lang="en-US" sz="1819" u="sng">
                <a:latin typeface="Poppins"/>
                <a:ea typeface="Roboto"/>
                <a:cs typeface="Poppins"/>
              </a:rPr>
              <a:t>Population indication</a:t>
            </a:r>
            <a:r>
              <a:rPr lang="en-US" sz="1819">
                <a:latin typeface="Poppins"/>
                <a:ea typeface="Roboto"/>
                <a:cs typeface="Poppins"/>
              </a:rPr>
              <a:t>: </a:t>
            </a:r>
            <a:r>
              <a:rPr lang="en-US" sz="1819" b="0">
                <a:latin typeface="Poppins"/>
                <a:ea typeface="Roboto"/>
                <a:cs typeface="Poppins"/>
              </a:rPr>
              <a:t>9 available for children (8 for 6m+; 1 for 12m+); 12 available for older adults (61 or 65+)</a:t>
            </a:r>
          </a:p>
          <a:p>
            <a:r>
              <a:rPr lang="en-US" sz="1819" u="sng">
                <a:latin typeface="Poppins"/>
                <a:ea typeface="Roboto"/>
                <a:cs typeface="Poppins"/>
              </a:rPr>
              <a:t>Doses</a:t>
            </a:r>
            <a:r>
              <a:rPr lang="en-US" sz="1819">
                <a:latin typeface="Poppins"/>
                <a:ea typeface="Roboto"/>
                <a:cs typeface="Poppins"/>
              </a:rPr>
              <a:t>: </a:t>
            </a:r>
            <a:r>
              <a:rPr lang="en-US" sz="1819" b="0">
                <a:latin typeface="Poppins"/>
                <a:ea typeface="Roboto"/>
                <a:cs typeface="Poppins"/>
              </a:rPr>
              <a:t>2 doses (minimum spacing is typically 21 days)</a:t>
            </a:r>
          </a:p>
          <a:p>
            <a:r>
              <a:rPr lang="en-US" sz="1819" u="sng">
                <a:latin typeface="Poppins"/>
                <a:ea typeface="Roboto"/>
                <a:cs typeface="Poppins"/>
              </a:rPr>
              <a:t>Platform</a:t>
            </a:r>
            <a:r>
              <a:rPr lang="en-US" sz="1819">
                <a:latin typeface="Poppins"/>
                <a:ea typeface="Roboto"/>
                <a:cs typeface="Poppins"/>
              </a:rPr>
              <a:t>: </a:t>
            </a:r>
            <a:r>
              <a:rPr lang="en-US" sz="1819" b="0">
                <a:latin typeface="Poppins"/>
                <a:ea typeface="Roboto"/>
                <a:cs typeface="Poppins"/>
              </a:rPr>
              <a:t>21</a:t>
            </a:r>
            <a:r>
              <a:rPr lang="en-US" sz="1819">
                <a:latin typeface="Poppins"/>
                <a:ea typeface="Roboto"/>
                <a:cs typeface="Poppins"/>
              </a:rPr>
              <a:t> </a:t>
            </a:r>
            <a:r>
              <a:rPr lang="en-US" sz="1819" b="0">
                <a:latin typeface="Poppins"/>
                <a:ea typeface="Roboto"/>
                <a:cs typeface="Poppins"/>
              </a:rPr>
              <a:t>Inactivated Influenza Vaccine (IIV); 1 Live Attenuated Influenza Vaccine (LAIV)</a:t>
            </a:r>
          </a:p>
          <a:p>
            <a:r>
              <a:rPr lang="en-US" sz="1819" u="sng"/>
              <a:t>Adjuvants</a:t>
            </a:r>
            <a:r>
              <a:rPr lang="en-US" sz="1819"/>
              <a:t>: </a:t>
            </a:r>
            <a:r>
              <a:rPr lang="en-US" sz="1819" b="0"/>
              <a:t>17 products are adjuvanted with AS03, MF59, or alum</a:t>
            </a:r>
          </a:p>
          <a:p>
            <a:endParaRPr lang="en-US" sz="1759" b="0">
              <a:latin typeface="Poppins"/>
              <a:ea typeface="Roboto"/>
              <a:cs typeface="Poppins"/>
            </a:endParaRPr>
          </a:p>
          <a:p>
            <a:endParaRPr lang="en-US" sz="1800"/>
          </a:p>
        </p:txBody>
      </p:sp>
      <p:pic>
        <p:nvPicPr>
          <p:cNvPr id="5" name="Graphic 4" descr="Germ outline">
            <a:extLst>
              <a:ext uri="{FF2B5EF4-FFF2-40B4-BE49-F238E27FC236}">
                <a16:creationId xmlns:a16="http://schemas.microsoft.com/office/drawing/2014/main" id="{955B6CF7-EF5D-44AA-830A-7EB83F2F0A6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49758" y="170820"/>
            <a:ext cx="618292" cy="618292"/>
          </a:xfrm>
          <a:prstGeom prst="rect">
            <a:avLst/>
          </a:prstGeom>
        </p:spPr>
      </p:pic>
    </p:spTree>
    <p:extLst>
      <p:ext uri="{BB962C8B-B14F-4D97-AF65-F5344CB8AC3E}">
        <p14:creationId xmlns:p14="http://schemas.microsoft.com/office/powerpoint/2010/main" val="175156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F2F9F0B-34E1-3BCD-75BC-41DA44D405F3}"/>
              </a:ext>
            </a:extLst>
          </p:cNvPr>
          <p:cNvSpPr>
            <a:spLocks noGrp="1"/>
          </p:cNvSpPr>
          <p:nvPr>
            <p:ph type="sldNum" sz="quarter" idx="12"/>
          </p:nvPr>
        </p:nvSpPr>
        <p:spPr/>
        <p:txBody>
          <a:bodyPr vert="horz" wrap="square" lIns="0" tIns="0" rIns="0" bIns="0" rtlCol="0" anchor="t" anchorCtr="0">
            <a:normAutofit fontScale="92500" lnSpcReduction="10000"/>
          </a:bodyPr>
          <a:lstStyle/>
          <a:p>
            <a:pPr marL="0" marR="0" lvl="0" indent="0" algn="r" defTabSz="914358" rtl="0" eaLnBrk="1" fontAlgn="auto" latinLnBrk="0" hangingPunct="1">
              <a:lnSpc>
                <a:spcPct val="100000"/>
              </a:lnSpc>
              <a:spcBef>
                <a:spcPts val="0"/>
              </a:spcBef>
              <a:spcAft>
                <a:spcPts val="600"/>
              </a:spcAft>
              <a:buClrTx/>
              <a:buSzTx/>
              <a:buFontTx/>
              <a:buNone/>
              <a:tabLst/>
              <a:defRPr/>
            </a:pPr>
            <a:fld id="{0DEB9FF2-8A1C-FF4E-8783-36265E3C7D20}" type="slidenum">
              <a:rPr kumimoji="0" lang="en-US" sz="900" b="0" i="0" u="none" strike="noStrike" kern="1200" cap="none" spc="0" normalizeH="0" baseline="0" noProof="0">
                <a:ln>
                  <a:noFill/>
                </a:ln>
                <a:solidFill>
                  <a:srgbClr val="FFFFFF">
                    <a:tint val="75000"/>
                  </a:srgbClr>
                </a:solidFill>
                <a:effectLst/>
                <a:uLnTx/>
                <a:uFillTx/>
                <a:latin typeface="Calibri" panose="020F0502020204030204"/>
                <a:ea typeface="+mn-ea"/>
                <a:cs typeface="Poppins" pitchFamily="2" charset="77"/>
              </a:rPr>
              <a:pPr marL="0" marR="0" lvl="0" indent="0" algn="r" defTabSz="914358" rtl="0" eaLnBrk="1" fontAlgn="auto" latinLnBrk="0" hangingPunct="1">
                <a:lnSpc>
                  <a:spcPct val="100000"/>
                </a:lnSpc>
                <a:spcBef>
                  <a:spcPts val="0"/>
                </a:spcBef>
                <a:spcAft>
                  <a:spcPts val="600"/>
                </a:spcAft>
                <a:buClrTx/>
                <a:buSzTx/>
                <a:buFontTx/>
                <a:buNone/>
                <a:tabLst/>
                <a:defRPr/>
              </a:pPr>
              <a:t>2</a:t>
            </a:fld>
            <a:endParaRPr kumimoji="0" lang="en-US" sz="900" b="0" i="0" u="none" strike="noStrike" kern="1200" cap="none" spc="0" normalizeH="0" baseline="0" noProof="0">
              <a:ln>
                <a:noFill/>
              </a:ln>
              <a:solidFill>
                <a:srgbClr val="FFFFFF">
                  <a:tint val="75000"/>
                </a:srgbClr>
              </a:solidFill>
              <a:effectLst/>
              <a:uLnTx/>
              <a:uFillTx/>
              <a:latin typeface="Calibri" panose="020F0502020204030204"/>
              <a:ea typeface="+mn-ea"/>
              <a:cs typeface="Poppins" pitchFamily="2" charset="77"/>
            </a:endParaRPr>
          </a:p>
        </p:txBody>
      </p:sp>
      <p:sp>
        <p:nvSpPr>
          <p:cNvPr id="21" name="Title 20">
            <a:extLst>
              <a:ext uri="{FF2B5EF4-FFF2-40B4-BE49-F238E27FC236}">
                <a16:creationId xmlns:a16="http://schemas.microsoft.com/office/drawing/2014/main" id="{02C7282E-1DCD-769F-8341-8479193DE1E5}"/>
              </a:ext>
            </a:extLst>
          </p:cNvPr>
          <p:cNvSpPr>
            <a:spLocks noGrp="1"/>
          </p:cNvSpPr>
          <p:nvPr>
            <p:ph type="ctrTitle" idx="4294967295"/>
          </p:nvPr>
        </p:nvSpPr>
        <p:spPr>
          <a:xfrm>
            <a:off x="534372" y="1376749"/>
            <a:ext cx="3981568" cy="453414"/>
          </a:xfrm>
        </p:spPr>
        <p:txBody>
          <a:bodyPr vert="horz" wrap="square" lIns="0" tIns="0" rIns="0" bIns="0" rtlCol="0" anchor="t" anchorCtr="0">
            <a:normAutofit/>
          </a:bodyPr>
          <a:lstStyle/>
          <a:p>
            <a:r>
              <a:rPr lang="en-US" kern="1200">
                <a:solidFill>
                  <a:schemeClr val="bg1"/>
                </a:solidFill>
                <a:latin typeface="+mj-lt"/>
                <a:ea typeface="+mj-ea"/>
                <a:cs typeface="+mj-cs"/>
              </a:rPr>
              <a:t>AGENDA</a:t>
            </a:r>
          </a:p>
        </p:txBody>
      </p:sp>
      <p:graphicFrame>
        <p:nvGraphicFramePr>
          <p:cNvPr id="4" name="Table 4">
            <a:extLst>
              <a:ext uri="{FF2B5EF4-FFF2-40B4-BE49-F238E27FC236}">
                <a16:creationId xmlns:a16="http://schemas.microsoft.com/office/drawing/2014/main" id="{0CA6D06B-34C6-805A-5A11-6063FCA05232}"/>
              </a:ext>
            </a:extLst>
          </p:cNvPr>
          <p:cNvGraphicFramePr>
            <a:graphicFrameLocks noGrp="1"/>
          </p:cNvGraphicFramePr>
          <p:nvPr>
            <p:extLst>
              <p:ext uri="{D42A27DB-BD31-4B8C-83A1-F6EECF244321}">
                <p14:modId xmlns:p14="http://schemas.microsoft.com/office/powerpoint/2010/main" val="2075886680"/>
              </p:ext>
            </p:extLst>
          </p:nvPr>
        </p:nvGraphicFramePr>
        <p:xfrm>
          <a:off x="2957724" y="724766"/>
          <a:ext cx="8699904" cy="5528838"/>
        </p:xfrm>
        <a:graphic>
          <a:graphicData uri="http://schemas.openxmlformats.org/drawingml/2006/table">
            <a:tbl>
              <a:tblPr firstRow="1" bandRow="1">
                <a:tableStyleId>{2D5ABB26-0587-4C30-8999-92F81FD0307C}</a:tableStyleId>
              </a:tblPr>
              <a:tblGrid>
                <a:gridCol w="1291392">
                  <a:extLst>
                    <a:ext uri="{9D8B030D-6E8A-4147-A177-3AD203B41FA5}">
                      <a16:colId xmlns:a16="http://schemas.microsoft.com/office/drawing/2014/main" val="3650329341"/>
                    </a:ext>
                  </a:extLst>
                </a:gridCol>
                <a:gridCol w="7408512">
                  <a:extLst>
                    <a:ext uri="{9D8B030D-6E8A-4147-A177-3AD203B41FA5}">
                      <a16:colId xmlns:a16="http://schemas.microsoft.com/office/drawing/2014/main" val="522948878"/>
                    </a:ext>
                  </a:extLst>
                </a:gridCol>
              </a:tblGrid>
              <a:tr h="816824">
                <a:tc>
                  <a:txBody>
                    <a:bodyPr/>
                    <a:lstStyle/>
                    <a:p>
                      <a:endParaRPr lang="en-GB" sz="3000">
                        <a:solidFill>
                          <a:schemeClr val="bg1"/>
                        </a:solidFill>
                      </a:endParaRPr>
                    </a:p>
                  </a:txBody>
                  <a:tcPr marL="91434" marR="91434" marT="45717" marB="45717"/>
                </a:tc>
                <a:tc>
                  <a:txBody>
                    <a:bodyPr/>
                    <a:lstStyle/>
                    <a:p>
                      <a:r>
                        <a:rPr lang="en-GB" sz="2400">
                          <a:solidFill>
                            <a:schemeClr val="bg1"/>
                          </a:solidFill>
                        </a:rPr>
                        <a:t>Global  &amp;  regional reports</a:t>
                      </a:r>
                    </a:p>
                  </a:txBody>
                  <a:tcPr marL="91434" marR="91434" marT="45717" marB="45717" anchor="ctr"/>
                </a:tc>
                <a:extLst>
                  <a:ext uri="{0D108BD9-81ED-4DB2-BD59-A6C34878D82A}">
                    <a16:rowId xmlns:a16="http://schemas.microsoft.com/office/drawing/2014/main" val="4028179133"/>
                  </a:ext>
                </a:extLst>
              </a:tr>
              <a:tr h="687089">
                <a:tc>
                  <a:txBody>
                    <a:bodyPr/>
                    <a:lstStyle/>
                    <a:p>
                      <a:endParaRPr lang="en-GB" sz="3000">
                        <a:solidFill>
                          <a:schemeClr val="bg1"/>
                        </a:solidFill>
                      </a:endParaRPr>
                    </a:p>
                  </a:txBody>
                  <a:tcPr marL="91434" marR="91434" marT="45717" marB="45717"/>
                </a:tc>
                <a:tc>
                  <a:txBody>
                    <a:bodyPr/>
                    <a:lstStyle/>
                    <a:p>
                      <a:pPr marL="0" marR="0" lvl="0" indent="0" algn="l" defTabSz="1507846" rtl="0" eaLnBrk="1" fontAlgn="auto" latinLnBrk="0" hangingPunct="1">
                        <a:lnSpc>
                          <a:spcPct val="100000"/>
                        </a:lnSpc>
                        <a:spcBef>
                          <a:spcPts val="0"/>
                        </a:spcBef>
                        <a:spcAft>
                          <a:spcPts val="0"/>
                        </a:spcAft>
                        <a:buClrTx/>
                        <a:buSzTx/>
                        <a:buFontTx/>
                        <a:buNone/>
                        <a:tabLst/>
                        <a:defRPr/>
                      </a:pPr>
                      <a:r>
                        <a:rPr lang="en-GB" sz="2400">
                          <a:solidFill>
                            <a:schemeClr val="bg1"/>
                          </a:solidFill>
                        </a:rPr>
                        <a:t>Immunization agenda 2030: mid-term report</a:t>
                      </a:r>
                    </a:p>
                  </a:txBody>
                  <a:tcPr marL="91434" marR="91434" marT="45717" marB="45717" anchor="ctr"/>
                </a:tc>
                <a:extLst>
                  <a:ext uri="{0D108BD9-81ED-4DB2-BD59-A6C34878D82A}">
                    <a16:rowId xmlns:a16="http://schemas.microsoft.com/office/drawing/2014/main" val="2031561604"/>
                  </a:ext>
                </a:extLst>
              </a:tr>
              <a:tr h="687089">
                <a:tc>
                  <a:txBody>
                    <a:bodyPr/>
                    <a:lstStyle/>
                    <a:p>
                      <a:endParaRPr lang="en-GB" sz="3000">
                        <a:solidFill>
                          <a:schemeClr val="bg1"/>
                        </a:solidFill>
                      </a:endParaRPr>
                    </a:p>
                  </a:txBody>
                  <a:tcPr marL="91434" marR="91434" marT="45717" marB="45717"/>
                </a:tc>
                <a:tc>
                  <a:txBody>
                    <a:bodyPr/>
                    <a:lstStyle/>
                    <a:p>
                      <a:pPr marL="0" marR="0" lvl="0" indent="0" algn="l" defTabSz="1507846" rtl="0" eaLnBrk="1" fontAlgn="auto" latinLnBrk="0" hangingPunct="1">
                        <a:lnSpc>
                          <a:spcPct val="100000"/>
                        </a:lnSpc>
                        <a:spcBef>
                          <a:spcPts val="0"/>
                        </a:spcBef>
                        <a:spcAft>
                          <a:spcPts val="0"/>
                        </a:spcAft>
                        <a:buClrTx/>
                        <a:buSzTx/>
                        <a:buFontTx/>
                        <a:buNone/>
                        <a:tabLst/>
                        <a:defRPr/>
                      </a:pPr>
                      <a:r>
                        <a:rPr lang="en-GB" sz="2400">
                          <a:solidFill>
                            <a:schemeClr val="bg1"/>
                          </a:solidFill>
                        </a:rPr>
                        <a:t>COVID-19 </a:t>
                      </a:r>
                    </a:p>
                  </a:txBody>
                  <a:tcPr marL="91434" marR="91434" marT="45717" marB="45717" anchor="ctr"/>
                </a:tc>
                <a:extLst>
                  <a:ext uri="{0D108BD9-81ED-4DB2-BD59-A6C34878D82A}">
                    <a16:rowId xmlns:a16="http://schemas.microsoft.com/office/drawing/2014/main" val="3691558629"/>
                  </a:ext>
                </a:extLst>
              </a:tr>
              <a:tr h="687089">
                <a:tc>
                  <a:txBody>
                    <a:bodyPr/>
                    <a:lstStyle/>
                    <a:p>
                      <a:endParaRPr lang="en-GB" sz="3000">
                        <a:solidFill>
                          <a:schemeClr val="bg1"/>
                        </a:solidFill>
                      </a:endParaRPr>
                    </a:p>
                  </a:txBody>
                  <a:tcPr marL="91434" marR="91434" marT="45717" marB="45717"/>
                </a:tc>
                <a:tc>
                  <a:txBody>
                    <a:bodyPr/>
                    <a:lstStyle/>
                    <a:p>
                      <a:r>
                        <a:rPr lang="en-GB" sz="2400">
                          <a:solidFill>
                            <a:schemeClr val="bg1"/>
                          </a:solidFill>
                        </a:rPr>
                        <a:t>New tuberculosis vaccines</a:t>
                      </a:r>
                    </a:p>
                  </a:txBody>
                  <a:tcPr marL="91434" marR="91434" marT="45717" marB="45717" anchor="ctr"/>
                </a:tc>
                <a:extLst>
                  <a:ext uri="{0D108BD9-81ED-4DB2-BD59-A6C34878D82A}">
                    <a16:rowId xmlns:a16="http://schemas.microsoft.com/office/drawing/2014/main" val="87500459"/>
                  </a:ext>
                </a:extLst>
              </a:tr>
              <a:tr h="687089">
                <a:tc>
                  <a:txBody>
                    <a:bodyPr/>
                    <a:lstStyle/>
                    <a:p>
                      <a:endParaRPr lang="en-GB" sz="3000">
                        <a:solidFill>
                          <a:schemeClr val="bg1"/>
                        </a:solidFill>
                      </a:endParaRPr>
                    </a:p>
                  </a:txBody>
                  <a:tcPr marL="91434" marR="91434" marT="45717" marB="45717"/>
                </a:tc>
                <a:tc>
                  <a:txBody>
                    <a:bodyPr/>
                    <a:lstStyle/>
                    <a:p>
                      <a:pPr marL="0" marR="0" lvl="0" indent="0" algn="l" defTabSz="1507846" rtl="0" eaLnBrk="1" fontAlgn="auto" latinLnBrk="0" hangingPunct="1">
                        <a:lnSpc>
                          <a:spcPct val="100000"/>
                        </a:lnSpc>
                        <a:spcBef>
                          <a:spcPts val="0"/>
                        </a:spcBef>
                        <a:spcAft>
                          <a:spcPts val="0"/>
                        </a:spcAft>
                        <a:buClrTx/>
                        <a:buSzTx/>
                        <a:buFontTx/>
                        <a:buNone/>
                        <a:tabLst/>
                        <a:defRPr/>
                      </a:pPr>
                      <a:r>
                        <a:rPr lang="en-GB" sz="2400">
                          <a:solidFill>
                            <a:schemeClr val="bg1"/>
                          </a:solidFill>
                        </a:rPr>
                        <a:t>Combination vaccines</a:t>
                      </a:r>
                    </a:p>
                  </a:txBody>
                  <a:tcPr marL="91434" marR="91434" marT="45717" marB="45717" anchor="ctr"/>
                </a:tc>
                <a:extLst>
                  <a:ext uri="{0D108BD9-81ED-4DB2-BD59-A6C34878D82A}">
                    <a16:rowId xmlns:a16="http://schemas.microsoft.com/office/drawing/2014/main" val="249453678"/>
                  </a:ext>
                </a:extLst>
              </a:tr>
              <a:tr h="589480">
                <a:tc>
                  <a:txBody>
                    <a:bodyPr/>
                    <a:lstStyle/>
                    <a:p>
                      <a:endParaRPr lang="en-GB" sz="3000">
                        <a:solidFill>
                          <a:schemeClr val="bg1"/>
                        </a:solidFill>
                      </a:endParaRPr>
                    </a:p>
                  </a:txBody>
                  <a:tcPr marL="91434" marR="91434" marT="45717" marB="45717"/>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a:solidFill>
                            <a:schemeClr val="bg1"/>
                          </a:solidFill>
                        </a:rPr>
                        <a:t>Poliomyelitis</a:t>
                      </a:r>
                    </a:p>
                  </a:txBody>
                  <a:tcPr marL="91434" marR="91434" marT="45717" marB="45717" anchor="ctr"/>
                </a:tc>
                <a:extLst>
                  <a:ext uri="{0D108BD9-81ED-4DB2-BD59-A6C34878D82A}">
                    <a16:rowId xmlns:a16="http://schemas.microsoft.com/office/drawing/2014/main" val="14619563"/>
                  </a:ext>
                </a:extLst>
              </a:tr>
              <a:tr h="687089">
                <a:tc>
                  <a:txBody>
                    <a:bodyPr/>
                    <a:lstStyle/>
                    <a:p>
                      <a:endParaRPr lang="en-GB" sz="3000">
                        <a:solidFill>
                          <a:schemeClr val="bg1"/>
                        </a:solidFill>
                      </a:endParaRPr>
                    </a:p>
                  </a:txBody>
                  <a:tcPr marL="91434" marR="91434" marT="45717" marB="45717"/>
                </a:tc>
                <a:tc>
                  <a:txBody>
                    <a:bodyPr/>
                    <a:lstStyle/>
                    <a:p>
                      <a:r>
                        <a:rPr lang="en-GB" sz="2400">
                          <a:solidFill>
                            <a:schemeClr val="bg1"/>
                          </a:solidFill>
                        </a:rPr>
                        <a:t>Malaria </a:t>
                      </a:r>
                    </a:p>
                  </a:txBody>
                  <a:tcPr marL="91434" marR="91434" marT="45717" marB="45717" anchor="ctr"/>
                </a:tc>
                <a:extLst>
                  <a:ext uri="{0D108BD9-81ED-4DB2-BD59-A6C34878D82A}">
                    <a16:rowId xmlns:a16="http://schemas.microsoft.com/office/drawing/2014/main" val="2326951826"/>
                  </a:ext>
                </a:extLst>
              </a:tr>
              <a:tr h="687089">
                <a:tc>
                  <a:txBody>
                    <a:bodyPr/>
                    <a:lstStyle/>
                    <a:p>
                      <a:endParaRPr lang="en-GB" sz="3000">
                        <a:solidFill>
                          <a:schemeClr val="bg1"/>
                        </a:solidFill>
                      </a:endParaRPr>
                    </a:p>
                  </a:txBody>
                  <a:tcPr marL="91434" marR="91434" marT="45717" marB="45717"/>
                </a:tc>
                <a:tc>
                  <a:txBody>
                    <a:bodyPr/>
                    <a:lstStyle/>
                    <a:p>
                      <a:r>
                        <a:rPr lang="en-GB" sz="2400" dirty="0">
                          <a:solidFill>
                            <a:schemeClr val="bg1"/>
                          </a:solidFill>
                        </a:rPr>
                        <a:t>Influenza A (H5) vaccines</a:t>
                      </a:r>
                    </a:p>
                  </a:txBody>
                  <a:tcPr marL="91434" marR="91434" marT="45717" marB="45717" anchor="ctr"/>
                </a:tc>
                <a:extLst>
                  <a:ext uri="{0D108BD9-81ED-4DB2-BD59-A6C34878D82A}">
                    <a16:rowId xmlns:a16="http://schemas.microsoft.com/office/drawing/2014/main" val="1220107064"/>
                  </a:ext>
                </a:extLst>
              </a:tr>
            </a:tbl>
          </a:graphicData>
        </a:graphic>
      </p:graphicFrame>
      <p:pic>
        <p:nvPicPr>
          <p:cNvPr id="7" name="Graphic 6">
            <a:extLst>
              <a:ext uri="{FF2B5EF4-FFF2-40B4-BE49-F238E27FC236}">
                <a16:creationId xmlns:a16="http://schemas.microsoft.com/office/drawing/2014/main" id="{1CE05C63-2680-DB1D-602D-17F3EB6421C0}"/>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4372" y="6256647"/>
            <a:ext cx="1928476" cy="412280"/>
          </a:xfrm>
          <a:prstGeom prst="rect">
            <a:avLst/>
          </a:prstGeom>
        </p:spPr>
      </p:pic>
      <p:pic>
        <p:nvPicPr>
          <p:cNvPr id="8" name="Graphic 7" descr="Covid-19 outline">
            <a:extLst>
              <a:ext uri="{FF2B5EF4-FFF2-40B4-BE49-F238E27FC236}">
                <a16:creationId xmlns:a16="http://schemas.microsoft.com/office/drawing/2014/main" id="{D2789A39-44A3-A9A3-F95A-E3DC3B4207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19017" y="2277607"/>
            <a:ext cx="440921" cy="440921"/>
          </a:xfrm>
          <a:prstGeom prst="rect">
            <a:avLst/>
          </a:prstGeom>
        </p:spPr>
      </p:pic>
      <p:pic>
        <p:nvPicPr>
          <p:cNvPr id="13" name="Graphic 12">
            <a:extLst>
              <a:ext uri="{FF2B5EF4-FFF2-40B4-BE49-F238E27FC236}">
                <a16:creationId xmlns:a16="http://schemas.microsoft.com/office/drawing/2014/main" id="{372F7382-6B6D-A9D5-BA2A-BD5EA1280255}"/>
              </a:ext>
            </a:extLst>
          </p:cNvPr>
          <p:cNvPicPr>
            <a:picLocks noChangeAspect="1"/>
          </p:cNvPicPr>
          <p:nvPr/>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5037" t="982"/>
          <a:stretch/>
        </p:blipFill>
        <p:spPr>
          <a:xfrm>
            <a:off x="3535058" y="4423200"/>
            <a:ext cx="408839" cy="487426"/>
          </a:xfrm>
          <a:prstGeom prst="rect">
            <a:avLst/>
          </a:prstGeom>
        </p:spPr>
      </p:pic>
      <p:pic>
        <p:nvPicPr>
          <p:cNvPr id="1026" name="Picture 2" descr="Tuberculosis Icons - Free SVG &amp; PNG Tuberculosis Images ...">
            <a:extLst>
              <a:ext uri="{FF2B5EF4-FFF2-40B4-BE49-F238E27FC236}">
                <a16:creationId xmlns:a16="http://schemas.microsoft.com/office/drawing/2014/main" id="{07F0F6BE-4374-3BFF-20F8-8DD944D61CC3}"/>
              </a:ext>
            </a:extLst>
          </p:cNvPr>
          <p:cNvPicPr>
            <a:picLocks noChangeAspect="1" noChangeArrowheads="1"/>
          </p:cNvPicPr>
          <p:nvPr/>
        </p:nvPicPr>
        <p:blipFill>
          <a:blip r:embed="rId9" cstate="screen">
            <a:lum bright="70000" contrast="-70000"/>
            <a:extLst>
              <a:ext uri="{28A0092B-C50C-407E-A947-70E740481C1C}">
                <a14:useLocalDpi xmlns:a14="http://schemas.microsoft.com/office/drawing/2010/main" val="0"/>
              </a:ext>
            </a:extLst>
          </a:blip>
          <a:srcRect/>
          <a:stretch>
            <a:fillRect/>
          </a:stretch>
        </p:blipFill>
        <p:spPr bwMode="auto">
          <a:xfrm>
            <a:off x="3450678" y="2901687"/>
            <a:ext cx="577597" cy="577597"/>
          </a:xfrm>
          <a:prstGeom prst="rect">
            <a:avLst/>
          </a:prstGeom>
          <a:noFill/>
          <a:extLst>
            <a:ext uri="{909E8E84-426E-40DD-AFC4-6F175D3DCCD1}">
              <a14:hiddenFill xmlns:a14="http://schemas.microsoft.com/office/drawing/2010/main">
                <a:solidFill>
                  <a:srgbClr val="FFFFFF"/>
                </a:solidFill>
              </a14:hiddenFill>
            </a:ext>
          </a:extLst>
        </p:spPr>
      </p:pic>
      <p:pic>
        <p:nvPicPr>
          <p:cNvPr id="10" name="Graphic 9">
            <a:extLst>
              <a:ext uri="{FF2B5EF4-FFF2-40B4-BE49-F238E27FC236}">
                <a16:creationId xmlns:a16="http://schemas.microsoft.com/office/drawing/2014/main" id="{2F9E7426-8F08-C90D-670E-89D2C16A20C5}"/>
              </a:ext>
            </a:extLst>
          </p:cNvPr>
          <p:cNvPicPr>
            <a:picLocks noChangeAspect="1"/>
          </p:cNvPicPr>
          <p:nvPr/>
        </p:nvPicPr>
        <p:blipFill rotWithShape="1">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rcRect t="15513"/>
          <a:stretch/>
        </p:blipFill>
        <p:spPr>
          <a:xfrm>
            <a:off x="3532202" y="5093787"/>
            <a:ext cx="414550" cy="352550"/>
          </a:xfrm>
          <a:prstGeom prst="rect">
            <a:avLst/>
          </a:prstGeom>
        </p:spPr>
      </p:pic>
      <p:pic>
        <p:nvPicPr>
          <p:cNvPr id="6" name="Graphic 5" descr="Germ outline">
            <a:extLst>
              <a:ext uri="{FF2B5EF4-FFF2-40B4-BE49-F238E27FC236}">
                <a16:creationId xmlns:a16="http://schemas.microsoft.com/office/drawing/2014/main" id="{AD61130F-5F99-B6D9-4687-BB443764EDC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62230" y="5629495"/>
            <a:ext cx="554493" cy="554493"/>
          </a:xfrm>
          <a:prstGeom prst="rect">
            <a:avLst/>
          </a:prstGeom>
        </p:spPr>
      </p:pic>
      <p:pic>
        <p:nvPicPr>
          <p:cNvPr id="11" name="Picture 10">
            <a:extLst>
              <a:ext uri="{FF2B5EF4-FFF2-40B4-BE49-F238E27FC236}">
                <a16:creationId xmlns:a16="http://schemas.microsoft.com/office/drawing/2014/main" id="{63553130-B86B-D1AB-AFF3-8B0B16793D8C}"/>
              </a:ext>
            </a:extLst>
          </p:cNvPr>
          <p:cNvPicPr>
            <a:picLocks noChangeAspect="1"/>
          </p:cNvPicPr>
          <p:nvPr/>
        </p:nvPicPr>
        <p:blipFill>
          <a:blip r:embed="rId14" cstate="screen">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3293590" y="1561592"/>
            <a:ext cx="891773" cy="532855"/>
          </a:xfrm>
          <a:prstGeom prst="rect">
            <a:avLst/>
          </a:prstGeom>
        </p:spPr>
      </p:pic>
      <p:pic>
        <p:nvPicPr>
          <p:cNvPr id="14" name="Graphic 13">
            <a:extLst>
              <a:ext uri="{FF2B5EF4-FFF2-40B4-BE49-F238E27FC236}">
                <a16:creationId xmlns:a16="http://schemas.microsoft.com/office/drawing/2014/main" id="{FE51F847-95A0-579B-7583-0E297002EBDB}"/>
              </a:ext>
            </a:extLst>
          </p:cNvPr>
          <p:cNvPicPr>
            <a:picLocks noChangeAspect="1"/>
          </p:cNvPicPr>
          <p:nvPr/>
        </p:nvPicPr>
        <p:blipFill rotWithShape="1">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t="-11699"/>
          <a:stretch/>
        </p:blipFill>
        <p:spPr>
          <a:xfrm>
            <a:off x="3483736" y="807113"/>
            <a:ext cx="511484" cy="571319"/>
          </a:xfrm>
          <a:prstGeom prst="rect">
            <a:avLst/>
          </a:prstGeom>
        </p:spPr>
      </p:pic>
      <p:pic>
        <p:nvPicPr>
          <p:cNvPr id="16" name="Graphic 15" descr="Needle outline">
            <a:extLst>
              <a:ext uri="{FF2B5EF4-FFF2-40B4-BE49-F238E27FC236}">
                <a16:creationId xmlns:a16="http://schemas.microsoft.com/office/drawing/2014/main" id="{A37F8816-846D-88B6-0868-B2C83A9E7EA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87360" y="3681043"/>
            <a:ext cx="554493" cy="554493"/>
          </a:xfrm>
          <a:prstGeom prst="rect">
            <a:avLst/>
          </a:prstGeom>
        </p:spPr>
      </p:pic>
    </p:spTree>
    <p:extLst>
      <p:ext uri="{BB962C8B-B14F-4D97-AF65-F5344CB8AC3E}">
        <p14:creationId xmlns:p14="http://schemas.microsoft.com/office/powerpoint/2010/main" val="3806834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60104AC-F349-5A7B-FAB9-221AAE6FFA82}"/>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914358" rtl="0" eaLnBrk="1" fontAlgn="auto" latinLnBrk="0" hangingPunct="1">
                <a:lnSpc>
                  <a:spcPct val="100000"/>
                </a:lnSpc>
                <a:spcBef>
                  <a:spcPts val="0"/>
                </a:spcBef>
                <a:spcAft>
                  <a:spcPts val="0"/>
                </a:spcAft>
                <a:buClrTx/>
                <a:buSzTx/>
                <a:buFontTx/>
                <a:buNone/>
                <a:tabLst/>
                <a:defRPr/>
              </a:pPr>
              <a:t>20</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11" name="Title 10">
            <a:extLst>
              <a:ext uri="{FF2B5EF4-FFF2-40B4-BE49-F238E27FC236}">
                <a16:creationId xmlns:a16="http://schemas.microsoft.com/office/drawing/2014/main" id="{2CB72275-EA7D-3B52-E86C-C62E20F97A76}"/>
              </a:ext>
            </a:extLst>
          </p:cNvPr>
          <p:cNvSpPr>
            <a:spLocks noGrp="1"/>
          </p:cNvSpPr>
          <p:nvPr>
            <p:ph type="title"/>
          </p:nvPr>
        </p:nvSpPr>
        <p:spPr>
          <a:xfrm>
            <a:off x="392111" y="468015"/>
            <a:ext cx="10759787" cy="779188"/>
          </a:xfrm>
        </p:spPr>
        <p:txBody>
          <a:bodyPr/>
          <a:lstStyle/>
          <a:p>
            <a:r>
              <a:rPr lang="en-US" sz="2800"/>
              <a:t>At least 13 influenza A(H5) vaccine candidates in clinical studies</a:t>
            </a:r>
          </a:p>
        </p:txBody>
      </p:sp>
      <p:sp>
        <p:nvSpPr>
          <p:cNvPr id="13" name="Content Placeholder 2">
            <a:extLst>
              <a:ext uri="{FF2B5EF4-FFF2-40B4-BE49-F238E27FC236}">
                <a16:creationId xmlns:a16="http://schemas.microsoft.com/office/drawing/2014/main" id="{D2DAE1C0-DC43-5478-32B6-E5E495C7EAF4}"/>
              </a:ext>
            </a:extLst>
          </p:cNvPr>
          <p:cNvSpPr txBox="1">
            <a:spLocks/>
          </p:cNvSpPr>
          <p:nvPr/>
        </p:nvSpPr>
        <p:spPr>
          <a:xfrm>
            <a:off x="82616" y="1408811"/>
            <a:ext cx="4055150" cy="5083849"/>
          </a:xfrm>
          <a:prstGeom prst="rect">
            <a:avLst/>
          </a:prstGeom>
        </p:spPr>
        <p:txBody>
          <a:bodyPr>
            <a:norm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480247" marR="0" lvl="1" indent="-174635" algn="l" defTabSz="554466" rtl="0" eaLnBrk="1" fontAlgn="auto" latinLnBrk="0" hangingPunct="1">
              <a:lnSpc>
                <a:spcPct val="120000"/>
              </a:lnSpc>
              <a:spcBef>
                <a:spcPts val="303"/>
              </a:spcBef>
              <a:spcAft>
                <a:spcPts val="728"/>
              </a:spcAft>
              <a:buClr>
                <a:srgbClr val="009CDE"/>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ost of them in Phase I/II</a:t>
            </a:r>
          </a:p>
          <a:p>
            <a:pPr marL="480247" marR="0" lvl="1" indent="-174635" algn="l" defTabSz="554466" rtl="0" eaLnBrk="1" fontAlgn="auto" latinLnBrk="0" hangingPunct="1">
              <a:lnSpc>
                <a:spcPct val="120000"/>
              </a:lnSpc>
              <a:spcBef>
                <a:spcPts val="303"/>
              </a:spcBef>
              <a:spcAft>
                <a:spcPts val="728"/>
              </a:spcAft>
              <a:buClr>
                <a:srgbClr val="009CDE"/>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9 developers, of which 4 already have licensed seasonal or pandemic influenza vaccines </a:t>
            </a:r>
          </a:p>
          <a:p>
            <a:pPr marL="480247" marR="0" lvl="1" indent="-174635" algn="l" defTabSz="554466" rtl="0" eaLnBrk="1" fontAlgn="auto" latinLnBrk="0" hangingPunct="1">
              <a:lnSpc>
                <a:spcPct val="120000"/>
              </a:lnSpc>
              <a:spcBef>
                <a:spcPts val="303"/>
              </a:spcBef>
              <a:spcAft>
                <a:spcPts val="728"/>
              </a:spcAft>
              <a:buClr>
                <a:srgbClr val="009CDE"/>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Includes A(H5N1), A(H5N8), and A(H5) vaccines</a:t>
            </a:r>
          </a:p>
          <a:p>
            <a:pPr marL="480247" marR="0" lvl="1" indent="-174635" algn="l" defTabSz="554466" rtl="0" eaLnBrk="1" fontAlgn="auto" latinLnBrk="0" hangingPunct="1">
              <a:lnSpc>
                <a:spcPct val="120000"/>
              </a:lnSpc>
              <a:spcBef>
                <a:spcPts val="303"/>
              </a:spcBef>
              <a:spcAft>
                <a:spcPts val="728"/>
              </a:spcAft>
              <a:buClr>
                <a:srgbClr val="009CDE"/>
              </a:buClr>
              <a:buSzPct val="110000"/>
              <a:buFont typeface="Arial" panose="020B0604020202020204" pitchFamily="34" charset="0"/>
              <a:buChar char="•"/>
              <a:tabLst/>
              <a:defRPr/>
            </a:pPr>
            <a:r>
              <a:rPr kumimoji="0" lang="en-US" sz="1753"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6 mRNA, 1 live attenuated, 2 recombinant, 3 IIV, and one subunit vaccine</a:t>
            </a:r>
          </a:p>
          <a:p>
            <a:pPr marL="480247" marR="0" lvl="1" indent="-174635" algn="l" defTabSz="554466" rtl="0" eaLnBrk="1" fontAlgn="auto" latinLnBrk="0" hangingPunct="1">
              <a:lnSpc>
                <a:spcPct val="120000"/>
              </a:lnSpc>
              <a:spcBef>
                <a:spcPts val="303"/>
              </a:spcBef>
              <a:spcAft>
                <a:spcPts val="728"/>
              </a:spcAft>
              <a:buClr>
                <a:srgbClr val="009CDE"/>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5 vaccine candidates are adjuvanted</a:t>
            </a:r>
          </a:p>
        </p:txBody>
      </p:sp>
      <p:pic>
        <p:nvPicPr>
          <p:cNvPr id="14" name="Picture 13">
            <a:extLst>
              <a:ext uri="{FF2B5EF4-FFF2-40B4-BE49-F238E27FC236}">
                <a16:creationId xmlns:a16="http://schemas.microsoft.com/office/drawing/2014/main" id="{143E12A7-6F24-C0C6-8330-949775B45FB7}"/>
              </a:ext>
            </a:extLst>
          </p:cNvPr>
          <p:cNvPicPr>
            <a:picLocks noChangeAspect="1"/>
          </p:cNvPicPr>
          <p:nvPr/>
        </p:nvPicPr>
        <p:blipFill>
          <a:blip r:embed="rId2"/>
          <a:srcRect l="11111" t="15600" r="12472" b="8176"/>
          <a:stretch/>
        </p:blipFill>
        <p:spPr>
          <a:xfrm>
            <a:off x="4072458" y="1408811"/>
            <a:ext cx="7933199" cy="4945717"/>
          </a:xfrm>
          <a:prstGeom prst="rect">
            <a:avLst/>
          </a:prstGeom>
        </p:spPr>
      </p:pic>
      <p:pic>
        <p:nvPicPr>
          <p:cNvPr id="2" name="Graphic 1" descr="Germ outline">
            <a:extLst>
              <a:ext uri="{FF2B5EF4-FFF2-40B4-BE49-F238E27FC236}">
                <a16:creationId xmlns:a16="http://schemas.microsoft.com/office/drawing/2014/main" id="{31ABD583-9D14-4D88-140B-F783279D0A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49758" y="170820"/>
            <a:ext cx="618292" cy="618292"/>
          </a:xfrm>
          <a:prstGeom prst="rect">
            <a:avLst/>
          </a:prstGeom>
        </p:spPr>
      </p:pic>
    </p:spTree>
    <p:extLst>
      <p:ext uri="{BB962C8B-B14F-4D97-AF65-F5344CB8AC3E}">
        <p14:creationId xmlns:p14="http://schemas.microsoft.com/office/powerpoint/2010/main" val="1932263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6B3C49-115F-678F-D978-BBCB7E6F9466}"/>
              </a:ext>
            </a:extLst>
          </p:cNvPr>
          <p:cNvSpPr>
            <a:spLocks noGrp="1"/>
          </p:cNvSpPr>
          <p:nvPr>
            <p:ph type="sldNum" sz="quarter" idx="12"/>
          </p:nvPr>
        </p:nvSpPr>
        <p:spPr/>
        <p:txBody>
          <a:bodyPr/>
          <a:lstStyle/>
          <a:p>
            <a:pPr marL="0" marR="0" lvl="0" indent="0" algn="r" defTabSz="554466"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66" rtl="0" eaLnBrk="1" fontAlgn="auto" latinLnBrk="0" hangingPunct="1">
                <a:lnSpc>
                  <a:spcPct val="100000"/>
                </a:lnSpc>
                <a:spcBef>
                  <a:spcPts val="0"/>
                </a:spcBef>
                <a:spcAft>
                  <a:spcPts val="0"/>
                </a:spcAft>
                <a:buClrTx/>
                <a:buSzTx/>
                <a:buFontTx/>
                <a:buNone/>
                <a:tabLst/>
                <a:defRPr/>
              </a:pPr>
              <a:t>21</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7" name="Title 6">
            <a:extLst>
              <a:ext uri="{FF2B5EF4-FFF2-40B4-BE49-F238E27FC236}">
                <a16:creationId xmlns:a16="http://schemas.microsoft.com/office/drawing/2014/main" id="{6B1316E5-8448-9754-25E3-1FD79770D575}"/>
              </a:ext>
            </a:extLst>
          </p:cNvPr>
          <p:cNvSpPr>
            <a:spLocks noGrp="1"/>
          </p:cNvSpPr>
          <p:nvPr>
            <p:ph type="title"/>
          </p:nvPr>
        </p:nvSpPr>
        <p:spPr>
          <a:xfrm>
            <a:off x="601197" y="242667"/>
            <a:ext cx="10474910" cy="1166986"/>
          </a:xfrm>
        </p:spPr>
        <p:txBody>
          <a:bodyPr/>
          <a:lstStyle/>
          <a:p>
            <a:r>
              <a:rPr lang="en-GB" sz="2800"/>
              <a:t>Background: Existing </a:t>
            </a:r>
            <a:r>
              <a:rPr lang="en-US" sz="2800"/>
              <a:t>SAGE recommendations on the use of licensed human H5N1 influenza vaccines in the interpandemic period</a:t>
            </a:r>
            <a:endParaRPr lang="en-GB" u="sng"/>
          </a:p>
        </p:txBody>
      </p:sp>
      <p:sp>
        <p:nvSpPr>
          <p:cNvPr id="8" name="Text Placeholder 7">
            <a:extLst>
              <a:ext uri="{FF2B5EF4-FFF2-40B4-BE49-F238E27FC236}">
                <a16:creationId xmlns:a16="http://schemas.microsoft.com/office/drawing/2014/main" id="{C2DA2B03-76A9-B4F3-9E61-9306D85D5C30}"/>
              </a:ext>
            </a:extLst>
          </p:cNvPr>
          <p:cNvSpPr>
            <a:spLocks noGrp="1"/>
          </p:cNvSpPr>
          <p:nvPr>
            <p:ph type="body" sz="quarter" idx="13"/>
          </p:nvPr>
        </p:nvSpPr>
        <p:spPr>
          <a:xfrm>
            <a:off x="577610" y="1913414"/>
            <a:ext cx="5080572" cy="261271"/>
          </a:xfrm>
        </p:spPr>
        <p:txBody>
          <a:bodyPr/>
          <a:lstStyle/>
          <a:p>
            <a:r>
              <a:rPr lang="en-GB"/>
              <a:t>Timeline</a:t>
            </a:r>
          </a:p>
        </p:txBody>
      </p:sp>
      <p:sp>
        <p:nvSpPr>
          <p:cNvPr id="9" name="Text Placeholder 8">
            <a:extLst>
              <a:ext uri="{FF2B5EF4-FFF2-40B4-BE49-F238E27FC236}">
                <a16:creationId xmlns:a16="http://schemas.microsoft.com/office/drawing/2014/main" id="{1BEE929F-D971-5AB7-80A0-1410365B623A}"/>
              </a:ext>
            </a:extLst>
          </p:cNvPr>
          <p:cNvSpPr>
            <a:spLocks noGrp="1"/>
          </p:cNvSpPr>
          <p:nvPr>
            <p:ph type="body" sz="quarter" idx="14"/>
          </p:nvPr>
        </p:nvSpPr>
        <p:spPr/>
        <p:txBody>
          <a:bodyPr/>
          <a:lstStyle/>
          <a:p>
            <a:r>
              <a:rPr lang="en-GB"/>
              <a:t>2007</a:t>
            </a:r>
          </a:p>
        </p:txBody>
      </p:sp>
      <p:sp>
        <p:nvSpPr>
          <p:cNvPr id="10" name="Text Placeholder 9">
            <a:extLst>
              <a:ext uri="{FF2B5EF4-FFF2-40B4-BE49-F238E27FC236}">
                <a16:creationId xmlns:a16="http://schemas.microsoft.com/office/drawing/2014/main" id="{C14C0641-0F25-7C80-1644-F32986480DD2}"/>
              </a:ext>
            </a:extLst>
          </p:cNvPr>
          <p:cNvSpPr>
            <a:spLocks noGrp="1"/>
          </p:cNvSpPr>
          <p:nvPr>
            <p:ph type="body" sz="quarter" idx="16"/>
          </p:nvPr>
        </p:nvSpPr>
        <p:spPr/>
        <p:txBody>
          <a:bodyPr/>
          <a:lstStyle/>
          <a:p>
            <a:r>
              <a:rPr lang="en-GB"/>
              <a:t>2009</a:t>
            </a:r>
          </a:p>
        </p:txBody>
      </p:sp>
      <p:sp>
        <p:nvSpPr>
          <p:cNvPr id="11" name="Text Placeholder 10">
            <a:extLst>
              <a:ext uri="{FF2B5EF4-FFF2-40B4-BE49-F238E27FC236}">
                <a16:creationId xmlns:a16="http://schemas.microsoft.com/office/drawing/2014/main" id="{65CC35D3-6B1D-410B-78CC-91DA9506183D}"/>
              </a:ext>
            </a:extLst>
          </p:cNvPr>
          <p:cNvSpPr>
            <a:spLocks noGrp="1"/>
          </p:cNvSpPr>
          <p:nvPr>
            <p:ph type="body" sz="quarter" idx="18"/>
          </p:nvPr>
        </p:nvSpPr>
        <p:spPr/>
        <p:txBody>
          <a:bodyPr/>
          <a:lstStyle/>
          <a:p>
            <a:r>
              <a:rPr lang="en-GB"/>
              <a:t>2010</a:t>
            </a:r>
          </a:p>
        </p:txBody>
      </p:sp>
      <p:sp>
        <p:nvSpPr>
          <p:cNvPr id="12" name="Text Placeholder 11">
            <a:extLst>
              <a:ext uri="{FF2B5EF4-FFF2-40B4-BE49-F238E27FC236}">
                <a16:creationId xmlns:a16="http://schemas.microsoft.com/office/drawing/2014/main" id="{2B5562B8-E903-2AFF-2E10-00687B0A582B}"/>
              </a:ext>
            </a:extLst>
          </p:cNvPr>
          <p:cNvSpPr>
            <a:spLocks noGrp="1"/>
          </p:cNvSpPr>
          <p:nvPr>
            <p:ph type="body" sz="quarter" idx="20"/>
          </p:nvPr>
        </p:nvSpPr>
        <p:spPr/>
        <p:txBody>
          <a:bodyPr/>
          <a:lstStyle/>
          <a:p>
            <a:r>
              <a:rPr lang="en-GB"/>
              <a:t>2013</a:t>
            </a:r>
          </a:p>
        </p:txBody>
      </p:sp>
      <p:sp>
        <p:nvSpPr>
          <p:cNvPr id="13" name="Text Placeholder 12">
            <a:extLst>
              <a:ext uri="{FF2B5EF4-FFF2-40B4-BE49-F238E27FC236}">
                <a16:creationId xmlns:a16="http://schemas.microsoft.com/office/drawing/2014/main" id="{6A7C0756-A6EB-9E53-FFED-C825ECA0F590}"/>
              </a:ext>
            </a:extLst>
          </p:cNvPr>
          <p:cNvSpPr>
            <a:spLocks noGrp="1"/>
          </p:cNvSpPr>
          <p:nvPr>
            <p:ph type="body" sz="quarter" idx="21"/>
          </p:nvPr>
        </p:nvSpPr>
        <p:spPr>
          <a:xfrm>
            <a:off x="577998" y="3035815"/>
            <a:ext cx="2767257" cy="1390473"/>
          </a:xfrm>
        </p:spPr>
        <p:txBody>
          <a:bodyPr/>
          <a:lstStyle/>
          <a:p>
            <a:r>
              <a:rPr lang="en-US" sz="1455"/>
              <a:t>SAGE recommendation on creation of H5N1 stockpile</a:t>
            </a:r>
          </a:p>
          <a:p>
            <a:endParaRPr lang="en-GB" sz="728"/>
          </a:p>
        </p:txBody>
      </p:sp>
      <p:sp>
        <p:nvSpPr>
          <p:cNvPr id="14" name="Text Placeholder 13">
            <a:extLst>
              <a:ext uri="{FF2B5EF4-FFF2-40B4-BE49-F238E27FC236}">
                <a16:creationId xmlns:a16="http://schemas.microsoft.com/office/drawing/2014/main" id="{95BA6CAA-1A38-01FA-3D1B-3017E2791486}"/>
              </a:ext>
            </a:extLst>
          </p:cNvPr>
          <p:cNvSpPr>
            <a:spLocks noGrp="1"/>
          </p:cNvSpPr>
          <p:nvPr>
            <p:ph type="body" sz="quarter" idx="23"/>
          </p:nvPr>
        </p:nvSpPr>
        <p:spPr>
          <a:xfrm>
            <a:off x="3345254" y="3035815"/>
            <a:ext cx="2750747" cy="2196462"/>
          </a:xfrm>
        </p:spPr>
        <p:txBody>
          <a:bodyPr/>
          <a:lstStyle/>
          <a:p>
            <a:r>
              <a:rPr lang="en-US" sz="1455" b="1">
                <a:ea typeface="+mn-ea"/>
              </a:rPr>
              <a:t>SAGE recommendation on target groups</a:t>
            </a:r>
            <a:r>
              <a:rPr lang="en-US" sz="1455">
                <a:ea typeface="+mn-ea"/>
              </a:rPr>
              <a:t>/ no change to stockpile but encouragement to generate data</a:t>
            </a:r>
          </a:p>
          <a:p>
            <a:endParaRPr lang="en-GB" sz="728"/>
          </a:p>
        </p:txBody>
      </p:sp>
      <p:sp>
        <p:nvSpPr>
          <p:cNvPr id="15" name="Text Placeholder 14">
            <a:extLst>
              <a:ext uri="{FF2B5EF4-FFF2-40B4-BE49-F238E27FC236}">
                <a16:creationId xmlns:a16="http://schemas.microsoft.com/office/drawing/2014/main" id="{12763517-10A2-F837-BFE5-3098E0A45A2A}"/>
              </a:ext>
            </a:extLst>
          </p:cNvPr>
          <p:cNvSpPr>
            <a:spLocks noGrp="1"/>
          </p:cNvSpPr>
          <p:nvPr>
            <p:ph type="body" sz="quarter" idx="24"/>
          </p:nvPr>
        </p:nvSpPr>
        <p:spPr>
          <a:xfrm>
            <a:off x="6095667" y="3035815"/>
            <a:ext cx="2750747" cy="1838159"/>
          </a:xfrm>
        </p:spPr>
        <p:txBody>
          <a:bodyPr/>
          <a:lstStyle/>
          <a:p>
            <a:pPr defTabSz="554441">
              <a:lnSpc>
                <a:spcPct val="100000"/>
              </a:lnSpc>
              <a:spcBef>
                <a:spcPts val="0"/>
              </a:spcBef>
              <a:spcAft>
                <a:spcPts val="0"/>
              </a:spcAft>
              <a:buSzTx/>
              <a:defRPr/>
            </a:pPr>
            <a:r>
              <a:rPr lang="en-US" sz="1455">
                <a:ea typeface="+mn-ea"/>
              </a:rPr>
              <a:t>SAGE recommendation:  no change to H5N1 target groups/ some updated recommendations on H5N1 stockpile</a:t>
            </a:r>
          </a:p>
          <a:p>
            <a:endParaRPr lang="en-GB" sz="728"/>
          </a:p>
        </p:txBody>
      </p:sp>
      <p:sp>
        <p:nvSpPr>
          <p:cNvPr id="16" name="Text Placeholder 15">
            <a:extLst>
              <a:ext uri="{FF2B5EF4-FFF2-40B4-BE49-F238E27FC236}">
                <a16:creationId xmlns:a16="http://schemas.microsoft.com/office/drawing/2014/main" id="{1AF6F001-9A05-D9C0-3CC1-50F76677A515}"/>
              </a:ext>
            </a:extLst>
          </p:cNvPr>
          <p:cNvSpPr>
            <a:spLocks noGrp="1"/>
          </p:cNvSpPr>
          <p:nvPr>
            <p:ph type="body" sz="quarter" idx="26"/>
          </p:nvPr>
        </p:nvSpPr>
        <p:spPr>
          <a:xfrm>
            <a:off x="8863256" y="3035815"/>
            <a:ext cx="2749914" cy="2529887"/>
          </a:xfrm>
        </p:spPr>
        <p:txBody>
          <a:bodyPr/>
          <a:lstStyle/>
          <a:p>
            <a:pPr defTabSz="554441">
              <a:lnSpc>
                <a:spcPct val="100000"/>
              </a:lnSpc>
              <a:spcBef>
                <a:spcPts val="0"/>
              </a:spcBef>
              <a:spcAft>
                <a:spcPts val="0"/>
              </a:spcAft>
              <a:buSzTx/>
              <a:defRPr/>
            </a:pPr>
            <a:r>
              <a:rPr lang="en-US" sz="1455" b="1">
                <a:ea typeface="+mn-ea"/>
              </a:rPr>
              <a:t>SAGE recommendation</a:t>
            </a:r>
            <a:r>
              <a:rPr lang="en-US" sz="1455">
                <a:ea typeface="+mn-ea"/>
              </a:rPr>
              <a:t>:  </a:t>
            </a:r>
            <a:r>
              <a:rPr lang="en-US" sz="1455" b="1">
                <a:ea typeface="+mn-ea"/>
              </a:rPr>
              <a:t>no change to H5N1 target groups</a:t>
            </a:r>
            <a:r>
              <a:rPr lang="en-US" sz="1455">
                <a:ea typeface="+mn-ea"/>
              </a:rPr>
              <a:t>/use of Pandemic Influenza Preparedness (PIP) Framework (established in 2011) instead of WHO H5N1 stockpile</a:t>
            </a:r>
            <a:endParaRPr lang="en-GB" sz="728"/>
          </a:p>
        </p:txBody>
      </p:sp>
      <p:sp>
        <p:nvSpPr>
          <p:cNvPr id="2" name="TextBox 1">
            <a:extLst>
              <a:ext uri="{FF2B5EF4-FFF2-40B4-BE49-F238E27FC236}">
                <a16:creationId xmlns:a16="http://schemas.microsoft.com/office/drawing/2014/main" id="{C98C8799-298C-DB7B-B5DE-C93BB1382F57}"/>
              </a:ext>
            </a:extLst>
          </p:cNvPr>
          <p:cNvSpPr txBox="1"/>
          <p:nvPr/>
        </p:nvSpPr>
        <p:spPr>
          <a:xfrm>
            <a:off x="601197" y="6408404"/>
            <a:ext cx="10807165" cy="507831"/>
          </a:xfrm>
          <a:prstGeom prst="rect">
            <a:avLst/>
          </a:prstGeom>
          <a:noFill/>
        </p:spPr>
        <p:txBody>
          <a:bodyPr wrap="square">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07070"/>
                </a:solidFill>
                <a:effectLst/>
                <a:uLnTx/>
                <a:uFillTx/>
                <a:latin typeface="Poppins"/>
                <a:ea typeface="+mn-ea"/>
                <a:cs typeface="+mn-cs"/>
              </a:rPr>
              <a:t>Source: Strategic Advisory Group of Experts: recommendations on the use of licensed human H5N1 influenza vaccines in the interpandemic period. </a:t>
            </a:r>
            <a:r>
              <a:rPr kumimoji="0" lang="en-US" sz="900" b="0" i="0" u="none" strike="noStrike" kern="1200" cap="none" spc="0" normalizeH="0" baseline="0" noProof="0" err="1">
                <a:ln>
                  <a:noFill/>
                </a:ln>
                <a:solidFill>
                  <a:srgbClr val="707070"/>
                </a:solidFill>
                <a:effectLst/>
                <a:uLnTx/>
                <a:uFillTx/>
                <a:latin typeface="Poppins"/>
                <a:ea typeface="+mn-ea"/>
                <a:cs typeface="+mn-cs"/>
              </a:rPr>
              <a:t>Wkly</a:t>
            </a:r>
            <a:r>
              <a:rPr kumimoji="0" lang="en-US" sz="900" b="0" i="0" u="none" strike="noStrike" kern="1200" cap="none" spc="0" normalizeH="0" baseline="0" noProof="0">
                <a:ln>
                  <a:noFill/>
                </a:ln>
                <a:solidFill>
                  <a:srgbClr val="707070"/>
                </a:solidFill>
                <a:effectLst/>
                <a:uLnTx/>
                <a:uFillTx/>
                <a:latin typeface="Poppins"/>
                <a:ea typeface="+mn-ea"/>
                <a:cs typeface="+mn-cs"/>
              </a:rPr>
              <a:t> Epidemiol Rec. 2009;84(24):244-8 (</a:t>
            </a:r>
            <a:r>
              <a:rPr kumimoji="0" lang="en-US" sz="900" b="0" i="0" u="none" strike="noStrike" kern="1200" cap="none" spc="0" normalizeH="0" baseline="0" noProof="0">
                <a:ln>
                  <a:noFill/>
                </a:ln>
                <a:solidFill>
                  <a:srgbClr val="707070"/>
                </a:solidFill>
                <a:effectLst/>
                <a:uLnTx/>
                <a:uFillTx/>
                <a:latin typeface="Poppins"/>
                <a:ea typeface="+mn-ea"/>
                <a:cs typeface="+mn-cs"/>
                <a:hlinkClick r:id="rId2"/>
              </a:rPr>
              <a:t>https://www.who.int/publications/i/item/WER8424</a:t>
            </a:r>
            <a:r>
              <a:rPr kumimoji="0" lang="en-US" sz="900" b="0" i="0" u="none" strike="noStrike" kern="1200" cap="none" spc="0" normalizeH="0" baseline="0" noProof="0">
                <a:ln>
                  <a:noFill/>
                </a:ln>
                <a:solidFill>
                  <a:srgbClr val="707070"/>
                </a:solidFill>
                <a:effectLst/>
                <a:uLnTx/>
                <a:uFillTx/>
                <a:latin typeface="Poppins"/>
                <a:ea typeface="+mn-ea"/>
                <a:cs typeface="+mn-cs"/>
              </a:rPr>
              <a:t> ); Meeting of the Strategic Advisory Group of Experts on Immunization, November 2013 – conclusions and recommendations. </a:t>
            </a:r>
            <a:r>
              <a:rPr kumimoji="0" lang="en-US" sz="900" b="0" i="0" u="none" strike="noStrike" kern="1200" cap="none" spc="0" normalizeH="0" baseline="0" noProof="0" err="1">
                <a:ln>
                  <a:noFill/>
                </a:ln>
                <a:solidFill>
                  <a:srgbClr val="707070"/>
                </a:solidFill>
                <a:effectLst/>
                <a:uLnTx/>
                <a:uFillTx/>
                <a:latin typeface="Poppins"/>
                <a:ea typeface="+mn-ea"/>
                <a:cs typeface="+mn-cs"/>
              </a:rPr>
              <a:t>Wkly</a:t>
            </a:r>
            <a:r>
              <a:rPr kumimoji="0" lang="en-US" sz="900" b="0" i="0" u="none" strike="noStrike" kern="1200" cap="none" spc="0" normalizeH="0" baseline="0" noProof="0">
                <a:ln>
                  <a:noFill/>
                </a:ln>
                <a:solidFill>
                  <a:srgbClr val="707070"/>
                </a:solidFill>
                <a:effectLst/>
                <a:uLnTx/>
                <a:uFillTx/>
                <a:latin typeface="Poppins"/>
                <a:ea typeface="+mn-ea"/>
                <a:cs typeface="+mn-cs"/>
              </a:rPr>
              <a:t> Epidemiol Rec. 2014;89(1):1-19 </a:t>
            </a:r>
            <a:r>
              <a:rPr kumimoji="0" lang="en-US" sz="900" b="0" i="0" u="none" strike="noStrike" kern="1200" cap="none" spc="0" normalizeH="0" baseline="0" noProof="0">
                <a:ln>
                  <a:noFill/>
                </a:ln>
                <a:solidFill>
                  <a:srgbClr val="000000"/>
                </a:solidFill>
                <a:effectLst/>
                <a:uLnTx/>
                <a:uFillTx/>
                <a:latin typeface="Poppins"/>
                <a:ea typeface="+mn-ea"/>
                <a:cs typeface="+mn-cs"/>
              </a:rPr>
              <a:t>(</a:t>
            </a:r>
            <a:r>
              <a:rPr kumimoji="0" lang="en-US" sz="900" b="0" i="0" u="none" strike="noStrike" kern="1200" cap="none" spc="0" normalizeH="0" baseline="0" noProof="0">
                <a:ln>
                  <a:noFill/>
                </a:ln>
                <a:solidFill>
                  <a:srgbClr val="000000"/>
                </a:solidFill>
                <a:effectLst/>
                <a:uLnTx/>
                <a:uFillTx/>
                <a:latin typeface="Poppins"/>
                <a:ea typeface="+mn-ea"/>
                <a:cs typeface="+mn-cs"/>
                <a:hlinkClick r:id="rId3"/>
              </a:rPr>
              <a:t>https://www.who.int/publications/i/item/WER8901</a:t>
            </a:r>
            <a:r>
              <a:rPr kumimoji="0" lang="en-US" sz="900" b="0" i="0" u="none" strike="noStrike" kern="1200" cap="none" spc="0" normalizeH="0" baseline="0" noProof="0">
                <a:ln>
                  <a:noFill/>
                </a:ln>
                <a:solidFill>
                  <a:srgbClr val="000000"/>
                </a:solidFill>
                <a:effectLst/>
                <a:uLnTx/>
                <a:uFillTx/>
                <a:latin typeface="Poppins"/>
                <a:ea typeface="+mn-ea"/>
                <a:cs typeface="+mn-cs"/>
              </a:rPr>
              <a:t> ) </a:t>
            </a:r>
            <a:endParaRPr kumimoji="0" lang="en-GB" sz="700" b="0" i="0" u="none" strike="noStrike" kern="1200" cap="none" spc="0" normalizeH="0" baseline="0" noProof="0">
              <a:ln>
                <a:noFill/>
              </a:ln>
              <a:solidFill>
                <a:srgbClr val="707070"/>
              </a:solidFill>
              <a:effectLst/>
              <a:uLnTx/>
              <a:uFillTx/>
              <a:latin typeface="Poppins"/>
              <a:ea typeface="+mn-ea"/>
              <a:cs typeface="+mn-cs"/>
            </a:endParaRPr>
          </a:p>
        </p:txBody>
      </p:sp>
      <p:pic>
        <p:nvPicPr>
          <p:cNvPr id="4" name="Picture 3">
            <a:extLst>
              <a:ext uri="{FF2B5EF4-FFF2-40B4-BE49-F238E27FC236}">
                <a16:creationId xmlns:a16="http://schemas.microsoft.com/office/drawing/2014/main" id="{49DF8613-A6C3-2D59-0D6C-A02EF6BC204E}"/>
              </a:ext>
            </a:extLst>
          </p:cNvPr>
          <p:cNvPicPr>
            <a:picLocks noChangeAspect="1"/>
          </p:cNvPicPr>
          <p:nvPr/>
        </p:nvPicPr>
        <p:blipFill>
          <a:blip r:embed="rId4"/>
          <a:stretch>
            <a:fillRect/>
          </a:stretch>
        </p:blipFill>
        <p:spPr>
          <a:xfrm>
            <a:off x="4718220" y="4765403"/>
            <a:ext cx="1147571" cy="1141232"/>
          </a:xfrm>
          <a:prstGeom prst="rect">
            <a:avLst/>
          </a:prstGeom>
          <a:ln>
            <a:solidFill>
              <a:schemeClr val="tx1"/>
            </a:solidFill>
          </a:ln>
        </p:spPr>
      </p:pic>
      <p:pic>
        <p:nvPicPr>
          <p:cNvPr id="6" name="Picture 5">
            <a:extLst>
              <a:ext uri="{FF2B5EF4-FFF2-40B4-BE49-F238E27FC236}">
                <a16:creationId xmlns:a16="http://schemas.microsoft.com/office/drawing/2014/main" id="{2836BC12-2FD3-FA65-AC13-FEEE46DF677E}"/>
              </a:ext>
            </a:extLst>
          </p:cNvPr>
          <p:cNvPicPr>
            <a:picLocks noChangeAspect="1"/>
          </p:cNvPicPr>
          <p:nvPr/>
        </p:nvPicPr>
        <p:blipFill>
          <a:blip r:embed="rId5"/>
          <a:stretch>
            <a:fillRect/>
          </a:stretch>
        </p:blipFill>
        <p:spPr>
          <a:xfrm>
            <a:off x="10581126" y="4765403"/>
            <a:ext cx="836378" cy="1166905"/>
          </a:xfrm>
          <a:prstGeom prst="rect">
            <a:avLst/>
          </a:prstGeom>
          <a:ln>
            <a:solidFill>
              <a:schemeClr val="tx1"/>
            </a:solidFill>
          </a:ln>
        </p:spPr>
      </p:pic>
      <p:pic>
        <p:nvPicPr>
          <p:cNvPr id="5" name="Graphic 4" descr="Germ outline">
            <a:extLst>
              <a:ext uri="{FF2B5EF4-FFF2-40B4-BE49-F238E27FC236}">
                <a16:creationId xmlns:a16="http://schemas.microsoft.com/office/drawing/2014/main" id="{1EA16492-2BAA-9488-44C9-FC6A8164D7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49758" y="170820"/>
            <a:ext cx="618292" cy="618292"/>
          </a:xfrm>
          <a:prstGeom prst="rect">
            <a:avLst/>
          </a:prstGeom>
        </p:spPr>
      </p:pic>
    </p:spTree>
    <p:extLst>
      <p:ext uri="{BB962C8B-B14F-4D97-AF65-F5344CB8AC3E}">
        <p14:creationId xmlns:p14="http://schemas.microsoft.com/office/powerpoint/2010/main" val="299689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ECEC10-8613-BB71-DF7F-875E45A4DFD7}"/>
            </a:ext>
          </a:extLst>
        </p:cNvPr>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1E7D9CCB-AE02-6D58-37DD-F4953B524432}"/>
              </a:ext>
            </a:extLst>
          </p:cNvPr>
          <p:cNvSpPr>
            <a:spLocks noGrp="1"/>
          </p:cNvSpPr>
          <p:nvPr>
            <p:ph type="sldNum" sz="quarter" idx="12"/>
          </p:nvPr>
        </p:nvSpPr>
        <p:spPr>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22</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1059C339-7EBF-524C-E691-81DBAAA8EBEC}"/>
              </a:ext>
            </a:extLst>
          </p:cNvPr>
          <p:cNvSpPr>
            <a:spLocks noGrp="1"/>
          </p:cNvSpPr>
          <p:nvPr>
            <p:ph type="title"/>
          </p:nvPr>
        </p:nvSpPr>
        <p:spPr>
          <a:xfrm>
            <a:off x="441378" y="212931"/>
            <a:ext cx="10883492" cy="339067"/>
          </a:xfrm>
        </p:spPr>
        <p:txBody>
          <a:bodyPr/>
          <a:lstStyle/>
          <a:p>
            <a:r>
              <a:rPr lang="fr-CH" sz="2426">
                <a:latin typeface="Poppins SemiBold"/>
                <a:ea typeface="Roboto"/>
                <a:cs typeface="Poppins SemiBold"/>
              </a:rPr>
              <a:t>INFLUENZA A (H5) VACCINES – SAGE RECOMMENDATIONS</a:t>
            </a:r>
            <a:endParaRPr lang="en-US" sz="2426">
              <a:latin typeface="Poppins SemiBold"/>
              <a:ea typeface="Roboto"/>
              <a:cs typeface="Poppins SemiBold"/>
            </a:endParaRPr>
          </a:p>
        </p:txBody>
      </p:sp>
      <p:sp>
        <p:nvSpPr>
          <p:cNvPr id="5" name="Text Placeholder 4">
            <a:extLst>
              <a:ext uri="{FF2B5EF4-FFF2-40B4-BE49-F238E27FC236}">
                <a16:creationId xmlns:a16="http://schemas.microsoft.com/office/drawing/2014/main" id="{135ABD86-B1BB-2EC8-B1DC-AE36701D8DFC}"/>
              </a:ext>
            </a:extLst>
          </p:cNvPr>
          <p:cNvSpPr>
            <a:spLocks noGrp="1"/>
          </p:cNvSpPr>
          <p:nvPr>
            <p:ph type="body" sz="quarter" idx="13"/>
          </p:nvPr>
        </p:nvSpPr>
        <p:spPr>
          <a:xfrm>
            <a:off x="578025" y="1338046"/>
            <a:ext cx="5080927" cy="261290"/>
          </a:xfrm>
        </p:spPr>
        <p:txBody>
          <a:bodyPr/>
          <a:lstStyle/>
          <a:p>
            <a:endParaRPr lang="en-GB"/>
          </a:p>
        </p:txBody>
      </p:sp>
      <p:sp>
        <p:nvSpPr>
          <p:cNvPr id="7" name="Rectangle: Rounded Corners 6">
            <a:extLst>
              <a:ext uri="{FF2B5EF4-FFF2-40B4-BE49-F238E27FC236}">
                <a16:creationId xmlns:a16="http://schemas.microsoft.com/office/drawing/2014/main" id="{64252524-A343-9F0C-142D-46C6E9BA65E5}"/>
              </a:ext>
            </a:extLst>
          </p:cNvPr>
          <p:cNvSpPr/>
          <p:nvPr/>
        </p:nvSpPr>
        <p:spPr>
          <a:xfrm>
            <a:off x="441379" y="1130990"/>
            <a:ext cx="10892403" cy="1015890"/>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34" tIns="45717" rIns="91434" bIns="45717" rtlCol="0" anchor="ctr"/>
          <a:lstStyle/>
          <a:p>
            <a:pPr marL="1198189" marR="0" lvl="0" indent="0" algn="l" defTabSz="277233" rtl="0" eaLnBrk="1" fontAlgn="auto" latinLnBrk="0" hangingPunct="1">
              <a:lnSpc>
                <a:spcPct val="100000"/>
              </a:lnSpc>
              <a:spcBef>
                <a:spcPts val="0"/>
              </a:spcBef>
              <a:spcAft>
                <a:spcPts val="0"/>
              </a:spcAft>
              <a:buClrTx/>
              <a:buSzTx/>
              <a:buFontTx/>
              <a:buNone/>
              <a:tabLst/>
              <a:defRPr/>
            </a:pPr>
            <a:r>
              <a:rPr kumimoji="0" lang="en-US" sz="1455" b="0" i="0" u="none" strike="noStrike" kern="1200" cap="none" spc="0" normalizeH="0" baseline="0" noProof="0">
                <a:ln>
                  <a:noFill/>
                </a:ln>
                <a:solidFill>
                  <a:srgbClr val="000000"/>
                </a:solidFill>
                <a:effectLst/>
                <a:uLnTx/>
                <a:uFillTx/>
                <a:latin typeface="Poppins"/>
                <a:ea typeface="+mn-ea"/>
                <a:cs typeface="Poppins"/>
              </a:rPr>
              <a:t>SAGE recommended that countries </a:t>
            </a:r>
            <a:r>
              <a:rPr kumimoji="0" lang="en-US" sz="1455" b="1" i="0" u="none" strike="noStrike" kern="1200" cap="none" spc="0" normalizeH="0" baseline="0" noProof="0">
                <a:ln>
                  <a:noFill/>
                </a:ln>
                <a:solidFill>
                  <a:srgbClr val="000000"/>
                </a:solidFill>
                <a:effectLst/>
                <a:uLnTx/>
                <a:uFillTx/>
                <a:latin typeface="Poppins"/>
                <a:ea typeface="+mn-ea"/>
                <a:cs typeface="Poppins"/>
              </a:rPr>
              <a:t>should consider issuing recommendations </a:t>
            </a:r>
            <a:r>
              <a:rPr kumimoji="0" lang="en-US" sz="1455" b="0" i="0" u="none" strike="noStrike" kern="1200" cap="none" spc="0" normalizeH="0" baseline="0" noProof="0">
                <a:ln>
                  <a:noFill/>
                </a:ln>
                <a:solidFill>
                  <a:srgbClr val="000000"/>
                </a:solidFill>
                <a:effectLst/>
                <a:uLnTx/>
                <a:uFillTx/>
                <a:latin typeface="Poppins"/>
                <a:ea typeface="+mn-ea"/>
                <a:cs typeface="Poppins"/>
              </a:rPr>
              <a:t>on the use of available licensed influenza A(H5) vaccine(s) for the interpandemic</a:t>
            </a:r>
            <a:r>
              <a:rPr kumimoji="0" lang="en-US" sz="1455" b="0" i="0" u="none" strike="noStrike" kern="1200" cap="none" spc="0" normalizeH="0" baseline="30000" noProof="0">
                <a:ln>
                  <a:noFill/>
                </a:ln>
                <a:solidFill>
                  <a:srgbClr val="000000"/>
                </a:solidFill>
                <a:effectLst/>
                <a:uLnTx/>
                <a:uFillTx/>
                <a:latin typeface="Poppins"/>
                <a:ea typeface="+mn-ea"/>
                <a:cs typeface="Poppins"/>
              </a:rPr>
              <a:t>1 </a:t>
            </a:r>
            <a:r>
              <a:rPr kumimoji="0" lang="en-US" sz="1455" b="0" i="0" u="none" strike="noStrike" kern="1200" cap="none" spc="0" normalizeH="0" baseline="0" noProof="0">
                <a:ln>
                  <a:noFill/>
                </a:ln>
                <a:solidFill>
                  <a:srgbClr val="000000"/>
                </a:solidFill>
                <a:effectLst/>
                <a:uLnTx/>
                <a:uFillTx/>
                <a:latin typeface="Poppins"/>
                <a:ea typeface="+mn-ea"/>
                <a:cs typeface="Poppins"/>
              </a:rPr>
              <a:t>and emergence periods</a:t>
            </a:r>
            <a:r>
              <a:rPr kumimoji="0" lang="en-US" sz="1455" b="0" i="0" u="none" strike="noStrike" kern="1200" cap="none" spc="0" normalizeH="0" baseline="30000" noProof="0">
                <a:ln>
                  <a:noFill/>
                </a:ln>
                <a:solidFill>
                  <a:srgbClr val="000000"/>
                </a:solidFill>
                <a:effectLst/>
                <a:uLnTx/>
                <a:uFillTx/>
                <a:latin typeface="Poppins"/>
                <a:ea typeface="+mn-ea"/>
                <a:cs typeface="Poppins"/>
              </a:rPr>
              <a:t>2</a:t>
            </a:r>
            <a:r>
              <a:rPr kumimoji="0" lang="en-US" sz="1455" b="0" i="0" u="none" strike="noStrike" kern="1200" cap="none" spc="0" normalizeH="0" baseline="0" noProof="0">
                <a:ln>
                  <a:noFill/>
                </a:ln>
                <a:solidFill>
                  <a:srgbClr val="000000"/>
                </a:solidFill>
                <a:effectLst/>
                <a:uLnTx/>
                <a:uFillTx/>
                <a:latin typeface="Poppins"/>
                <a:ea typeface="+mn-ea"/>
                <a:cs typeface="Poppins"/>
              </a:rPr>
              <a:t> when </a:t>
            </a:r>
            <a:r>
              <a:rPr kumimoji="0" lang="en-US" sz="1455" b="1" i="0" u="none" strike="noStrike" kern="1200" cap="none" spc="0" normalizeH="0" baseline="0" noProof="0">
                <a:ln>
                  <a:noFill/>
                </a:ln>
                <a:solidFill>
                  <a:srgbClr val="000000"/>
                </a:solidFill>
                <a:effectLst/>
                <a:uLnTx/>
                <a:uFillTx/>
                <a:latin typeface="Poppins"/>
                <a:ea typeface="+mn-ea"/>
                <a:cs typeface="Poppins"/>
              </a:rPr>
              <a:t>this aligns with their public health priorities</a:t>
            </a:r>
            <a:r>
              <a:rPr kumimoji="0" lang="en-US" sz="1455" b="0" i="0" u="none" strike="noStrike" kern="1200" cap="none" spc="0" normalizeH="0" baseline="0" noProof="0">
                <a:ln>
                  <a:noFill/>
                </a:ln>
                <a:solidFill>
                  <a:srgbClr val="000000"/>
                </a:solidFill>
                <a:effectLst/>
                <a:uLnTx/>
                <a:uFillTx/>
                <a:latin typeface="Poppins"/>
                <a:ea typeface="+mn-ea"/>
                <a:cs typeface="Poppins"/>
              </a:rPr>
              <a:t>. Such recommendations should be based on a careful review of the evidence using the </a:t>
            </a:r>
            <a:r>
              <a:rPr kumimoji="0" lang="en-US" sz="1455" b="1" i="0" u="none" strike="noStrike" kern="1200" cap="none" spc="0" normalizeH="0" baseline="0" noProof="0">
                <a:ln>
                  <a:noFill/>
                </a:ln>
                <a:solidFill>
                  <a:srgbClr val="000000"/>
                </a:solidFill>
                <a:effectLst/>
                <a:uLnTx/>
                <a:uFillTx/>
                <a:latin typeface="Poppins"/>
                <a:ea typeface="+mn-ea"/>
                <a:cs typeface="Poppins"/>
              </a:rPr>
              <a:t>evidence-to-recommendations framework</a:t>
            </a:r>
            <a:r>
              <a:rPr kumimoji="0" lang="en-US" sz="1455" b="0" i="0" u="none" strike="noStrike" kern="1200" cap="none" spc="0" normalizeH="0" baseline="0" noProof="0">
                <a:ln>
                  <a:noFill/>
                </a:ln>
                <a:solidFill>
                  <a:srgbClr val="000000"/>
                </a:solidFill>
                <a:effectLst/>
                <a:uLnTx/>
                <a:uFillTx/>
                <a:latin typeface="Poppins"/>
                <a:ea typeface="+mn-ea"/>
                <a:cs typeface="Poppins"/>
              </a:rPr>
              <a:t>.</a:t>
            </a:r>
          </a:p>
        </p:txBody>
      </p:sp>
      <p:sp>
        <p:nvSpPr>
          <p:cNvPr id="14" name="Rectangle: Rounded Corners 13">
            <a:extLst>
              <a:ext uri="{FF2B5EF4-FFF2-40B4-BE49-F238E27FC236}">
                <a16:creationId xmlns:a16="http://schemas.microsoft.com/office/drawing/2014/main" id="{80828086-796B-CD6B-828A-D7625F684E89}"/>
              </a:ext>
            </a:extLst>
          </p:cNvPr>
          <p:cNvSpPr/>
          <p:nvPr/>
        </p:nvSpPr>
        <p:spPr>
          <a:xfrm>
            <a:off x="487683" y="2336907"/>
            <a:ext cx="10883492" cy="1224359"/>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455" b="0" i="0" u="none" strike="noStrike" kern="1200" cap="none" spc="0" normalizeH="0" baseline="0" noProof="0">
                <a:ln>
                  <a:noFill/>
                </a:ln>
                <a:solidFill>
                  <a:srgbClr val="000000"/>
                </a:solidFill>
                <a:effectLst/>
                <a:uLnTx/>
                <a:uFillTx/>
                <a:latin typeface="Poppins"/>
                <a:ea typeface="Source Sans Pro"/>
                <a:cs typeface="Poppins"/>
              </a:rPr>
              <a:t>The </a:t>
            </a:r>
            <a:r>
              <a:rPr kumimoji="0" lang="en-US" sz="1455" b="1" i="0" u="none" strike="noStrike" kern="1200" cap="none" spc="0" normalizeH="0" baseline="0" noProof="0">
                <a:ln>
                  <a:noFill/>
                </a:ln>
                <a:solidFill>
                  <a:srgbClr val="000000"/>
                </a:solidFill>
                <a:effectLst/>
                <a:uLnTx/>
                <a:uFillTx/>
                <a:latin typeface="Poppins"/>
                <a:ea typeface="Source Sans Pro"/>
                <a:cs typeface="Poppins"/>
              </a:rPr>
              <a:t>primary objective </a:t>
            </a:r>
            <a:r>
              <a:rPr kumimoji="0" lang="en-US" sz="1455" b="0" i="0" u="none" strike="noStrike" kern="1200" cap="none" spc="0" normalizeH="0" baseline="0" noProof="0">
                <a:ln>
                  <a:noFill/>
                </a:ln>
                <a:solidFill>
                  <a:srgbClr val="000000"/>
                </a:solidFill>
                <a:effectLst/>
                <a:uLnTx/>
                <a:uFillTx/>
                <a:latin typeface="Poppins"/>
                <a:ea typeface="Source Sans Pro"/>
                <a:cs typeface="Poppins"/>
              </a:rPr>
              <a:t>for the potential use of currently licensed influenza A(H5) vaccines for the interpandemic and emergence periods should be the </a:t>
            </a:r>
            <a:r>
              <a:rPr kumimoji="0" lang="en-US" sz="1455" b="1" i="0" u="none" strike="noStrike" kern="1200" cap="none" spc="0" normalizeH="0" baseline="0" noProof="0">
                <a:ln>
                  <a:noFill/>
                </a:ln>
                <a:solidFill>
                  <a:srgbClr val="000000"/>
                </a:solidFill>
                <a:effectLst/>
                <a:uLnTx/>
                <a:uFillTx/>
                <a:latin typeface="Poppins"/>
                <a:ea typeface="Source Sans Pro"/>
                <a:cs typeface="Poppins"/>
              </a:rPr>
              <a:t>prevention of severe disease in individuals at higher risk of infection with influenza A(H5) viruses.</a:t>
            </a:r>
          </a:p>
        </p:txBody>
      </p:sp>
      <p:sp>
        <p:nvSpPr>
          <p:cNvPr id="15" name="Rectangle: Rounded Corners 14">
            <a:extLst>
              <a:ext uri="{FF2B5EF4-FFF2-40B4-BE49-F238E27FC236}">
                <a16:creationId xmlns:a16="http://schemas.microsoft.com/office/drawing/2014/main" id="{261DABC1-71FD-1F3A-2D9F-25BEEEF325F9}"/>
              </a:ext>
            </a:extLst>
          </p:cNvPr>
          <p:cNvSpPr/>
          <p:nvPr/>
        </p:nvSpPr>
        <p:spPr>
          <a:xfrm>
            <a:off x="431885" y="3751292"/>
            <a:ext cx="10911391" cy="2260996"/>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455" b="0" i="0" u="none" strike="noStrike" kern="1200" cap="none" spc="0" normalizeH="0" baseline="0" noProof="0">
                <a:ln>
                  <a:noFill/>
                </a:ln>
                <a:solidFill>
                  <a:srgbClr val="000000"/>
                </a:solidFill>
                <a:effectLst/>
                <a:uLnTx/>
                <a:uFillTx/>
                <a:latin typeface="Poppins"/>
                <a:ea typeface="Source Sans Pro"/>
                <a:cs typeface="Poppins"/>
              </a:rPr>
              <a:t>Based on existing epidemiological data, </a:t>
            </a:r>
            <a:r>
              <a:rPr kumimoji="0" lang="en-US" sz="1455" b="1" i="0" u="none" strike="noStrike" kern="1200" cap="none" spc="0" normalizeH="0" baseline="0" noProof="0">
                <a:ln>
                  <a:noFill/>
                </a:ln>
                <a:solidFill>
                  <a:srgbClr val="000000"/>
                </a:solidFill>
                <a:effectLst/>
                <a:uLnTx/>
                <a:uFillTx/>
                <a:latin typeface="Poppins"/>
                <a:ea typeface="Source Sans Pro"/>
                <a:cs typeface="Poppins"/>
              </a:rPr>
              <a:t>SAGE recommended targeting the following groups </a:t>
            </a:r>
            <a:r>
              <a:rPr kumimoji="0" lang="en-US" sz="1455" b="0" i="0" u="none" strike="noStrike" kern="1200" cap="none" spc="0" normalizeH="0" baseline="0" noProof="0">
                <a:ln>
                  <a:noFill/>
                </a:ln>
                <a:solidFill>
                  <a:srgbClr val="000000"/>
                </a:solidFill>
                <a:effectLst/>
                <a:uLnTx/>
                <a:uFillTx/>
                <a:latin typeface="Poppins"/>
                <a:ea typeface="Source Sans Pro"/>
                <a:cs typeface="Poppins"/>
              </a:rPr>
              <a:t>for vaccination, based on their risk of exposure: </a:t>
            </a:r>
          </a:p>
          <a:p>
            <a:pPr marL="1520518" marR="0" lvl="0" indent="-277246" algn="l" defTabSz="2772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55" b="1" i="0" u="none" strike="noStrike" kern="1200" cap="none" spc="0" normalizeH="0" baseline="0" noProof="0">
                <a:ln>
                  <a:noFill/>
                </a:ln>
                <a:solidFill>
                  <a:srgbClr val="000000"/>
                </a:solidFill>
                <a:effectLst/>
                <a:uLnTx/>
                <a:uFillTx/>
                <a:latin typeface="Poppins"/>
                <a:ea typeface="Source Sans Pro"/>
                <a:cs typeface="Poppins"/>
              </a:rPr>
              <a:t>laboratory workers </a:t>
            </a:r>
            <a:r>
              <a:rPr kumimoji="0" lang="en-US" sz="1455" b="0" i="0" u="none" strike="noStrike" kern="1200" cap="none" spc="0" normalizeH="0" baseline="0" noProof="0">
                <a:ln>
                  <a:noFill/>
                </a:ln>
                <a:solidFill>
                  <a:srgbClr val="000000"/>
                </a:solidFill>
                <a:effectLst/>
                <a:uLnTx/>
                <a:uFillTx/>
                <a:latin typeface="Poppins"/>
                <a:ea typeface="Source Sans Pro"/>
                <a:cs typeface="Poppins"/>
              </a:rPr>
              <a:t>who handle influenza A(H5) viruses; </a:t>
            </a:r>
          </a:p>
          <a:p>
            <a:pPr marL="1520518" marR="0" lvl="0" indent="-277246" algn="l" defTabSz="2772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55" b="1" i="0" u="none" strike="noStrike" kern="1200" cap="none" spc="0" normalizeH="0" baseline="0" noProof="0">
                <a:ln>
                  <a:noFill/>
                </a:ln>
                <a:solidFill>
                  <a:srgbClr val="000000"/>
                </a:solidFill>
                <a:effectLst/>
                <a:uLnTx/>
                <a:uFillTx/>
                <a:latin typeface="Poppins"/>
                <a:ea typeface="Source Sans Pro"/>
                <a:cs typeface="Poppins"/>
              </a:rPr>
              <a:t>first responders in zoonotic influenza outbreaks</a:t>
            </a:r>
            <a:r>
              <a:rPr kumimoji="0" lang="en-US" sz="1455" b="0" i="0" u="none" strike="noStrike" kern="1200" cap="none" spc="0" normalizeH="0" baseline="0" noProof="0">
                <a:ln>
                  <a:noFill/>
                </a:ln>
                <a:solidFill>
                  <a:srgbClr val="000000"/>
                </a:solidFill>
                <a:effectLst/>
                <a:uLnTx/>
                <a:uFillTx/>
                <a:latin typeface="Poppins"/>
                <a:ea typeface="Source Sans Pro"/>
                <a:cs typeface="Poppins"/>
              </a:rPr>
              <a:t>; </a:t>
            </a:r>
          </a:p>
          <a:p>
            <a:pPr marL="1520518" marR="0" lvl="0" indent="-277246" algn="l" defTabSz="2772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55" b="1" i="0" u="none" strike="noStrike" kern="1200" cap="none" spc="0" normalizeH="0" baseline="0" noProof="0">
                <a:ln>
                  <a:noFill/>
                </a:ln>
                <a:solidFill>
                  <a:srgbClr val="000000"/>
                </a:solidFill>
                <a:effectLst/>
                <a:uLnTx/>
                <a:uFillTx/>
                <a:latin typeface="Poppins"/>
                <a:ea typeface="Source Sans Pro"/>
                <a:cs typeface="Poppins"/>
              </a:rPr>
              <a:t>health workers </a:t>
            </a:r>
            <a:r>
              <a:rPr kumimoji="0" lang="en-US" sz="1455" b="0" i="0" u="none" strike="noStrike" kern="1200" cap="none" spc="0" normalizeH="0" baseline="0" noProof="0">
                <a:ln>
                  <a:noFill/>
                </a:ln>
                <a:solidFill>
                  <a:srgbClr val="000000"/>
                </a:solidFill>
                <a:effectLst/>
                <a:uLnTx/>
                <a:uFillTx/>
                <a:latin typeface="Poppins"/>
                <a:ea typeface="Source Sans Pro"/>
                <a:cs typeface="Poppins"/>
              </a:rPr>
              <a:t>who evaluate and manage suspected or confirmed human cases, including  potential vaccinators; and </a:t>
            </a:r>
          </a:p>
          <a:p>
            <a:pPr marL="1520518" marR="0" lvl="0" indent="-277246" algn="l" defTabSz="2772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55" b="1" i="0" u="none" strike="noStrike" kern="1200" cap="none" spc="0" normalizeH="0" baseline="0" noProof="0">
                <a:ln>
                  <a:noFill/>
                </a:ln>
                <a:solidFill>
                  <a:srgbClr val="000000"/>
                </a:solidFill>
                <a:effectLst/>
                <a:uLnTx/>
                <a:uFillTx/>
                <a:latin typeface="Poppins"/>
                <a:ea typeface="Source Sans Pro"/>
                <a:cs typeface="Poppins"/>
              </a:rPr>
              <a:t>people with ongoing contact with animals or their environments in geographic areas </a:t>
            </a:r>
            <a:r>
              <a:rPr kumimoji="0" lang="en-US" sz="1455" b="0" i="0" u="none" strike="noStrike" kern="1200" cap="none" spc="0" normalizeH="0" baseline="0" noProof="0">
                <a:ln>
                  <a:noFill/>
                </a:ln>
                <a:solidFill>
                  <a:srgbClr val="000000"/>
                </a:solidFill>
                <a:effectLst/>
                <a:uLnTx/>
                <a:uFillTx/>
                <a:latin typeface="Poppins"/>
                <a:ea typeface="Source Sans Pro"/>
                <a:cs typeface="Poppins"/>
              </a:rPr>
              <a:t>where animal/human infections have been reported</a:t>
            </a:r>
            <a:r>
              <a:rPr kumimoji="0" lang="en-US" sz="1455" b="0" i="0" u="none" strike="noStrike" kern="1200" cap="none" spc="0" normalizeH="0" baseline="30000" noProof="0">
                <a:ln>
                  <a:noFill/>
                </a:ln>
                <a:solidFill>
                  <a:srgbClr val="000000"/>
                </a:solidFill>
                <a:effectLst/>
                <a:uLnTx/>
                <a:uFillTx/>
                <a:latin typeface="Poppins"/>
                <a:ea typeface="Source Sans Pro"/>
                <a:cs typeface="Poppins"/>
              </a:rPr>
              <a:t>3</a:t>
            </a:r>
            <a:r>
              <a:rPr kumimoji="0" lang="en-US" sz="1455" b="0" i="0" u="none" strike="noStrike" kern="1200" cap="none" spc="0" normalizeH="0" baseline="0" noProof="0">
                <a:ln>
                  <a:noFill/>
                </a:ln>
                <a:solidFill>
                  <a:srgbClr val="000000"/>
                </a:solidFill>
                <a:effectLst/>
                <a:uLnTx/>
                <a:uFillTx/>
                <a:latin typeface="Poppins"/>
                <a:ea typeface="Source Sans Pro"/>
                <a:cs typeface="Poppins"/>
              </a:rPr>
              <a:t>. </a:t>
            </a:r>
          </a:p>
        </p:txBody>
      </p:sp>
      <p:pic>
        <p:nvPicPr>
          <p:cNvPr id="6" name="Graphic 5" descr="Checklist with solid fill">
            <a:extLst>
              <a:ext uri="{FF2B5EF4-FFF2-40B4-BE49-F238E27FC236}">
                <a16:creationId xmlns:a16="http://schemas.microsoft.com/office/drawing/2014/main" id="{E1FDD682-7F42-E886-F4D7-7C33D46F15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3562" y="1319065"/>
            <a:ext cx="554493" cy="554493"/>
          </a:xfrm>
          <a:prstGeom prst="rect">
            <a:avLst/>
          </a:prstGeom>
        </p:spPr>
      </p:pic>
      <p:pic>
        <p:nvPicPr>
          <p:cNvPr id="9" name="Graphic 8" descr="Target with solid fill">
            <a:extLst>
              <a:ext uri="{FF2B5EF4-FFF2-40B4-BE49-F238E27FC236}">
                <a16:creationId xmlns:a16="http://schemas.microsoft.com/office/drawing/2014/main" id="{51764B04-2800-FB8E-0733-875A6CBD21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330" y="2643468"/>
            <a:ext cx="554493" cy="554493"/>
          </a:xfrm>
          <a:prstGeom prst="rect">
            <a:avLst/>
          </a:prstGeom>
        </p:spPr>
      </p:pic>
      <p:pic>
        <p:nvPicPr>
          <p:cNvPr id="11" name="Graphic 10" descr="Group outline">
            <a:extLst>
              <a:ext uri="{FF2B5EF4-FFF2-40B4-BE49-F238E27FC236}">
                <a16:creationId xmlns:a16="http://schemas.microsoft.com/office/drawing/2014/main" id="{1CD3CBCA-2063-B346-262A-DA6749DFCE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6135" y="4260739"/>
            <a:ext cx="554493" cy="554493"/>
          </a:xfrm>
          <a:prstGeom prst="rect">
            <a:avLst/>
          </a:prstGeom>
        </p:spPr>
      </p:pic>
      <p:sp>
        <p:nvSpPr>
          <p:cNvPr id="8" name="TextBox 7">
            <a:extLst>
              <a:ext uri="{FF2B5EF4-FFF2-40B4-BE49-F238E27FC236}">
                <a16:creationId xmlns:a16="http://schemas.microsoft.com/office/drawing/2014/main" id="{5642A6C5-A23C-B2E9-2248-36B12EBFD2FC}"/>
              </a:ext>
            </a:extLst>
          </p:cNvPr>
          <p:cNvSpPr txBox="1"/>
          <p:nvPr/>
        </p:nvSpPr>
        <p:spPr>
          <a:xfrm>
            <a:off x="2557036" y="6230928"/>
            <a:ext cx="8525330" cy="540404"/>
          </a:xfrm>
          <a:prstGeom prst="rect">
            <a:avLst/>
          </a:prstGeom>
          <a:noFill/>
        </p:spPr>
        <p:txBody>
          <a:bodyPr wrap="square">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728" b="0" i="0" u="none" strike="noStrike" kern="1200" cap="none" spc="0" normalizeH="0" baseline="0" noProof="0">
                <a:ln>
                  <a:noFill/>
                </a:ln>
                <a:solidFill>
                  <a:srgbClr val="000000"/>
                </a:solidFill>
                <a:effectLst/>
                <a:uLnTx/>
                <a:uFillTx/>
                <a:latin typeface="Poppins"/>
                <a:ea typeface="+mn-ea"/>
                <a:cs typeface="Arial" panose="020B0604020202020204" pitchFamily="34" charset="0"/>
              </a:rPr>
              <a:t>1.  As per WHO’s Preparedness and Resilience for Emerging Threats (PRET) framework defined as no human cases of the virus being reported, although animals may be infected.</a:t>
            </a: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728" b="0" i="0" u="none" strike="noStrike" kern="1200" cap="none" spc="0" normalizeH="0" baseline="0" noProof="0">
                <a:ln>
                  <a:noFill/>
                </a:ln>
                <a:solidFill>
                  <a:srgbClr val="000000"/>
                </a:solidFill>
                <a:effectLst/>
                <a:uLnTx/>
                <a:uFillTx/>
                <a:latin typeface="Poppins"/>
                <a:ea typeface="Aptos" panose="020B0004020202020204" pitchFamily="34" charset="0"/>
                <a:cs typeface="Arial" panose="020B0604020202020204" pitchFamily="34" charset="0"/>
              </a:rPr>
              <a:t>2. As per WHO’s PRET framework defined as sporadic human cases or clusters of human cases of influenza A(H5) are detected, but no sustained human-to-human transmission.</a:t>
            </a:r>
            <a:endParaRPr kumimoji="0" lang="en-US" sz="728" b="0" i="0" u="none" strike="noStrike" kern="1200" cap="none" spc="0" normalizeH="0" baseline="0" noProof="0">
              <a:ln>
                <a:noFill/>
              </a:ln>
              <a:solidFill>
                <a:srgbClr val="000000"/>
              </a:solidFill>
              <a:effectLst/>
              <a:uLnTx/>
              <a:uFillTx/>
              <a:latin typeface="Poppins"/>
              <a:ea typeface="+mn-ea"/>
              <a:cs typeface="+mn-cs"/>
            </a:endParaRP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728" b="0" i="0" u="none" strike="noStrike" kern="1200" cap="none" spc="0" normalizeH="0" baseline="0" noProof="0">
                <a:ln>
                  <a:noFill/>
                </a:ln>
                <a:solidFill>
                  <a:srgbClr val="000000"/>
                </a:solidFill>
                <a:effectLst/>
                <a:uLnTx/>
                <a:uFillTx/>
                <a:latin typeface="Poppins"/>
                <a:ea typeface="+mn-ea"/>
                <a:cs typeface="+mn-cs"/>
              </a:rPr>
              <a:t>3. This could include individuals routinely, occupationally or otherwise exposed to animals, their secretions or contaminated environments, such as poultry/farm workers, veterinarians, zookeepers, backyard bird flock owners, live bird market vendors, people with recreational exposure to animals (e.g., hunters, wild bird watchers).</a:t>
            </a:r>
          </a:p>
        </p:txBody>
      </p:sp>
      <p:pic>
        <p:nvPicPr>
          <p:cNvPr id="2" name="Graphic 1" descr="Germ outline">
            <a:extLst>
              <a:ext uri="{FF2B5EF4-FFF2-40B4-BE49-F238E27FC236}">
                <a16:creationId xmlns:a16="http://schemas.microsoft.com/office/drawing/2014/main" id="{F59CFF6C-17ED-8529-95A2-19B1B909CFA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249758" y="170820"/>
            <a:ext cx="618292" cy="618292"/>
          </a:xfrm>
          <a:prstGeom prst="rect">
            <a:avLst/>
          </a:prstGeom>
        </p:spPr>
      </p:pic>
    </p:spTree>
    <p:extLst>
      <p:ext uri="{BB962C8B-B14F-4D97-AF65-F5344CB8AC3E}">
        <p14:creationId xmlns:p14="http://schemas.microsoft.com/office/powerpoint/2010/main" val="2692867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ABB7331-8249-10BE-F684-D3425F0706E4}"/>
              </a:ext>
            </a:extLst>
          </p:cNvPr>
          <p:cNvSpPr>
            <a:spLocks noGrp="1"/>
          </p:cNvSpPr>
          <p:nvPr>
            <p:ph type="body" sz="quarter" idx="13"/>
          </p:nvPr>
        </p:nvSpPr>
        <p:spPr>
          <a:xfrm>
            <a:off x="1498330" y="3196340"/>
            <a:ext cx="9195342" cy="465320"/>
          </a:xfrm>
        </p:spPr>
        <p:txBody>
          <a:bodyPr/>
          <a:lstStyle/>
          <a:p>
            <a:r>
              <a:rPr lang="fr-FR" sz="2668"/>
              <a:t>COVID-19</a:t>
            </a:r>
            <a:endParaRPr lang="en-GB" sz="2668"/>
          </a:p>
        </p:txBody>
      </p:sp>
      <p:sp>
        <p:nvSpPr>
          <p:cNvPr id="2" name="Slide Number Placeholder 5">
            <a:extLst>
              <a:ext uri="{FF2B5EF4-FFF2-40B4-BE49-F238E27FC236}">
                <a16:creationId xmlns:a16="http://schemas.microsoft.com/office/drawing/2014/main" id="{417D0E38-8D86-5295-CE5A-BBB2D153F745}"/>
              </a:ext>
            </a:extLst>
          </p:cNvPr>
          <p:cNvSpPr txBox="1">
            <a:spLocks/>
          </p:cNvSpPr>
          <p:nvPr/>
        </p:nvSpPr>
        <p:spPr>
          <a:xfrm>
            <a:off x="10693671" y="6482886"/>
            <a:ext cx="897133" cy="112018"/>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23</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pic>
        <p:nvPicPr>
          <p:cNvPr id="3" name="Graphic 2" descr="Covid-19 outline">
            <a:extLst>
              <a:ext uri="{FF2B5EF4-FFF2-40B4-BE49-F238E27FC236}">
                <a16:creationId xmlns:a16="http://schemas.microsoft.com/office/drawing/2014/main" id="{3EBB3200-EB7D-B428-D1BE-25257FE27F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52966" y="263132"/>
            <a:ext cx="1178550" cy="1178550"/>
          </a:xfrm>
          <a:prstGeom prst="rect">
            <a:avLst/>
          </a:prstGeom>
        </p:spPr>
      </p:pic>
    </p:spTree>
    <p:extLst>
      <p:ext uri="{BB962C8B-B14F-4D97-AF65-F5344CB8AC3E}">
        <p14:creationId xmlns:p14="http://schemas.microsoft.com/office/powerpoint/2010/main" val="1636138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B06FB-0C66-876D-5C96-42FFBA2C279F}"/>
              </a:ext>
            </a:extLst>
          </p:cNvPr>
          <p:cNvSpPr>
            <a:spLocks noGrp="1"/>
          </p:cNvSpPr>
          <p:nvPr>
            <p:ph type="title"/>
          </p:nvPr>
        </p:nvSpPr>
        <p:spPr>
          <a:xfrm>
            <a:off x="457595" y="582633"/>
            <a:ext cx="11276809" cy="1004817"/>
          </a:xfrm>
        </p:spPr>
        <p:txBody>
          <a:bodyPr>
            <a:normAutofit fontScale="90000"/>
          </a:bodyPr>
          <a:lstStyle/>
          <a:p>
            <a:r>
              <a:rPr lang="en-US" sz="3600"/>
              <a:t>COVID-19 deaths reported by age </a:t>
            </a:r>
            <a:br>
              <a:rPr lang="en-US" sz="1800"/>
            </a:br>
            <a:r>
              <a:rPr lang="en-US" sz="1800">
                <a:ea typeface="+mn-ea"/>
                <a:cs typeface="+mn-cs"/>
              </a:rPr>
              <a:t>As of 31 July 2025</a:t>
            </a:r>
            <a:br>
              <a:rPr lang="en-US" sz="1800">
                <a:ea typeface="+mn-ea"/>
                <a:cs typeface="+mn-cs"/>
              </a:rPr>
            </a:br>
            <a:br>
              <a:rPr lang="en-US" sz="1800">
                <a:ea typeface="+mn-ea"/>
                <a:cs typeface="+mn-cs"/>
              </a:rPr>
            </a:br>
            <a:endParaRPr lang="en-US" sz="2400" i="1">
              <a:solidFill>
                <a:srgbClr val="00B0F0"/>
              </a:solidFill>
            </a:endParaRPr>
          </a:p>
        </p:txBody>
      </p:sp>
      <p:sp>
        <p:nvSpPr>
          <p:cNvPr id="4" name="Slide Number Placeholder 3">
            <a:extLst>
              <a:ext uri="{FF2B5EF4-FFF2-40B4-BE49-F238E27FC236}">
                <a16:creationId xmlns:a16="http://schemas.microsoft.com/office/drawing/2014/main" id="{AF926765-54D6-A7EC-F2E5-6D22923C9917}"/>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714BF2E0-EE3B-6A4E-9FB9-82DE86E1F02F}" type="slidenum">
              <a:rPr kumimoji="0" lang="en-US" sz="900" b="0" i="0" u="none" strike="noStrike" kern="1200" cap="none" spc="0" normalizeH="0" baseline="0" noProof="0">
                <a:ln>
                  <a:noFill/>
                </a:ln>
                <a:solidFill>
                  <a:srgbClr val="00205C"/>
                </a:solidFill>
                <a:effectLst/>
                <a:uLnTx/>
                <a:uFillTx/>
                <a:latin typeface="Calibri" panose="020F0502020204030204"/>
                <a:ea typeface="+mn-ea"/>
                <a:cs typeface="+mn-cs"/>
              </a:rPr>
              <a:pPr marL="0" marR="0" lvl="0" indent="0" algn="r" defTabSz="914358"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8FC979B4-2FDC-B5D6-0EF8-5CDC0214ED4C}"/>
              </a:ext>
            </a:extLst>
          </p:cNvPr>
          <p:cNvGrpSpPr/>
          <p:nvPr/>
        </p:nvGrpSpPr>
        <p:grpSpPr>
          <a:xfrm>
            <a:off x="80438" y="2078893"/>
            <a:ext cx="11775159" cy="3951357"/>
            <a:chOff x="80015" y="1235960"/>
            <a:chExt cx="11775985" cy="3951634"/>
          </a:xfrm>
        </p:grpSpPr>
        <p:pic>
          <p:nvPicPr>
            <p:cNvPr id="6" name="Picture 5">
              <a:extLst>
                <a:ext uri="{FF2B5EF4-FFF2-40B4-BE49-F238E27FC236}">
                  <a16:creationId xmlns:a16="http://schemas.microsoft.com/office/drawing/2014/main" id="{71D581A5-6D38-25CE-3295-1D62EA539537}"/>
                </a:ext>
              </a:extLst>
            </p:cNvPr>
            <p:cNvPicPr>
              <a:picLocks noChangeAspect="1"/>
            </p:cNvPicPr>
            <p:nvPr/>
          </p:nvPicPr>
          <p:blipFill>
            <a:blip r:embed="rId2"/>
            <a:stretch>
              <a:fillRect/>
            </a:stretch>
          </p:blipFill>
          <p:spPr>
            <a:xfrm>
              <a:off x="80015" y="1289467"/>
              <a:ext cx="5792544" cy="3898127"/>
            </a:xfrm>
            <a:prstGeom prst="rect">
              <a:avLst/>
            </a:prstGeom>
            <a:ln w="3175">
              <a:solidFill>
                <a:schemeClr val="accent1"/>
              </a:solidFill>
            </a:ln>
          </p:spPr>
        </p:pic>
        <p:pic>
          <p:nvPicPr>
            <p:cNvPr id="10" name="Picture 9">
              <a:extLst>
                <a:ext uri="{FF2B5EF4-FFF2-40B4-BE49-F238E27FC236}">
                  <a16:creationId xmlns:a16="http://schemas.microsoft.com/office/drawing/2014/main" id="{855DFA1A-8508-2DAB-A5FA-89E28DA7828C}"/>
                </a:ext>
              </a:extLst>
            </p:cNvPr>
            <p:cNvPicPr>
              <a:picLocks noChangeAspect="1"/>
            </p:cNvPicPr>
            <p:nvPr/>
          </p:nvPicPr>
          <p:blipFill>
            <a:blip r:embed="rId3"/>
            <a:stretch>
              <a:fillRect/>
            </a:stretch>
          </p:blipFill>
          <p:spPr>
            <a:xfrm>
              <a:off x="6096000" y="1235960"/>
              <a:ext cx="5760000" cy="3925634"/>
            </a:xfrm>
            <a:prstGeom prst="rect">
              <a:avLst/>
            </a:prstGeom>
            <a:ln>
              <a:solidFill>
                <a:schemeClr val="accent1"/>
              </a:solidFill>
            </a:ln>
          </p:spPr>
        </p:pic>
        <p:sp>
          <p:nvSpPr>
            <p:cNvPr id="11" name="Rectangle 10">
              <a:extLst>
                <a:ext uri="{FF2B5EF4-FFF2-40B4-BE49-F238E27FC236}">
                  <a16:creationId xmlns:a16="http://schemas.microsoft.com/office/drawing/2014/main" id="{4E37923D-5FE7-0671-4BE2-F67D34109BD0}"/>
                </a:ext>
              </a:extLst>
            </p:cNvPr>
            <p:cNvSpPr/>
            <p:nvPr/>
          </p:nvSpPr>
          <p:spPr>
            <a:xfrm>
              <a:off x="2934031" y="1789042"/>
              <a:ext cx="2910178" cy="146304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64A42161-48CE-E3E6-6087-52FC09EDD757}"/>
                </a:ext>
              </a:extLst>
            </p:cNvPr>
            <p:cNvSpPr/>
            <p:nvPr/>
          </p:nvSpPr>
          <p:spPr>
            <a:xfrm>
              <a:off x="8945822" y="1789042"/>
              <a:ext cx="2910178" cy="146304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6F238CB0-3B5F-284E-54D2-128F6BE83FB5}"/>
                </a:ext>
              </a:extLst>
            </p:cNvPr>
            <p:cNvSpPr txBox="1"/>
            <p:nvPr/>
          </p:nvSpPr>
          <p:spPr>
            <a:xfrm>
              <a:off x="4230255" y="1318850"/>
              <a:ext cx="861578" cy="369358"/>
            </a:xfrm>
            <a:prstGeom prst="rect">
              <a:avLst/>
            </a:prstGeom>
            <a:noFill/>
          </p:spPr>
          <p:txBody>
            <a:bodyPr wrap="non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3A81C">
                      <a:lumMod val="50000"/>
                    </a:srgbClr>
                  </a:solidFill>
                  <a:effectLst/>
                  <a:uLnTx/>
                  <a:uFillTx/>
                  <a:latin typeface="Calibri" panose="020F0502020204030204"/>
                  <a:ea typeface="+mn-ea"/>
                  <a:cs typeface="+mn-cs"/>
                </a:rPr>
                <a:t>Europe</a:t>
              </a:r>
              <a:endParaRPr kumimoji="0" lang="en-US" sz="1800" b="1" i="0" u="none" strike="noStrike" kern="1200" cap="none" spc="0" normalizeH="0" baseline="0" noProof="0">
                <a:ln>
                  <a:noFill/>
                </a:ln>
                <a:solidFill>
                  <a:srgbClr val="F3A81C">
                    <a:lumMod val="50000"/>
                  </a:srgbClr>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B60C4915-20E2-5451-5A13-C020525DE013}"/>
                </a:ext>
              </a:extLst>
            </p:cNvPr>
            <p:cNvSpPr txBox="1"/>
            <p:nvPr/>
          </p:nvSpPr>
          <p:spPr>
            <a:xfrm>
              <a:off x="10183091" y="1268420"/>
              <a:ext cx="1065047" cy="369358"/>
            </a:xfrm>
            <a:prstGeom prst="rect">
              <a:avLst/>
            </a:prstGeom>
            <a:noFill/>
          </p:spPr>
          <p:txBody>
            <a:bodyPr wrap="non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3A81C">
                      <a:lumMod val="50000"/>
                    </a:srgbClr>
                  </a:solidFill>
                  <a:effectLst/>
                  <a:uLnTx/>
                  <a:uFillTx/>
                  <a:latin typeface="Calibri" panose="020F0502020204030204"/>
                  <a:ea typeface="+mn-ea"/>
                  <a:cs typeface="+mn-cs"/>
                </a:rPr>
                <a:t>Americas</a:t>
              </a:r>
              <a:endParaRPr kumimoji="0" lang="en-US" sz="1800" b="1" i="0" u="none" strike="noStrike" kern="1200" cap="none" spc="0" normalizeH="0" baseline="0" noProof="0">
                <a:ln>
                  <a:noFill/>
                </a:ln>
                <a:solidFill>
                  <a:srgbClr val="F3A81C">
                    <a:lumMod val="50000"/>
                  </a:srgb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C327664D-5040-6BBA-2250-22651B7B6576}"/>
                </a:ext>
              </a:extLst>
            </p:cNvPr>
            <p:cNvSpPr txBox="1"/>
            <p:nvPr/>
          </p:nvSpPr>
          <p:spPr>
            <a:xfrm>
              <a:off x="3347499" y="2351285"/>
              <a:ext cx="585458" cy="338578"/>
            </a:xfrm>
            <a:prstGeom prst="rect">
              <a:avLst/>
            </a:prstGeom>
            <a:noFill/>
          </p:spPr>
          <p:txBody>
            <a:bodyPr wrap="non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0000"/>
                  </a:solidFill>
                  <a:effectLst/>
                  <a:uLnTx/>
                  <a:uFillTx/>
                  <a:latin typeface="Calibri" panose="020F0502020204030204"/>
                  <a:ea typeface="+mn-ea"/>
                  <a:cs typeface="+mn-cs"/>
                </a:rPr>
                <a:t>~ 2%</a:t>
              </a:r>
            </a:p>
          </p:txBody>
        </p:sp>
        <p:sp>
          <p:nvSpPr>
            <p:cNvPr id="7" name="TextBox 6">
              <a:extLst>
                <a:ext uri="{FF2B5EF4-FFF2-40B4-BE49-F238E27FC236}">
                  <a16:creationId xmlns:a16="http://schemas.microsoft.com/office/drawing/2014/main" id="{EE8E7AE3-D3C7-78C0-EB3D-8EF04ADDF10B}"/>
                </a:ext>
              </a:extLst>
            </p:cNvPr>
            <p:cNvSpPr txBox="1"/>
            <p:nvPr/>
          </p:nvSpPr>
          <p:spPr>
            <a:xfrm>
              <a:off x="9367962" y="2320356"/>
              <a:ext cx="689660" cy="338578"/>
            </a:xfrm>
            <a:prstGeom prst="rect">
              <a:avLst/>
            </a:prstGeom>
            <a:noFill/>
          </p:spPr>
          <p:txBody>
            <a:bodyPr wrap="non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0000"/>
                  </a:solidFill>
                  <a:effectLst/>
                  <a:uLnTx/>
                  <a:uFillTx/>
                  <a:latin typeface="Calibri" panose="020F0502020204030204"/>
                  <a:ea typeface="+mn-ea"/>
                  <a:cs typeface="+mn-cs"/>
                </a:rPr>
                <a:t>~ 14%</a:t>
              </a:r>
            </a:p>
          </p:txBody>
        </p:sp>
      </p:grpSp>
      <p:sp>
        <p:nvSpPr>
          <p:cNvPr id="13" name="TextBox 12">
            <a:extLst>
              <a:ext uri="{FF2B5EF4-FFF2-40B4-BE49-F238E27FC236}">
                <a16:creationId xmlns:a16="http://schemas.microsoft.com/office/drawing/2014/main" id="{620B8E8A-1E14-4D00-56A7-C9FBB6C1BDD9}"/>
              </a:ext>
            </a:extLst>
          </p:cNvPr>
          <p:cNvSpPr txBox="1"/>
          <p:nvPr/>
        </p:nvSpPr>
        <p:spPr>
          <a:xfrm>
            <a:off x="2401041" y="6345137"/>
            <a:ext cx="6095572" cy="369332"/>
          </a:xfrm>
          <a:prstGeom prst="rect">
            <a:avLst/>
          </a:prstGeom>
          <a:noFill/>
        </p:spPr>
        <p:txBody>
          <a:bodyPr wrap="square">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hlinkClick r:id="rId4"/>
              </a:rPr>
              <a:t>COVID-19 deaths | WHO COVID-19 dashboard</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8" name="Graphic 17" descr="Covid-19 outline">
            <a:extLst>
              <a:ext uri="{FF2B5EF4-FFF2-40B4-BE49-F238E27FC236}">
                <a16:creationId xmlns:a16="http://schemas.microsoft.com/office/drawing/2014/main" id="{AE4CA5A5-D7B9-7C1E-309F-9A45C5E76E3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650941" y="1"/>
            <a:ext cx="512906" cy="512906"/>
          </a:xfrm>
          <a:prstGeom prst="rect">
            <a:avLst/>
          </a:prstGeom>
        </p:spPr>
      </p:pic>
    </p:spTree>
    <p:extLst>
      <p:ext uri="{BB962C8B-B14F-4D97-AF65-F5344CB8AC3E}">
        <p14:creationId xmlns:p14="http://schemas.microsoft.com/office/powerpoint/2010/main" val="35983640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1C0F2C5-6729-D430-074A-5F094B2D7ED4}"/>
              </a:ext>
            </a:extLst>
          </p:cNvPr>
          <p:cNvSpPr>
            <a:spLocks noGrp="1"/>
          </p:cNvSpPr>
          <p:nvPr>
            <p:ph type="ftr" sz="quarter" idx="10"/>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0DC26D41-AAE2-9C63-D55F-D1EE3E6080A7}"/>
              </a:ext>
            </a:extLst>
          </p:cNvPr>
          <p:cNvSpPr>
            <a:spLocks noGrp="1"/>
          </p:cNvSpPr>
          <p:nvPr>
            <p:ph type="sldNum" sz="quarter" idx="11"/>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714BF2E0-EE3B-6A4E-9FB9-82DE86E1F02F}" type="slidenum">
              <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rPr>
              <a:pPr marL="0" marR="0" lvl="0" indent="0" algn="r" defTabSz="914358"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pic>
        <p:nvPicPr>
          <p:cNvPr id="6" name="Picture 5" title="C19 VIR">
            <a:extLst>
              <a:ext uri="{FF2B5EF4-FFF2-40B4-BE49-F238E27FC236}">
                <a16:creationId xmlns:a16="http://schemas.microsoft.com/office/drawing/2014/main" id="{BE35C4F8-ADD7-B1E1-B169-4565690C7589}"/>
              </a:ext>
            </a:extLst>
          </p:cNvPr>
          <p:cNvPicPr>
            <a:picLocks noChangeAspect="1"/>
          </p:cNvPicPr>
          <p:nvPr>
            <p:custDataLst>
              <p:tags r:id="rId1"/>
            </p:custDataLst>
          </p:nvPr>
        </p:nvPicPr>
        <p:blipFill>
          <a:blip r:embed="rId4"/>
          <a:srcRect b="10001"/>
          <a:stretch>
            <a:fillRect/>
          </a:stretch>
        </p:blipFill>
        <p:spPr>
          <a:xfrm>
            <a:off x="428" y="241"/>
            <a:ext cx="12191144" cy="6857519"/>
          </a:xfrm>
          <a:prstGeom prst="rect">
            <a:avLst/>
          </a:prstGeom>
        </p:spPr>
      </p:pic>
      <p:pic>
        <p:nvPicPr>
          <p:cNvPr id="4" name="Graphic 3" descr="Covid-19 outline">
            <a:extLst>
              <a:ext uri="{FF2B5EF4-FFF2-40B4-BE49-F238E27FC236}">
                <a16:creationId xmlns:a16="http://schemas.microsoft.com/office/drawing/2014/main" id="{31AB1095-20BD-E50A-B742-3B5E258915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650941" y="1"/>
            <a:ext cx="512906" cy="512906"/>
          </a:xfrm>
          <a:prstGeom prst="rect">
            <a:avLst/>
          </a:prstGeom>
        </p:spPr>
      </p:pic>
    </p:spTree>
    <p:extLst>
      <p:ext uri="{BB962C8B-B14F-4D97-AF65-F5344CB8AC3E}">
        <p14:creationId xmlns:p14="http://schemas.microsoft.com/office/powerpoint/2010/main" val="41896399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D08D1B-1D3F-E5C1-E9D0-7500E13E94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D47731-5021-81B4-825B-A31C49E85C13}"/>
              </a:ext>
            </a:extLst>
          </p:cNvPr>
          <p:cNvSpPr>
            <a:spLocks noGrp="1"/>
          </p:cNvSpPr>
          <p:nvPr>
            <p:ph type="title"/>
          </p:nvPr>
        </p:nvSpPr>
        <p:spPr>
          <a:xfrm>
            <a:off x="230835" y="97003"/>
            <a:ext cx="11274985" cy="1046379"/>
          </a:xfrm>
        </p:spPr>
        <p:txBody>
          <a:bodyPr>
            <a:normAutofit fontScale="90000"/>
          </a:bodyPr>
          <a:lstStyle/>
          <a:p>
            <a:pPr algn="ctr">
              <a:defRPr/>
            </a:pPr>
            <a:r>
              <a:rPr lang="fr-CH" sz="3300" b="1">
                <a:latin typeface="Calibri Light (Headings)"/>
              </a:rPr>
              <a:t>Up-to-date or r</a:t>
            </a:r>
            <a:r>
              <a:rPr lang="fr-CH" sz="3300" b="1" err="1">
                <a:latin typeface="Calibri Light (Headings)"/>
              </a:rPr>
              <a:t>elativ</a:t>
            </a:r>
            <a:r>
              <a:rPr lang="fr-CH" sz="3300" b="1">
                <a:latin typeface="Calibri Light (Headings)"/>
              </a:rPr>
              <a:t>e VE (%) </a:t>
            </a:r>
            <a:r>
              <a:rPr lang="fr-CH" sz="3300" b="1" err="1">
                <a:latin typeface="Calibri Light (Headings)"/>
              </a:rPr>
              <a:t>against</a:t>
            </a:r>
            <a:r>
              <a:rPr lang="fr-CH" sz="3300" b="1">
                <a:latin typeface="Calibri Light (Headings)"/>
              </a:rPr>
              <a:t> </a:t>
            </a:r>
            <a:r>
              <a:rPr lang="fr-CH" sz="3300" b="1" err="1">
                <a:latin typeface="Calibri Light (Headings)"/>
              </a:rPr>
              <a:t>death</a:t>
            </a:r>
            <a:r>
              <a:rPr lang="fr-CH" sz="3300" b="1">
                <a:latin typeface="Calibri Light (Headings)"/>
              </a:rPr>
              <a:t> and </a:t>
            </a:r>
            <a:r>
              <a:rPr lang="fr-CH" sz="3300" b="1" err="1">
                <a:latin typeface="Calibri Light (Headings)"/>
              </a:rPr>
              <a:t>severe</a:t>
            </a:r>
            <a:r>
              <a:rPr lang="fr-CH" sz="3300" b="1">
                <a:latin typeface="Calibri Light (Headings)"/>
              </a:rPr>
              <a:t> </a:t>
            </a:r>
            <a:r>
              <a:rPr lang="fr-CH" sz="3300" b="1" err="1">
                <a:latin typeface="Calibri Light (Headings)"/>
              </a:rPr>
              <a:t>disease</a:t>
            </a:r>
            <a:r>
              <a:rPr lang="fr-CH" sz="3300" b="1">
                <a:latin typeface="Calibri Light (Headings)"/>
              </a:rPr>
              <a:t> </a:t>
            </a:r>
            <a:br>
              <a:rPr lang="fr-CH" sz="3300" b="1">
                <a:latin typeface="Calibri Light (Headings)"/>
              </a:rPr>
            </a:br>
            <a:r>
              <a:rPr lang="fr-CH" sz="3300" b="1" err="1">
                <a:latin typeface="Calibri Light (Headings)"/>
              </a:rPr>
              <a:t>during</a:t>
            </a:r>
            <a:r>
              <a:rPr lang="fr-CH" sz="3300" b="1">
                <a:latin typeface="Calibri Light (Headings)"/>
              </a:rPr>
              <a:t> JN.1 </a:t>
            </a:r>
            <a:r>
              <a:rPr lang="fr-CH" sz="3300" b="1" err="1">
                <a:latin typeface="Calibri Light (Headings)"/>
              </a:rPr>
              <a:t>predominance</a:t>
            </a:r>
            <a:r>
              <a:rPr lang="fr-CH" sz="3300" b="1">
                <a:latin typeface="Calibri Light (Headings)"/>
              </a:rPr>
              <a:t> (BA.2.86/JN.1/KP/XEC/LP.8.1), </a:t>
            </a:r>
            <a:br>
              <a:rPr lang="fr-CH" sz="3300" b="1">
                <a:latin typeface="Calibri Light (Headings)"/>
              </a:rPr>
            </a:br>
            <a:r>
              <a:rPr lang="fr-CH" sz="3300" b="1">
                <a:latin typeface="Calibri Light (Headings)"/>
              </a:rPr>
              <a:t>high </a:t>
            </a:r>
            <a:r>
              <a:rPr lang="fr-CH" sz="3300" b="1" err="1">
                <a:latin typeface="Calibri Light (Headings)"/>
              </a:rPr>
              <a:t>priority</a:t>
            </a:r>
            <a:r>
              <a:rPr lang="fr-CH" sz="3300" b="1">
                <a:latin typeface="Calibri Light (Headings)"/>
              </a:rPr>
              <a:t> use groups</a:t>
            </a:r>
            <a:endParaRPr lang="en-US" sz="3300">
              <a:latin typeface="Calibri Light (Headings)"/>
            </a:endParaRPr>
          </a:p>
        </p:txBody>
      </p:sp>
      <p:sp>
        <p:nvSpPr>
          <p:cNvPr id="28" name="TextBox 27">
            <a:extLst>
              <a:ext uri="{FF2B5EF4-FFF2-40B4-BE49-F238E27FC236}">
                <a16:creationId xmlns:a16="http://schemas.microsoft.com/office/drawing/2014/main" id="{23869D7E-CF58-A656-0654-855A10EE089B}"/>
              </a:ext>
            </a:extLst>
          </p:cNvPr>
          <p:cNvSpPr txBox="1"/>
          <p:nvPr/>
        </p:nvSpPr>
        <p:spPr>
          <a:xfrm>
            <a:off x="87970" y="1234320"/>
            <a:ext cx="4904032" cy="276999"/>
          </a:xfrm>
          <a:prstGeom prst="rect">
            <a:avLst/>
          </a:prstGeom>
          <a:noFill/>
        </p:spPr>
        <p:txBody>
          <a:bodyPr wrap="squar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ref no) country, population, subvariant, time since last dose (days)</a:t>
            </a:r>
          </a:p>
        </p:txBody>
      </p:sp>
      <p:sp>
        <p:nvSpPr>
          <p:cNvPr id="13" name="TextBox 12">
            <a:extLst>
              <a:ext uri="{FF2B5EF4-FFF2-40B4-BE49-F238E27FC236}">
                <a16:creationId xmlns:a16="http://schemas.microsoft.com/office/drawing/2014/main" id="{DA9F9B14-3A9B-5316-F604-DAED57D3826A}"/>
              </a:ext>
            </a:extLst>
          </p:cNvPr>
          <p:cNvSpPr txBox="1"/>
          <p:nvPr/>
        </p:nvSpPr>
        <p:spPr>
          <a:xfrm>
            <a:off x="5489453" y="6268834"/>
            <a:ext cx="2372118" cy="323165"/>
          </a:xfrm>
          <a:prstGeom prst="rect">
            <a:avLst/>
          </a:prstGeom>
          <a:noFill/>
        </p:spPr>
        <p:txBody>
          <a:bodyPr wrap="square">
            <a:sp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fr-CH" sz="1500" b="1" i="0" u="none" strike="noStrike" kern="1200" cap="none" spc="0" normalizeH="0" baseline="0" noProof="0">
                <a:ln>
                  <a:noFill/>
                </a:ln>
                <a:solidFill>
                  <a:prstClr val="black"/>
                </a:solidFill>
                <a:effectLst/>
                <a:uLnTx/>
                <a:uFillTx/>
                <a:latin typeface="Calibri (body)"/>
                <a:ea typeface="+mn-ea"/>
                <a:cs typeface="Times New Roman" panose="02020603050405020304" pitchFamily="18" charset="0"/>
              </a:rPr>
              <a:t>VE (%)</a:t>
            </a:r>
          </a:p>
        </p:txBody>
      </p:sp>
      <p:sp>
        <p:nvSpPr>
          <p:cNvPr id="20" name="TextBox 19">
            <a:extLst>
              <a:ext uri="{FF2B5EF4-FFF2-40B4-BE49-F238E27FC236}">
                <a16:creationId xmlns:a16="http://schemas.microsoft.com/office/drawing/2014/main" id="{A621E7AC-516B-D225-FC3B-C04EF27245D4}"/>
              </a:ext>
            </a:extLst>
          </p:cNvPr>
          <p:cNvSpPr txBox="1"/>
          <p:nvPr/>
        </p:nvSpPr>
        <p:spPr>
          <a:xfrm>
            <a:off x="9330971" y="1515733"/>
            <a:ext cx="2251044" cy="830997"/>
          </a:xfrm>
          <a:prstGeom prst="rect">
            <a:avLst/>
          </a:prstGeom>
          <a:noFill/>
          <a:ln>
            <a:solidFill>
              <a:schemeClr val="tx1"/>
            </a:solidFill>
          </a:ln>
        </p:spPr>
        <p:txBody>
          <a:bodyPr wrap="squar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Aptos" panose="02110004020202020204"/>
                <a:ea typeface="+mn-ea"/>
                <a:cs typeface="+mn-cs"/>
              </a:rPr>
              <a:t>VE Range</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XBB.1.5 vaccines: -21 to 84%</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JN.1 vaccines: 76-96%</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KP.2 vaccines:</a:t>
            </a:r>
          </a:p>
        </p:txBody>
      </p:sp>
      <p:pic>
        <p:nvPicPr>
          <p:cNvPr id="17" name="Graphic 16" descr="Hospital outline">
            <a:extLst>
              <a:ext uri="{FF2B5EF4-FFF2-40B4-BE49-F238E27FC236}">
                <a16:creationId xmlns:a16="http://schemas.microsoft.com/office/drawing/2014/main" id="{F4895244-C63E-FBB7-9B90-5EA7B95DF3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22815" y="2762312"/>
            <a:ext cx="546958" cy="546958"/>
          </a:xfrm>
          <a:prstGeom prst="rect">
            <a:avLst/>
          </a:prstGeom>
        </p:spPr>
      </p:pic>
      <p:pic>
        <p:nvPicPr>
          <p:cNvPr id="18" name="Graphic 17" descr="Gravestone outline">
            <a:extLst>
              <a:ext uri="{FF2B5EF4-FFF2-40B4-BE49-F238E27FC236}">
                <a16:creationId xmlns:a16="http://schemas.microsoft.com/office/drawing/2014/main" id="{6E4112B2-4D06-FA0F-033C-8B2F043A9DB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01574" y="1655262"/>
            <a:ext cx="436970" cy="436970"/>
          </a:xfrm>
          <a:prstGeom prst="rect">
            <a:avLst/>
          </a:prstGeom>
        </p:spPr>
      </p:pic>
      <p:pic>
        <p:nvPicPr>
          <p:cNvPr id="25" name="Picture 24">
            <a:extLst>
              <a:ext uri="{FF2B5EF4-FFF2-40B4-BE49-F238E27FC236}">
                <a16:creationId xmlns:a16="http://schemas.microsoft.com/office/drawing/2014/main" id="{96C8BBB2-33EF-3E0E-292F-ACE9BF2B6AA8}"/>
              </a:ext>
            </a:extLst>
          </p:cNvPr>
          <p:cNvPicPr>
            <a:picLocks noChangeAspect="1"/>
          </p:cNvPicPr>
          <p:nvPr/>
        </p:nvPicPr>
        <p:blipFill>
          <a:blip r:embed="rId7"/>
          <a:stretch>
            <a:fillRect/>
          </a:stretch>
        </p:blipFill>
        <p:spPr>
          <a:xfrm>
            <a:off x="9573197" y="3739380"/>
            <a:ext cx="2196872" cy="3118379"/>
          </a:xfrm>
          <a:prstGeom prst="rect">
            <a:avLst/>
          </a:prstGeom>
        </p:spPr>
      </p:pic>
      <p:sp>
        <p:nvSpPr>
          <p:cNvPr id="32" name="TextBox 31">
            <a:extLst>
              <a:ext uri="{FF2B5EF4-FFF2-40B4-BE49-F238E27FC236}">
                <a16:creationId xmlns:a16="http://schemas.microsoft.com/office/drawing/2014/main" id="{D4108751-1B5D-E31F-5BBC-6365CD93209E}"/>
              </a:ext>
            </a:extLst>
          </p:cNvPr>
          <p:cNvSpPr txBox="1"/>
          <p:nvPr/>
        </p:nvSpPr>
        <p:spPr>
          <a:xfrm>
            <a:off x="9329357" y="2684092"/>
            <a:ext cx="2252658" cy="830997"/>
          </a:xfrm>
          <a:prstGeom prst="rect">
            <a:avLst/>
          </a:prstGeom>
          <a:noFill/>
          <a:ln>
            <a:solidFill>
              <a:schemeClr val="tx1"/>
            </a:solidFill>
          </a:ln>
        </p:spPr>
        <p:txBody>
          <a:bodyPr wrap="squar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Aptos" panose="02110004020202020204"/>
                <a:ea typeface="+mn-ea"/>
                <a:cs typeface="+mn-cs"/>
              </a:rPr>
              <a:t>VE Range </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XBB.1.5 vaccines: -6 to 78%</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JN.1 vaccines: 43-85%</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KP.2 vaccines: 36-53%</a:t>
            </a:r>
          </a:p>
        </p:txBody>
      </p:sp>
      <p:sp>
        <p:nvSpPr>
          <p:cNvPr id="33" name="TextBox 32">
            <a:extLst>
              <a:ext uri="{FF2B5EF4-FFF2-40B4-BE49-F238E27FC236}">
                <a16:creationId xmlns:a16="http://schemas.microsoft.com/office/drawing/2014/main" id="{48D44F17-CC5D-710F-17A2-940AF4ECE941}"/>
              </a:ext>
            </a:extLst>
          </p:cNvPr>
          <p:cNvSpPr txBox="1"/>
          <p:nvPr/>
        </p:nvSpPr>
        <p:spPr>
          <a:xfrm>
            <a:off x="87971" y="6334576"/>
            <a:ext cx="5075640" cy="307777"/>
          </a:xfrm>
          <a:prstGeom prst="rect">
            <a:avLst/>
          </a:prstGeom>
          <a:noFill/>
          <a:ln>
            <a:solidFill>
              <a:schemeClr val="tx1"/>
            </a:solidFill>
          </a:ln>
        </p:spPr>
        <p:txBody>
          <a:bodyPr wrap="squar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VE estimates for entire follow-up period where available</a:t>
            </a:r>
          </a:p>
        </p:txBody>
      </p:sp>
      <p:pic>
        <p:nvPicPr>
          <p:cNvPr id="7" name="Picture 6">
            <a:extLst>
              <a:ext uri="{FF2B5EF4-FFF2-40B4-BE49-F238E27FC236}">
                <a16:creationId xmlns:a16="http://schemas.microsoft.com/office/drawing/2014/main" id="{E66913FE-7EE3-3626-DBB7-B9F31F99AD9A}"/>
              </a:ext>
            </a:extLst>
          </p:cNvPr>
          <p:cNvPicPr>
            <a:picLocks noChangeAspect="1"/>
          </p:cNvPicPr>
          <p:nvPr/>
        </p:nvPicPr>
        <p:blipFill>
          <a:blip r:embed="rId8"/>
          <a:stretch>
            <a:fillRect/>
          </a:stretch>
        </p:blipFill>
        <p:spPr>
          <a:xfrm>
            <a:off x="609986" y="1493378"/>
            <a:ext cx="7990914" cy="4727637"/>
          </a:xfrm>
          <a:prstGeom prst="rect">
            <a:avLst/>
          </a:prstGeom>
        </p:spPr>
      </p:pic>
      <p:pic>
        <p:nvPicPr>
          <p:cNvPr id="3" name="Graphic 2" descr="Covid-19 outline">
            <a:extLst>
              <a:ext uri="{FF2B5EF4-FFF2-40B4-BE49-F238E27FC236}">
                <a16:creationId xmlns:a16="http://schemas.microsoft.com/office/drawing/2014/main" id="{8504B137-CC22-5BF3-3488-AFD22382501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650941" y="1"/>
            <a:ext cx="512906" cy="512906"/>
          </a:xfrm>
          <a:prstGeom prst="rect">
            <a:avLst/>
          </a:prstGeom>
        </p:spPr>
      </p:pic>
    </p:spTree>
    <p:extLst>
      <p:ext uri="{BB962C8B-B14F-4D97-AF65-F5344CB8AC3E}">
        <p14:creationId xmlns:p14="http://schemas.microsoft.com/office/powerpoint/2010/main" val="33214561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EDE307-8EB2-9AB7-F2D4-CA171A7D55A0}"/>
            </a:ext>
          </a:extLst>
        </p:cNvPr>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8786925D-459B-CEF7-D48F-C4532D229EFE}"/>
              </a:ext>
            </a:extLst>
          </p:cNvPr>
          <p:cNvSpPr>
            <a:spLocks noGrp="1"/>
          </p:cNvSpPr>
          <p:nvPr>
            <p:ph type="sldNum" sz="quarter" idx="12"/>
          </p:nvPr>
        </p:nvSpPr>
        <p:spPr>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27</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9A6B4E1E-8E5A-4988-ED22-0BB6089C42DA}"/>
              </a:ext>
            </a:extLst>
          </p:cNvPr>
          <p:cNvSpPr>
            <a:spLocks noGrp="1"/>
          </p:cNvSpPr>
          <p:nvPr>
            <p:ph type="title"/>
          </p:nvPr>
        </p:nvSpPr>
        <p:spPr>
          <a:xfrm>
            <a:off x="441378" y="212931"/>
            <a:ext cx="10883492" cy="339067"/>
          </a:xfrm>
        </p:spPr>
        <p:txBody>
          <a:bodyPr/>
          <a:lstStyle/>
          <a:p>
            <a:r>
              <a:rPr lang="fr-CH" sz="2426">
                <a:latin typeface="Poppins SemiBold"/>
                <a:ea typeface="Roboto"/>
                <a:cs typeface="Poppins SemiBold"/>
              </a:rPr>
              <a:t>COVID-19 – SAGE OBSERVATIONS &amp; CONCLUSIONS</a:t>
            </a:r>
            <a:endParaRPr lang="en-US" sz="2426">
              <a:latin typeface="Poppins SemiBold"/>
              <a:ea typeface="Roboto"/>
              <a:cs typeface="Poppins SemiBold"/>
            </a:endParaRPr>
          </a:p>
        </p:txBody>
      </p:sp>
      <p:sp>
        <p:nvSpPr>
          <p:cNvPr id="5" name="Text Placeholder 4">
            <a:extLst>
              <a:ext uri="{FF2B5EF4-FFF2-40B4-BE49-F238E27FC236}">
                <a16:creationId xmlns:a16="http://schemas.microsoft.com/office/drawing/2014/main" id="{3BB6DF8A-FFEB-36D6-0B04-F46E9543EC1C}"/>
              </a:ext>
            </a:extLst>
          </p:cNvPr>
          <p:cNvSpPr>
            <a:spLocks noGrp="1"/>
          </p:cNvSpPr>
          <p:nvPr>
            <p:ph type="body" sz="quarter" idx="13"/>
          </p:nvPr>
        </p:nvSpPr>
        <p:spPr>
          <a:xfrm>
            <a:off x="578025" y="1338046"/>
            <a:ext cx="5080927" cy="261290"/>
          </a:xfrm>
        </p:spPr>
        <p:txBody>
          <a:bodyPr/>
          <a:lstStyle/>
          <a:p>
            <a:endParaRPr lang="en-GB"/>
          </a:p>
        </p:txBody>
      </p:sp>
      <p:sp>
        <p:nvSpPr>
          <p:cNvPr id="7" name="Rectangle: Rounded Corners 6">
            <a:extLst>
              <a:ext uri="{FF2B5EF4-FFF2-40B4-BE49-F238E27FC236}">
                <a16:creationId xmlns:a16="http://schemas.microsoft.com/office/drawing/2014/main" id="{B9FC03A8-B11B-F544-EE75-12201AFC859F}"/>
              </a:ext>
            </a:extLst>
          </p:cNvPr>
          <p:cNvSpPr/>
          <p:nvPr/>
        </p:nvSpPr>
        <p:spPr>
          <a:xfrm>
            <a:off x="441379" y="1130990"/>
            <a:ext cx="10892403" cy="998861"/>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34" tIns="45717" rIns="91434" bIns="45717" rtlCol="0" anchor="ctr"/>
          <a:lstStyle/>
          <a:p>
            <a:pPr marL="1198189"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oppins"/>
                <a:ea typeface="+mn-ea"/>
                <a:cs typeface="Poppins"/>
              </a:rPr>
              <a:t>There has been a decline in the number of reported cases and deaths due to COVID-19 globally. The annual uptake of vaccination is low and mainly limited to high-income countries in Europe and the Americas.</a:t>
            </a:r>
          </a:p>
        </p:txBody>
      </p:sp>
      <p:sp>
        <p:nvSpPr>
          <p:cNvPr id="14" name="Rectangle: Rounded Corners 13">
            <a:extLst>
              <a:ext uri="{FF2B5EF4-FFF2-40B4-BE49-F238E27FC236}">
                <a16:creationId xmlns:a16="http://schemas.microsoft.com/office/drawing/2014/main" id="{00245B51-16AF-96E4-0C23-6DEEC1C3C6D1}"/>
              </a:ext>
            </a:extLst>
          </p:cNvPr>
          <p:cNvSpPr/>
          <p:nvPr/>
        </p:nvSpPr>
        <p:spPr>
          <a:xfrm>
            <a:off x="380120" y="2253220"/>
            <a:ext cx="10883492" cy="1224359"/>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oppins"/>
                <a:ea typeface="Source Sans Pro"/>
                <a:cs typeface="Poppins"/>
              </a:rPr>
              <a:t>Variant-adapted COVID-19 vaccines show moderate relative vaccine effectiveness in preventing COVID-19 cases and hospitalizations, though protection wanes by six months.</a:t>
            </a:r>
          </a:p>
        </p:txBody>
      </p:sp>
      <p:sp>
        <p:nvSpPr>
          <p:cNvPr id="15" name="Rectangle: Rounded Corners 14">
            <a:extLst>
              <a:ext uri="{FF2B5EF4-FFF2-40B4-BE49-F238E27FC236}">
                <a16:creationId xmlns:a16="http://schemas.microsoft.com/office/drawing/2014/main" id="{10C3FF98-BCA4-F1A1-9E87-750ACADD1B57}"/>
              </a:ext>
            </a:extLst>
          </p:cNvPr>
          <p:cNvSpPr/>
          <p:nvPr/>
        </p:nvSpPr>
        <p:spPr>
          <a:xfrm>
            <a:off x="431885" y="3751292"/>
            <a:ext cx="10911391" cy="998861"/>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oppins"/>
                <a:ea typeface="Source Sans Pro"/>
                <a:cs typeface="Poppins"/>
              </a:rPr>
              <a:t>The current Roadmap remains valid, though SAGE advised that that the recommendations be reviewed and updated based on the current context and other health priorities in countries.</a:t>
            </a:r>
          </a:p>
        </p:txBody>
      </p:sp>
      <p:sp>
        <p:nvSpPr>
          <p:cNvPr id="10" name="Rectangle: Rounded Corners 9">
            <a:extLst>
              <a:ext uri="{FF2B5EF4-FFF2-40B4-BE49-F238E27FC236}">
                <a16:creationId xmlns:a16="http://schemas.microsoft.com/office/drawing/2014/main" id="{247DB172-E06C-BFF8-7455-A4A9E9A9A75E}"/>
              </a:ext>
            </a:extLst>
          </p:cNvPr>
          <p:cNvSpPr/>
          <p:nvPr/>
        </p:nvSpPr>
        <p:spPr>
          <a:xfrm>
            <a:off x="441378" y="5109241"/>
            <a:ext cx="10911391" cy="1011574"/>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oppins"/>
                <a:ea typeface="Source Sans Pro"/>
                <a:cs typeface="Poppins"/>
              </a:rPr>
              <a:t>SAGE recommended an updated review of the evidence on the effectiveness of COVID-19 vaccines during the Omicron period, with a focus on the effect of vaccination in pregnancy on birth outcomes and infant COVID-19 to reassess the validity of recommendation on vaccination during pregnancy.</a:t>
            </a:r>
          </a:p>
        </p:txBody>
      </p:sp>
      <p:pic>
        <p:nvPicPr>
          <p:cNvPr id="6" name="Graphic 5" descr="Bar graph with downward trend outline">
            <a:extLst>
              <a:ext uri="{FF2B5EF4-FFF2-40B4-BE49-F238E27FC236}">
                <a16:creationId xmlns:a16="http://schemas.microsoft.com/office/drawing/2014/main" id="{55B6FEF2-55C2-850B-5B28-50F6179F30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8218" y="1290569"/>
            <a:ext cx="554493" cy="554493"/>
          </a:xfrm>
          <a:prstGeom prst="rect">
            <a:avLst/>
          </a:prstGeom>
        </p:spPr>
      </p:pic>
      <p:pic>
        <p:nvPicPr>
          <p:cNvPr id="12" name="Graphic 11" descr="Needle outline">
            <a:extLst>
              <a:ext uri="{FF2B5EF4-FFF2-40B4-BE49-F238E27FC236}">
                <a16:creationId xmlns:a16="http://schemas.microsoft.com/office/drawing/2014/main" id="{9392BA06-1073-7963-4E0F-07C41FA3B3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5666" y="2575937"/>
            <a:ext cx="554493" cy="554493"/>
          </a:xfrm>
          <a:prstGeom prst="rect">
            <a:avLst/>
          </a:prstGeom>
        </p:spPr>
      </p:pic>
      <p:pic>
        <p:nvPicPr>
          <p:cNvPr id="16" name="Graphic 15" descr="Highway scene outline">
            <a:extLst>
              <a:ext uri="{FF2B5EF4-FFF2-40B4-BE49-F238E27FC236}">
                <a16:creationId xmlns:a16="http://schemas.microsoft.com/office/drawing/2014/main" id="{29BB5864-973A-2091-0525-69FD2EB9F9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9650" y="3940834"/>
            <a:ext cx="554493" cy="554493"/>
          </a:xfrm>
          <a:prstGeom prst="rect">
            <a:avLst/>
          </a:prstGeom>
        </p:spPr>
      </p:pic>
      <p:pic>
        <p:nvPicPr>
          <p:cNvPr id="18" name="Graphic 17" descr="Research outline">
            <a:extLst>
              <a:ext uri="{FF2B5EF4-FFF2-40B4-BE49-F238E27FC236}">
                <a16:creationId xmlns:a16="http://schemas.microsoft.com/office/drawing/2014/main" id="{E8D62451-8DA2-2A24-6C4A-BC2A42992B8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0979" y="5305743"/>
            <a:ext cx="554493" cy="554493"/>
          </a:xfrm>
          <a:prstGeom prst="rect">
            <a:avLst/>
          </a:prstGeom>
        </p:spPr>
      </p:pic>
      <p:pic>
        <p:nvPicPr>
          <p:cNvPr id="2" name="Graphic 1" descr="Covid-19 outline">
            <a:extLst>
              <a:ext uri="{FF2B5EF4-FFF2-40B4-BE49-F238E27FC236}">
                <a16:creationId xmlns:a16="http://schemas.microsoft.com/office/drawing/2014/main" id="{2D634C69-2C59-BDA2-B010-0B5EC298084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650941" y="1"/>
            <a:ext cx="512906" cy="512906"/>
          </a:xfrm>
          <a:prstGeom prst="rect">
            <a:avLst/>
          </a:prstGeom>
        </p:spPr>
      </p:pic>
    </p:spTree>
    <p:extLst>
      <p:ext uri="{BB962C8B-B14F-4D97-AF65-F5344CB8AC3E}">
        <p14:creationId xmlns:p14="http://schemas.microsoft.com/office/powerpoint/2010/main" val="2990296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oter Placeholder 1">
            <a:extLst>
              <a:ext uri="{FF2B5EF4-FFF2-40B4-BE49-F238E27FC236}">
                <a16:creationId xmlns:a16="http://schemas.microsoft.com/office/drawing/2014/main" id="{F1266A52-6900-161A-89CD-9BE1400C1D08}"/>
              </a:ext>
            </a:extLst>
          </p:cNvPr>
          <p:cNvSpPr>
            <a:spLocks noGrp="1"/>
          </p:cNvSpPr>
          <p:nvPr>
            <p:ph type="ftr" sz="quarter" idx="4294967295"/>
          </p:nvPr>
        </p:nvSpPr>
        <p:spPr>
          <a:xfrm>
            <a:off x="578025" y="6482886"/>
            <a:ext cx="7575183" cy="111982"/>
          </a:xfrm>
          <a:prstGeom prst="rect">
            <a:avLst/>
          </a:prstGeom>
        </p:spPr>
        <p:txBody>
          <a:bodyPr/>
          <a:lstStyle/>
          <a:p>
            <a:pPr marL="0" marR="0" lvl="0" indent="0" algn="l" defTabSz="554492" rtl="0" eaLnBrk="1" fontAlgn="auto" latinLnBrk="0" hangingPunct="1">
              <a:lnSpc>
                <a:spcPct val="100000"/>
              </a:lnSpc>
              <a:spcBef>
                <a:spcPts val="0"/>
              </a:spcBef>
              <a:spcAft>
                <a:spcPts val="364"/>
              </a:spcAft>
              <a:buClrTx/>
              <a:buSzTx/>
              <a:buFontTx/>
              <a:buNone/>
              <a:tabLst/>
              <a:defRPr/>
            </a:pPr>
            <a:r>
              <a:rPr kumimoji="0" lang="en-GB" sz="1092" b="0" i="0" u="none" strike="noStrike" kern="1200" cap="none" spc="0" normalizeH="0" baseline="0" noProof="0">
                <a:ln>
                  <a:noFill/>
                </a:ln>
                <a:solidFill>
                  <a:srgbClr val="000000"/>
                </a:solidFill>
                <a:effectLst/>
                <a:uLnTx/>
                <a:uFillTx/>
                <a:latin typeface="Poppins"/>
                <a:ea typeface="+mn-ea"/>
                <a:cs typeface="+mn-cs"/>
              </a:rPr>
              <a:t>Immunization, Vaccines and Biologicals</a:t>
            </a:r>
          </a:p>
        </p:txBody>
      </p:sp>
      <p:sp>
        <p:nvSpPr>
          <p:cNvPr id="5" name="Title 4">
            <a:extLst>
              <a:ext uri="{FF2B5EF4-FFF2-40B4-BE49-F238E27FC236}">
                <a16:creationId xmlns:a16="http://schemas.microsoft.com/office/drawing/2014/main" id="{64C83FF4-B801-9B76-2868-41BE90236769}"/>
              </a:ext>
            </a:extLst>
          </p:cNvPr>
          <p:cNvSpPr>
            <a:spLocks noGrp="1"/>
          </p:cNvSpPr>
          <p:nvPr>
            <p:ph type="body" sz="quarter" idx="13"/>
          </p:nvPr>
        </p:nvSpPr>
        <p:spPr>
          <a:xfrm>
            <a:off x="1498330" y="2863649"/>
            <a:ext cx="9195342" cy="1130703"/>
          </a:xfrm>
        </p:spPr>
        <p:txBody>
          <a:bodyPr wrap="square" anchor="ctr">
            <a:normAutofit/>
          </a:bodyPr>
          <a:lstStyle/>
          <a:p>
            <a:r>
              <a:rPr lang="en-GB"/>
              <a:t>NEW TUBERCULOSIS VACCINE</a:t>
            </a:r>
          </a:p>
        </p:txBody>
      </p:sp>
      <p:sp>
        <p:nvSpPr>
          <p:cNvPr id="2" name="Slide Number Placeholder 5">
            <a:extLst>
              <a:ext uri="{FF2B5EF4-FFF2-40B4-BE49-F238E27FC236}">
                <a16:creationId xmlns:a16="http://schemas.microsoft.com/office/drawing/2014/main" id="{64EDCC5D-FFE7-9139-59BE-D6F39FD02695}"/>
              </a:ext>
            </a:extLst>
          </p:cNvPr>
          <p:cNvSpPr txBox="1">
            <a:spLocks/>
          </p:cNvSpPr>
          <p:nvPr/>
        </p:nvSpPr>
        <p:spPr>
          <a:xfrm>
            <a:off x="10693671" y="6482886"/>
            <a:ext cx="897133" cy="112018"/>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28</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pic>
        <p:nvPicPr>
          <p:cNvPr id="3" name="Picture 2" descr="Tuberculosis Icons - Free SVG &amp; PNG Tuberculosis Images ...">
            <a:extLst>
              <a:ext uri="{FF2B5EF4-FFF2-40B4-BE49-F238E27FC236}">
                <a16:creationId xmlns:a16="http://schemas.microsoft.com/office/drawing/2014/main" id="{1D5FD3D0-E67E-5EE3-9DF3-94202874DD9B}"/>
              </a:ext>
            </a:extLst>
          </p:cNvPr>
          <p:cNvPicPr>
            <a:picLocks noChangeAspect="1" noChangeArrowheads="1"/>
          </p:cNvPicPr>
          <p:nvPr/>
        </p:nvPicPr>
        <p:blipFill>
          <a:blip r:embed="rId2" cstate="screen">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93671" y="375114"/>
            <a:ext cx="1012202" cy="10122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525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85CAFA45-9A6D-4D22-886F-60C6CC0A0040}"/>
              </a:ext>
            </a:extLst>
          </p:cNvPr>
          <p:cNvSpPr>
            <a:spLocks noGrp="1"/>
          </p:cNvSpPr>
          <p:nvPr>
            <p:ph type="title"/>
          </p:nvPr>
        </p:nvSpPr>
        <p:spPr>
          <a:xfrm>
            <a:off x="346178" y="304130"/>
            <a:ext cx="9742849" cy="403133"/>
          </a:xfrm>
          <a:prstGeom prst="rect">
            <a:avLst/>
          </a:prstGeom>
        </p:spPr>
        <p:txBody>
          <a:bodyPr>
            <a:noAutofit/>
          </a:bodyPr>
          <a:lstStyle/>
          <a:p>
            <a:pPr algn="l"/>
            <a:r>
              <a:rPr lang="en-US" sz="3600">
                <a:solidFill>
                  <a:schemeClr val="accent6"/>
                </a:solidFill>
                <a:latin typeface="Century Gothic" panose="020B0502020202020204" pitchFamily="34" charset="0"/>
              </a:rPr>
              <a:t>The global TB situation</a:t>
            </a:r>
          </a:p>
        </p:txBody>
      </p:sp>
      <p:grpSp>
        <p:nvGrpSpPr>
          <p:cNvPr id="31" name="Group 30">
            <a:extLst>
              <a:ext uri="{FF2B5EF4-FFF2-40B4-BE49-F238E27FC236}">
                <a16:creationId xmlns:a16="http://schemas.microsoft.com/office/drawing/2014/main" id="{8159FEF1-BA0B-4161-8328-4A795EC98DC8}"/>
              </a:ext>
            </a:extLst>
          </p:cNvPr>
          <p:cNvGrpSpPr/>
          <p:nvPr/>
        </p:nvGrpSpPr>
        <p:grpSpPr>
          <a:xfrm>
            <a:off x="427" y="1497289"/>
            <a:ext cx="10320448" cy="5244057"/>
            <a:chOff x="1262632" y="1352550"/>
            <a:chExt cx="9313660" cy="5296146"/>
          </a:xfrm>
        </p:grpSpPr>
        <p:grpSp>
          <p:nvGrpSpPr>
            <p:cNvPr id="32" name="Group 17">
              <a:extLst>
                <a:ext uri="{FF2B5EF4-FFF2-40B4-BE49-F238E27FC236}">
                  <a16:creationId xmlns:a16="http://schemas.microsoft.com/office/drawing/2014/main" id="{330990B0-9D7D-4A80-B7E9-A460B260E96B}"/>
                </a:ext>
              </a:extLst>
            </p:cNvPr>
            <p:cNvGrpSpPr>
              <a:grpSpLocks/>
            </p:cNvGrpSpPr>
            <p:nvPr/>
          </p:nvGrpSpPr>
          <p:grpSpPr bwMode="auto">
            <a:xfrm>
              <a:off x="1436745" y="1352550"/>
              <a:ext cx="9139547" cy="4518273"/>
              <a:chOff x="-41430" y="1410608"/>
              <a:chExt cx="9175039" cy="4518021"/>
            </a:xfrm>
          </p:grpSpPr>
          <p:sp>
            <p:nvSpPr>
              <p:cNvPr id="42" name="Rectangle 2">
                <a:extLst>
                  <a:ext uri="{FF2B5EF4-FFF2-40B4-BE49-F238E27FC236}">
                    <a16:creationId xmlns:a16="http://schemas.microsoft.com/office/drawing/2014/main" id="{DE10B5D0-516C-4CE8-B101-329EDC77C59B}"/>
                  </a:ext>
                </a:extLst>
              </p:cNvPr>
              <p:cNvSpPr>
                <a:spLocks noChangeArrowheads="1"/>
              </p:cNvSpPr>
              <p:nvPr/>
            </p:nvSpPr>
            <p:spPr bwMode="auto">
              <a:xfrm>
                <a:off x="3021108" y="1410608"/>
                <a:ext cx="2978364" cy="528388"/>
              </a:xfrm>
              <a:prstGeom prst="rect">
                <a:avLst/>
              </a:prstGeom>
              <a:solidFill>
                <a:srgbClr val="FF61A1"/>
              </a:solidFill>
              <a:ln w="9525">
                <a:noFill/>
                <a:miter lim="800000"/>
                <a:headEnd/>
                <a:tailEnd/>
              </a:ln>
            </p:spPr>
            <p:txBody>
              <a:bodyPr wrap="square">
                <a:spAutoFit/>
              </a:bodyPr>
              <a:lstStyle/>
              <a:p>
                <a:pPr marL="0" marR="0" lvl="0" indent="0" algn="ctr" defTabSz="554492" rtl="0" eaLnBrk="1" fontAlgn="auto" latinLnBrk="0" hangingPunct="1">
                  <a:lnSpc>
                    <a:spcPct val="100000"/>
                  </a:lnSpc>
                  <a:spcBef>
                    <a:spcPct val="20000"/>
                  </a:spcBef>
                  <a:spcAft>
                    <a:spcPts val="0"/>
                  </a:spcAft>
                  <a:buClrTx/>
                  <a:buSzTx/>
                  <a:buFontTx/>
                  <a:buNone/>
                  <a:tabLst/>
                  <a:defRPr/>
                </a:pPr>
                <a:r>
                  <a:rPr kumimoji="0" lang="en-GB" sz="2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Estimated incidence</a:t>
                </a:r>
              </a:p>
            </p:txBody>
          </p:sp>
          <p:sp>
            <p:nvSpPr>
              <p:cNvPr id="43" name="Rectangle 3">
                <a:extLst>
                  <a:ext uri="{FF2B5EF4-FFF2-40B4-BE49-F238E27FC236}">
                    <a16:creationId xmlns:a16="http://schemas.microsoft.com/office/drawing/2014/main" id="{69D1210B-2539-4F28-92D0-F70D8F512694}"/>
                  </a:ext>
                </a:extLst>
              </p:cNvPr>
              <p:cNvSpPr>
                <a:spLocks noChangeArrowheads="1"/>
              </p:cNvSpPr>
              <p:nvPr/>
            </p:nvSpPr>
            <p:spPr bwMode="auto">
              <a:xfrm>
                <a:off x="6154213" y="1413340"/>
                <a:ext cx="2979396" cy="528388"/>
              </a:xfrm>
              <a:prstGeom prst="rect">
                <a:avLst/>
              </a:prstGeom>
              <a:solidFill>
                <a:srgbClr val="FF61A1"/>
              </a:solidFill>
              <a:ln w="9525">
                <a:noFill/>
                <a:miter lim="800000"/>
                <a:headEnd/>
                <a:tailEnd/>
              </a:ln>
            </p:spPr>
            <p:txBody>
              <a:bodyPr wrap="square">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Estimated deaths</a:t>
                </a:r>
                <a:endParaRPr kumimoji="0" lang="en-US" sz="2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 name="Rectangle 4">
                <a:extLst>
                  <a:ext uri="{FF2B5EF4-FFF2-40B4-BE49-F238E27FC236}">
                    <a16:creationId xmlns:a16="http://schemas.microsoft.com/office/drawing/2014/main" id="{02F3A9D8-EB66-4A78-9354-D4B90FAAC8E4}"/>
                  </a:ext>
                </a:extLst>
              </p:cNvPr>
              <p:cNvSpPr>
                <a:spLocks noChangeArrowheads="1"/>
              </p:cNvSpPr>
              <p:nvPr/>
            </p:nvSpPr>
            <p:spPr bwMode="auto">
              <a:xfrm>
                <a:off x="6310192" y="1997661"/>
                <a:ext cx="2700337" cy="975963"/>
              </a:xfrm>
              <a:prstGeom prst="rect">
                <a:avLst/>
              </a:prstGeom>
              <a:noFill/>
              <a:ln w="9525">
                <a:noFill/>
                <a:miter lim="800000"/>
                <a:headEnd/>
                <a:tailEnd/>
              </a:ln>
            </p:spPr>
            <p:txBody>
              <a:bodyPr>
                <a:spAutoFit/>
              </a:bodyPr>
              <a:lstStyle/>
              <a:p>
                <a:pPr marL="0" marR="0" lvl="0" indent="0" algn="ctr" defTabSz="554492" rtl="0" eaLnBrk="1" fontAlgn="auto" latinLnBrk="0" hangingPunct="1">
                  <a:lnSpc>
                    <a:spcPct val="100000"/>
                  </a:lnSpc>
                  <a:spcBef>
                    <a:spcPct val="20000"/>
                  </a:spcBef>
                  <a:spcAft>
                    <a:spcPts val="0"/>
                  </a:spcAft>
                  <a:buClrTx/>
                  <a:buSzTx/>
                  <a:buFontTx/>
                  <a:buNone/>
                  <a:tabLst/>
                  <a:defRPr/>
                </a:pPr>
                <a:r>
                  <a:rPr kumimoji="0" lang="en-GB" sz="2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1.09 million*</a:t>
                </a:r>
              </a:p>
              <a:p>
                <a:pPr marL="0" marR="0" lvl="0" indent="0" algn="ctr" defTabSz="554492" rtl="0" eaLnBrk="1" fontAlgn="auto" latinLnBrk="0" hangingPunct="1">
                  <a:lnSpc>
                    <a:spcPct val="100000"/>
                  </a:lnSpc>
                  <a:spcBef>
                    <a:spcPct val="20000"/>
                  </a:spcBef>
                  <a:spcAft>
                    <a:spcPts val="0"/>
                  </a:spcAft>
                  <a:buClrTx/>
                  <a:buSzTx/>
                  <a:buFontTx/>
                  <a:buNone/>
                  <a:tabLst/>
                  <a:defRPr/>
                </a:pPr>
                <a:r>
                  <a:rPr kumimoji="0" lang="en-GB"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0.98</a:t>
                </a:r>
                <a:r>
                  <a:rPr kumimoji="0" lang="fr-FR"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1.2 </a:t>
                </a:r>
                <a:r>
                  <a:rPr kumimoji="0" lang="en-GB"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illion)</a:t>
                </a:r>
              </a:p>
            </p:txBody>
          </p:sp>
          <p:sp>
            <p:nvSpPr>
              <p:cNvPr id="45" name="Rectangle 5">
                <a:extLst>
                  <a:ext uri="{FF2B5EF4-FFF2-40B4-BE49-F238E27FC236}">
                    <a16:creationId xmlns:a16="http://schemas.microsoft.com/office/drawing/2014/main" id="{2E26AF23-70D7-4E30-88F1-5E43475E2F35}"/>
                  </a:ext>
                </a:extLst>
              </p:cNvPr>
              <p:cNvSpPr>
                <a:spLocks noChangeArrowheads="1"/>
              </p:cNvSpPr>
              <p:nvPr/>
            </p:nvSpPr>
            <p:spPr bwMode="auto">
              <a:xfrm>
                <a:off x="3028746" y="1997661"/>
                <a:ext cx="2778125" cy="1348943"/>
              </a:xfrm>
              <a:prstGeom prst="rect">
                <a:avLst/>
              </a:prstGeom>
              <a:noFill/>
              <a:ln w="9525">
                <a:noFill/>
                <a:miter lim="800000"/>
                <a:headEnd/>
                <a:tailEnd/>
              </a:ln>
            </p:spPr>
            <p:txBody>
              <a:bodyPr>
                <a:spAutoFit/>
              </a:bodyPr>
              <a:lstStyle/>
              <a:p>
                <a:pPr marL="0" marR="0" lvl="0" indent="0" algn="ctr" defTabSz="554492" rtl="0" eaLnBrk="1" fontAlgn="auto" latinLnBrk="0" hangingPunct="1">
                  <a:lnSpc>
                    <a:spcPct val="100000"/>
                  </a:lnSpc>
                  <a:spcBef>
                    <a:spcPct val="20000"/>
                  </a:spcBef>
                  <a:spcAft>
                    <a:spcPts val="0"/>
                  </a:spcAft>
                  <a:buClrTx/>
                  <a:buSzTx/>
                  <a:buFontTx/>
                  <a:buNone/>
                  <a:tabLst/>
                  <a:defRPr/>
                </a:pPr>
                <a:r>
                  <a:rPr kumimoji="0" lang="en-GB" sz="2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10.8 million</a:t>
                </a:r>
              </a:p>
              <a:p>
                <a:pPr marL="0" marR="0" lvl="0" indent="0" algn="ctr" defTabSz="554492" rtl="0" eaLnBrk="1" fontAlgn="auto" latinLnBrk="0" hangingPunct="1">
                  <a:lnSpc>
                    <a:spcPct val="100000"/>
                  </a:lnSpc>
                  <a:spcBef>
                    <a:spcPct val="20000"/>
                  </a:spcBef>
                  <a:spcAft>
                    <a:spcPts val="0"/>
                  </a:spcAft>
                  <a:buClrTx/>
                  <a:buSzTx/>
                  <a:buFontTx/>
                  <a:buNone/>
                  <a:tabLst/>
                  <a:defRPr/>
                </a:pPr>
                <a:r>
                  <a:rPr kumimoji="0" lang="en-GB"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10.1–11.7 million)</a:t>
                </a:r>
              </a:p>
              <a:p>
                <a:pPr marL="0" marR="0" lvl="0" indent="0" algn="ctr" defTabSz="554492" rtl="0" eaLnBrk="1" fontAlgn="auto" latinLnBrk="0" hangingPunct="1">
                  <a:lnSpc>
                    <a:spcPct val="100000"/>
                  </a:lnSpc>
                  <a:spcBef>
                    <a:spcPct val="2000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55% men | 12% &lt;15y</a:t>
                </a:r>
              </a:p>
            </p:txBody>
          </p:sp>
          <p:sp>
            <p:nvSpPr>
              <p:cNvPr id="47" name="Rectangle 7">
                <a:extLst>
                  <a:ext uri="{FF2B5EF4-FFF2-40B4-BE49-F238E27FC236}">
                    <a16:creationId xmlns:a16="http://schemas.microsoft.com/office/drawing/2014/main" id="{84BB98ED-12FD-4F30-941D-14A5317F474E}"/>
                  </a:ext>
                </a:extLst>
              </p:cNvPr>
              <p:cNvSpPr>
                <a:spLocks noChangeArrowheads="1"/>
              </p:cNvSpPr>
              <p:nvPr/>
            </p:nvSpPr>
            <p:spPr bwMode="auto">
              <a:xfrm>
                <a:off x="-41430" y="2086476"/>
                <a:ext cx="3182960" cy="1359951"/>
              </a:xfrm>
              <a:prstGeom prst="rect">
                <a:avLst/>
              </a:prstGeom>
              <a:solidFill>
                <a:srgbClr val="7030A0"/>
              </a:solidFill>
              <a:ln w="9525">
                <a:noFill/>
                <a:miter lim="800000"/>
                <a:headEnd/>
                <a:tailEnd/>
              </a:ln>
            </p:spPr>
            <p:txBody>
              <a:bodyPr wrap="square">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GB" sz="3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ll forms of TB, 2023</a:t>
                </a:r>
              </a:p>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9" name="Rectangle 9">
                <a:extLst>
                  <a:ext uri="{FF2B5EF4-FFF2-40B4-BE49-F238E27FC236}">
                    <a16:creationId xmlns:a16="http://schemas.microsoft.com/office/drawing/2014/main" id="{A93F02E3-7AC6-4257-A040-E489A3EB533B}"/>
                  </a:ext>
                </a:extLst>
              </p:cNvPr>
              <p:cNvSpPr>
                <a:spLocks noChangeArrowheads="1"/>
              </p:cNvSpPr>
              <p:nvPr/>
            </p:nvSpPr>
            <p:spPr bwMode="auto">
              <a:xfrm>
                <a:off x="-41430" y="3855404"/>
                <a:ext cx="3182964" cy="1150020"/>
              </a:xfrm>
              <a:prstGeom prst="rect">
                <a:avLst/>
              </a:prstGeom>
              <a:solidFill>
                <a:srgbClr val="7030A0"/>
              </a:solidFill>
              <a:ln w="9525">
                <a:noFill/>
                <a:miter lim="800000"/>
                <a:headEnd/>
                <a:tailEnd/>
              </a:ln>
            </p:spPr>
            <p:txBody>
              <a:bodyPr wrap="square">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GB" sz="3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HIV-associated TB, 2023</a:t>
                </a:r>
              </a:p>
            </p:txBody>
          </p:sp>
          <p:sp>
            <p:nvSpPr>
              <p:cNvPr id="50" name="Rectangle 10">
                <a:extLst>
                  <a:ext uri="{FF2B5EF4-FFF2-40B4-BE49-F238E27FC236}">
                    <a16:creationId xmlns:a16="http://schemas.microsoft.com/office/drawing/2014/main" id="{BA85F545-8974-483D-93E4-734E138CBB18}"/>
                  </a:ext>
                </a:extLst>
              </p:cNvPr>
              <p:cNvSpPr>
                <a:spLocks noChangeArrowheads="1"/>
              </p:cNvSpPr>
              <p:nvPr/>
            </p:nvSpPr>
            <p:spPr bwMode="auto">
              <a:xfrm>
                <a:off x="2980262" y="3872219"/>
                <a:ext cx="2808311" cy="963530"/>
              </a:xfrm>
              <a:prstGeom prst="rect">
                <a:avLst/>
              </a:prstGeom>
              <a:noFill/>
              <a:ln w="9525">
                <a:noFill/>
                <a:miter lim="800000"/>
                <a:headEnd/>
                <a:tailEnd/>
              </a:ln>
            </p:spPr>
            <p:txBody>
              <a:bodyPr>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662,000</a:t>
                </a:r>
              </a:p>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GB"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589,000–739,000)</a:t>
                </a:r>
              </a:p>
            </p:txBody>
          </p:sp>
          <p:sp>
            <p:nvSpPr>
              <p:cNvPr id="51" name="Rectangle 11">
                <a:extLst>
                  <a:ext uri="{FF2B5EF4-FFF2-40B4-BE49-F238E27FC236}">
                    <a16:creationId xmlns:a16="http://schemas.microsoft.com/office/drawing/2014/main" id="{08629176-8B86-410D-ACC0-F80DE0E9018F}"/>
                  </a:ext>
                </a:extLst>
              </p:cNvPr>
              <p:cNvSpPr>
                <a:spLocks noChangeArrowheads="1"/>
              </p:cNvSpPr>
              <p:nvPr/>
            </p:nvSpPr>
            <p:spPr bwMode="auto">
              <a:xfrm>
                <a:off x="6249535" y="3869376"/>
                <a:ext cx="2759454" cy="901367"/>
              </a:xfrm>
              <a:prstGeom prst="rect">
                <a:avLst/>
              </a:prstGeom>
              <a:noFill/>
              <a:ln w="9525">
                <a:noFill/>
                <a:miter lim="800000"/>
                <a:headEnd/>
                <a:tailEnd/>
              </a:ln>
            </p:spPr>
            <p:txBody>
              <a:bodyPr>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161,000</a:t>
                </a:r>
              </a:p>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132,000–193,000)</a:t>
                </a:r>
              </a:p>
            </p:txBody>
          </p:sp>
          <p:cxnSp>
            <p:nvCxnSpPr>
              <p:cNvPr id="53" name="Straight Connector 16">
                <a:extLst>
                  <a:ext uri="{FF2B5EF4-FFF2-40B4-BE49-F238E27FC236}">
                    <a16:creationId xmlns:a16="http://schemas.microsoft.com/office/drawing/2014/main" id="{B35F29B8-898E-4FC7-827A-4B46642D1482}"/>
                  </a:ext>
                </a:extLst>
              </p:cNvPr>
              <p:cNvCxnSpPr>
                <a:cxnSpLocks noChangeShapeType="1"/>
              </p:cNvCxnSpPr>
              <p:nvPr/>
            </p:nvCxnSpPr>
            <p:spPr bwMode="auto">
              <a:xfrm>
                <a:off x="6019054" y="1997661"/>
                <a:ext cx="0" cy="3930968"/>
              </a:xfrm>
              <a:prstGeom prst="line">
                <a:avLst/>
              </a:prstGeom>
              <a:noFill/>
              <a:ln w="9525" algn="ctr">
                <a:solidFill>
                  <a:schemeClr val="tx1"/>
                </a:solidFill>
                <a:round/>
                <a:headEnd/>
                <a:tailEnd/>
              </a:ln>
            </p:spPr>
          </p:cxnSp>
        </p:grpSp>
        <p:sp>
          <p:nvSpPr>
            <p:cNvPr id="33" name="TextBox 14">
              <a:extLst>
                <a:ext uri="{FF2B5EF4-FFF2-40B4-BE49-F238E27FC236}">
                  <a16:creationId xmlns:a16="http://schemas.microsoft.com/office/drawing/2014/main" id="{3D4D1814-9540-416E-9227-51A5C6FA7FA5}"/>
                </a:ext>
              </a:extLst>
            </p:cNvPr>
            <p:cNvSpPr txBox="1">
              <a:spLocks noChangeArrowheads="1"/>
            </p:cNvSpPr>
            <p:nvPr/>
          </p:nvSpPr>
          <p:spPr bwMode="auto">
            <a:xfrm>
              <a:off x="1262632" y="6306779"/>
              <a:ext cx="3457451" cy="341917"/>
            </a:xfrm>
            <a:prstGeom prst="rect">
              <a:avLst/>
            </a:prstGeom>
            <a:noFill/>
            <a:ln w="9525">
              <a:noFill/>
              <a:miter lim="800000"/>
              <a:headEnd/>
              <a:tailEnd/>
            </a:ln>
          </p:spPr>
          <p:txBody>
            <a:bodyPr wrap="square">
              <a:spAutoFit/>
            </a:bodyPr>
            <a:lstStyle/>
            <a:p>
              <a:pPr marL="0" marR="0" lvl="0" indent="0" algn="r" defTabSz="554492"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3300"/>
                  </a:solidFill>
                  <a:effectLst/>
                  <a:uLnTx/>
                  <a:uFillTx/>
                  <a:latin typeface="Calibri" panose="020F0502020204030204" pitchFamily="34" charset="0"/>
                  <a:ea typeface="+mn-ea"/>
                  <a:cs typeface="Calibri" panose="020F0502020204030204" pitchFamily="34" charset="0"/>
                </a:rPr>
                <a:t>* Excluding deaths attributed to HIV/TB</a:t>
              </a:r>
            </a:p>
          </p:txBody>
        </p:sp>
      </p:grpSp>
      <p:sp>
        <p:nvSpPr>
          <p:cNvPr id="3" name="TextBox 2">
            <a:extLst>
              <a:ext uri="{FF2B5EF4-FFF2-40B4-BE49-F238E27FC236}">
                <a16:creationId xmlns:a16="http://schemas.microsoft.com/office/drawing/2014/main" id="{60E6541D-E94A-4E92-9C5C-A38B29BE3A42}"/>
              </a:ext>
            </a:extLst>
          </p:cNvPr>
          <p:cNvSpPr txBox="1"/>
          <p:nvPr/>
        </p:nvSpPr>
        <p:spPr>
          <a:xfrm>
            <a:off x="164720" y="852203"/>
            <a:ext cx="10156156" cy="523220"/>
          </a:xfrm>
          <a:prstGeom prst="rect">
            <a:avLst/>
          </a:prstGeom>
          <a:noFill/>
        </p:spPr>
        <p:txBody>
          <a:bodyPr wrap="square" rtlCol="0">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2800" b="0" i="1" u="none" strike="noStrike" kern="1200" cap="none" spc="0" normalizeH="0" baseline="0" noProof="0">
                <a:ln>
                  <a:noFill/>
                </a:ln>
                <a:solidFill>
                  <a:srgbClr val="00785A"/>
                </a:solidFill>
                <a:effectLst/>
                <a:uLnTx/>
                <a:uFillTx/>
                <a:latin typeface="Calibri" panose="020F0502020204030204" pitchFamily="34" charset="0"/>
                <a:ea typeface="+mn-ea"/>
                <a:cs typeface="Calibri" panose="020F0502020204030204" pitchFamily="34" charset="0"/>
              </a:rPr>
              <a:t>A quarter of the world’s population has been infected with TB bacilli.</a:t>
            </a:r>
          </a:p>
        </p:txBody>
      </p:sp>
      <p:cxnSp>
        <p:nvCxnSpPr>
          <p:cNvPr id="23" name="Straight Connector 22">
            <a:extLst>
              <a:ext uri="{FF2B5EF4-FFF2-40B4-BE49-F238E27FC236}">
                <a16:creationId xmlns:a16="http://schemas.microsoft.com/office/drawing/2014/main" id="{4A9EF08B-1AD5-4B12-BDAF-F2D78245F82C}"/>
              </a:ext>
            </a:extLst>
          </p:cNvPr>
          <p:cNvCxnSpPr/>
          <p:nvPr/>
        </p:nvCxnSpPr>
        <p:spPr>
          <a:xfrm flipV="1">
            <a:off x="377563" y="3766807"/>
            <a:ext cx="9894329" cy="16374"/>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B5E1060-06E1-4F32-B590-8306EC2CC8D6}"/>
              </a:ext>
            </a:extLst>
          </p:cNvPr>
          <p:cNvCxnSpPr/>
          <p:nvPr/>
        </p:nvCxnSpPr>
        <p:spPr>
          <a:xfrm flipV="1">
            <a:off x="346110" y="5954752"/>
            <a:ext cx="9894329" cy="16374"/>
          </a:xfrm>
          <a:prstGeom prst="line">
            <a:avLst/>
          </a:prstGeom>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2CEF6009-272B-BBF4-990F-3000F4003A79}"/>
              </a:ext>
            </a:extLst>
          </p:cNvPr>
          <p:cNvCxnSpPr/>
          <p:nvPr/>
        </p:nvCxnSpPr>
        <p:spPr>
          <a:xfrm flipV="1">
            <a:off x="346069" y="5116867"/>
            <a:ext cx="9894329" cy="16374"/>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9">
            <a:extLst>
              <a:ext uri="{FF2B5EF4-FFF2-40B4-BE49-F238E27FC236}">
                <a16:creationId xmlns:a16="http://schemas.microsoft.com/office/drawing/2014/main" id="{4AB70CCE-E62A-7E32-A3F1-522BC710C9F1}"/>
              </a:ext>
            </a:extLst>
          </p:cNvPr>
          <p:cNvSpPr>
            <a:spLocks noChangeArrowheads="1"/>
          </p:cNvSpPr>
          <p:nvPr/>
        </p:nvSpPr>
        <p:spPr bwMode="auto">
          <a:xfrm>
            <a:off x="193361" y="5189136"/>
            <a:ext cx="3513389" cy="615553"/>
          </a:xfrm>
          <a:prstGeom prst="rect">
            <a:avLst/>
          </a:prstGeom>
          <a:solidFill>
            <a:srgbClr val="7030A0"/>
          </a:solidFill>
          <a:ln w="9525">
            <a:noFill/>
            <a:miter lim="800000"/>
            <a:headEnd/>
            <a:tailEnd/>
          </a:ln>
        </p:spPr>
        <p:txBody>
          <a:bodyPr wrap="square">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GB" sz="3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MDR/RR-TB, 2023</a:t>
            </a:r>
          </a:p>
        </p:txBody>
      </p:sp>
      <p:sp>
        <p:nvSpPr>
          <p:cNvPr id="7" name="Rectangle 10">
            <a:extLst>
              <a:ext uri="{FF2B5EF4-FFF2-40B4-BE49-F238E27FC236}">
                <a16:creationId xmlns:a16="http://schemas.microsoft.com/office/drawing/2014/main" id="{23F2A4AE-03B4-9D17-673A-C44ABBA8AFA1}"/>
              </a:ext>
            </a:extLst>
          </p:cNvPr>
          <p:cNvSpPr>
            <a:spLocks noChangeArrowheads="1"/>
          </p:cNvSpPr>
          <p:nvPr/>
        </p:nvSpPr>
        <p:spPr bwMode="auto">
          <a:xfrm>
            <a:off x="3525594" y="5125586"/>
            <a:ext cx="3099846" cy="812530"/>
          </a:xfrm>
          <a:prstGeom prst="rect">
            <a:avLst/>
          </a:prstGeom>
          <a:noFill/>
          <a:ln w="9525">
            <a:noFill/>
            <a:miter lim="800000"/>
            <a:headEnd/>
            <a:tailEnd/>
          </a:ln>
        </p:spPr>
        <p:txBody>
          <a:bodyPr>
            <a:spAutoFit/>
          </a:bodyPr>
          <a:lstStyle/>
          <a:p>
            <a:pPr marL="0" marR="0" lvl="0" indent="0" algn="ctr" defTabSz="554492" rtl="0" eaLnBrk="1" fontAlgn="base" latinLnBrk="0" hangingPunct="1">
              <a:lnSpc>
                <a:spcPct val="90000"/>
              </a:lnSpc>
              <a:spcBef>
                <a:spcPct val="80000"/>
              </a:spcBef>
              <a:spcAft>
                <a:spcPct val="0"/>
              </a:spcAft>
              <a:buClr>
                <a:srgbClr val="1E7FB8"/>
              </a:buClr>
              <a:buSzTx/>
              <a:buFontTx/>
              <a:buNone/>
              <a:tabLst/>
              <a:defRPr/>
            </a:pPr>
            <a:r>
              <a:rPr kumimoji="0" lang="en-GB" sz="2800" b="0" i="0" u="none" strike="noStrike" kern="1200" cap="none" spc="0" normalizeH="0" baseline="0" noProof="0">
                <a:ln>
                  <a:noFill/>
                </a:ln>
                <a:solidFill>
                  <a:srgbClr val="000066"/>
                </a:solidFill>
                <a:effectLst/>
                <a:uLnTx/>
                <a:uFillTx/>
                <a:latin typeface="Calibri" panose="020F0502020204030204" pitchFamily="34" charset="0"/>
                <a:ea typeface="+mn-ea"/>
                <a:cs typeface="Calibri" panose="020F0502020204030204" pitchFamily="34" charset="0"/>
              </a:rPr>
              <a:t>  </a:t>
            </a:r>
            <a:r>
              <a:rPr kumimoji="0" lang="en-GB" sz="2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400,000</a:t>
            </a:r>
            <a:br>
              <a:rPr kumimoji="0" lang="en-GB" sz="2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br>
            <a:r>
              <a:rPr kumimoji="0" lang="en-GB"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360,000–440,000)</a:t>
            </a:r>
          </a:p>
        </p:txBody>
      </p:sp>
      <p:sp>
        <p:nvSpPr>
          <p:cNvPr id="8" name="Rectangle 11">
            <a:extLst>
              <a:ext uri="{FF2B5EF4-FFF2-40B4-BE49-F238E27FC236}">
                <a16:creationId xmlns:a16="http://schemas.microsoft.com/office/drawing/2014/main" id="{0F4EA4B8-49F4-B461-DC03-7F0D88C961EA}"/>
              </a:ext>
            </a:extLst>
          </p:cNvPr>
          <p:cNvSpPr>
            <a:spLocks noChangeArrowheads="1"/>
          </p:cNvSpPr>
          <p:nvPr/>
        </p:nvSpPr>
        <p:spPr bwMode="auto">
          <a:xfrm>
            <a:off x="7137401" y="5171091"/>
            <a:ext cx="3045917" cy="812530"/>
          </a:xfrm>
          <a:prstGeom prst="rect">
            <a:avLst/>
          </a:prstGeom>
          <a:noFill/>
          <a:ln w="9525">
            <a:noFill/>
            <a:miter lim="800000"/>
            <a:headEnd/>
            <a:tailEnd/>
          </a:ln>
        </p:spPr>
        <p:txBody>
          <a:bodyPr>
            <a:spAutoFit/>
          </a:bodyPr>
          <a:lstStyle/>
          <a:p>
            <a:pPr marL="0" marR="0" lvl="0" indent="0" algn="ctr" defTabSz="554492" rtl="0" eaLnBrk="1" fontAlgn="base" latinLnBrk="0" hangingPunct="1">
              <a:lnSpc>
                <a:spcPct val="90000"/>
              </a:lnSpc>
              <a:spcBef>
                <a:spcPct val="80000"/>
              </a:spcBef>
              <a:spcAft>
                <a:spcPct val="0"/>
              </a:spcAft>
              <a:buClr>
                <a:srgbClr val="1E7FB8"/>
              </a:buClr>
              <a:buSzTx/>
              <a:buFontTx/>
              <a:buNone/>
              <a:tabLst/>
              <a:defRPr/>
            </a:pPr>
            <a:r>
              <a:rPr kumimoji="0" lang="en-GB" sz="2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150,000</a:t>
            </a:r>
            <a:br>
              <a:rPr kumimoji="0" lang="en-GB" sz="2800" b="0" i="0" u="none" strike="noStrike" kern="1200" cap="none" spc="0" normalizeH="0" baseline="0" noProof="0">
                <a:ln>
                  <a:noFill/>
                </a:ln>
                <a:solidFill>
                  <a:srgbClr val="000066"/>
                </a:solidFill>
                <a:effectLst/>
                <a:uLnTx/>
                <a:uFillTx/>
                <a:latin typeface="Calibri" panose="020F0502020204030204" pitchFamily="34" charset="0"/>
                <a:ea typeface="+mn-ea"/>
                <a:cs typeface="Calibri" panose="020F0502020204030204" pitchFamily="34" charset="0"/>
              </a:rPr>
            </a:br>
            <a:r>
              <a:rPr kumimoji="0" lang="en-GB"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4,000–210,000)</a:t>
            </a:r>
          </a:p>
        </p:txBody>
      </p:sp>
      <p:pic>
        <p:nvPicPr>
          <p:cNvPr id="3074" name="Picture 2" descr="Global tuberculosis report 2024">
            <a:extLst>
              <a:ext uri="{FF2B5EF4-FFF2-40B4-BE49-F238E27FC236}">
                <a16:creationId xmlns:a16="http://schemas.microsoft.com/office/drawing/2014/main" id="{4BEDF494-8FE6-101C-11A8-739422EFA2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91680" y="1139152"/>
            <a:ext cx="1655924" cy="233777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Tuberculosis Icons - Free SVG &amp; PNG Tuberculosis Images ...">
            <a:extLst>
              <a:ext uri="{FF2B5EF4-FFF2-40B4-BE49-F238E27FC236}">
                <a16:creationId xmlns:a16="http://schemas.microsoft.com/office/drawing/2014/main" id="{6D492CBC-5F10-567C-79DE-A970C70B0DCE}"/>
              </a:ext>
            </a:extLst>
          </p:cNvPr>
          <p:cNvPicPr>
            <a:picLocks noChangeAspect="1" noChangeArrowheads="1"/>
          </p:cNvPicPr>
          <p:nvPr/>
        </p:nvPicPr>
        <p:blipFill>
          <a:blip r:embed="rId4" cstate="screen">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09121" y="91964"/>
            <a:ext cx="618159" cy="618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9417504"/>
      </p:ext>
    </p:extLst>
  </p:cSld>
  <p:clrMapOvr>
    <a:masterClrMapping/>
  </p:clrMapOvr>
  <mc:AlternateContent xmlns:mc="http://schemas.openxmlformats.org/markup-compatibility/2006" xmlns:p14="http://schemas.microsoft.com/office/powerpoint/2010/main">
    <mc:Choice Requires="p14">
      <p:transition spd="med" p14:dur="700" advTm="51427">
        <p:fade/>
      </p:transition>
    </mc:Choice>
    <mc:Fallback xmlns="">
      <p:transition spd="med" advTm="51427">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541213B-353B-1ECB-2C29-C703887092E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mmunization, Vaccines and Biologicals</a:t>
            </a:r>
          </a:p>
        </p:txBody>
      </p:sp>
      <p:sp>
        <p:nvSpPr>
          <p:cNvPr id="3" name="Slide Number Placeholder 2">
            <a:extLst>
              <a:ext uri="{FF2B5EF4-FFF2-40B4-BE49-F238E27FC236}">
                <a16:creationId xmlns:a16="http://schemas.microsoft.com/office/drawing/2014/main" id="{B9A6BD0B-3777-8E84-6724-8C6536FA55B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20A679F4-6825-6241-CAA6-C3A9ED6D9D9D}"/>
              </a:ext>
            </a:extLst>
          </p:cNvPr>
          <p:cNvSpPr>
            <a:spLocks noGrp="1"/>
          </p:cNvSpPr>
          <p:nvPr>
            <p:ph type="title"/>
          </p:nvPr>
        </p:nvSpPr>
        <p:spPr>
          <a:xfrm>
            <a:off x="578027" y="537199"/>
            <a:ext cx="11013162" cy="1113766"/>
          </a:xfrm>
        </p:spPr>
        <p:txBody>
          <a:bodyPr/>
          <a:lstStyle/>
          <a:p>
            <a:r>
              <a:rPr lang="en-US" sz="4002" dirty="0"/>
              <a:t>Last meeting for the SAGE Chair and SAGE executive secretary </a:t>
            </a:r>
          </a:p>
        </p:txBody>
      </p:sp>
      <p:pic>
        <p:nvPicPr>
          <p:cNvPr id="12" name="Picture 11" descr="A person and person sitting at a table&#10;&#10;AI-generated content may be incorrect.">
            <a:extLst>
              <a:ext uri="{FF2B5EF4-FFF2-40B4-BE49-F238E27FC236}">
                <a16:creationId xmlns:a16="http://schemas.microsoft.com/office/drawing/2014/main" id="{4CC184B1-41E1-04BC-4185-C8CF83773B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3651" y="1697662"/>
            <a:ext cx="6686549" cy="4458107"/>
          </a:xfrm>
          <a:prstGeom prst="rect">
            <a:avLst/>
          </a:prstGeom>
        </p:spPr>
      </p:pic>
    </p:spTree>
    <p:extLst>
      <p:ext uri="{BB962C8B-B14F-4D97-AF65-F5344CB8AC3E}">
        <p14:creationId xmlns:p14="http://schemas.microsoft.com/office/powerpoint/2010/main" val="2426969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F4F71B-63F9-FE72-8110-88141CBA00A6}"/>
            </a:ext>
          </a:extLst>
        </p:cNvPr>
        <p:cNvGrpSpPr/>
        <p:nvPr/>
      </p:nvGrpSpPr>
      <p:grpSpPr>
        <a:xfrm>
          <a:off x="0" y="0"/>
          <a:ext cx="0" cy="0"/>
          <a:chOff x="0" y="0"/>
          <a:chExt cx="0" cy="0"/>
        </a:xfrm>
      </p:grpSpPr>
      <p:sp>
        <p:nvSpPr>
          <p:cNvPr id="2" name="TextBox 3">
            <a:extLst>
              <a:ext uri="{FF2B5EF4-FFF2-40B4-BE49-F238E27FC236}">
                <a16:creationId xmlns:a16="http://schemas.microsoft.com/office/drawing/2014/main" id="{9C5CA802-F2BC-04C4-F28C-FAC0ACF02F19}"/>
              </a:ext>
            </a:extLst>
          </p:cNvPr>
          <p:cNvSpPr txBox="1">
            <a:spLocks noChangeArrowheads="1"/>
          </p:cNvSpPr>
          <p:nvPr/>
        </p:nvSpPr>
        <p:spPr bwMode="auto">
          <a:xfrm>
            <a:off x="144610" y="6430534"/>
            <a:ext cx="80503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l" defTabSz="914358" rtl="0" eaLnBrk="0" fontAlgn="auto" latinLnBrk="0" hangingPunct="0">
              <a:lnSpc>
                <a:spcPct val="10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prstClr val="black"/>
                </a:solidFill>
                <a:effectLst/>
                <a:uLnTx/>
                <a:uFillTx/>
                <a:latin typeface="Aptos" panose="020B0004020202020204" pitchFamily="34" charset="0"/>
                <a:ea typeface="Nirmala UI" panose="020B0502040204020203" pitchFamily="34" charset="0"/>
                <a:cs typeface="Nirmala UI" panose="020B0502040204020203" pitchFamily="34" charset="0"/>
              </a:rPr>
              <a:t>Modified from Stop TB Partnership.</a:t>
            </a:r>
            <a:endParaRPr kumimoji="0" lang="en-GB" altLang="en-US" sz="1600" b="1" i="0" u="none" strike="noStrike" kern="1200" cap="none" spc="0" normalizeH="0" baseline="0" noProof="0">
              <a:ln>
                <a:noFill/>
              </a:ln>
              <a:solidFill>
                <a:srgbClr val="70AD47">
                  <a:lumMod val="50000"/>
                </a:srgbClr>
              </a:solidFill>
              <a:effectLst/>
              <a:uLnTx/>
              <a:uFillTx/>
              <a:latin typeface="Aptos" panose="020B0004020202020204" pitchFamily="34" charset="0"/>
              <a:ea typeface="Nirmala UI" panose="020B0502040204020203" pitchFamily="34" charset="0"/>
              <a:cs typeface="Nirmala UI" panose="020B0502040204020203" pitchFamily="34" charset="0"/>
            </a:endParaRPr>
          </a:p>
        </p:txBody>
      </p:sp>
      <p:sp>
        <p:nvSpPr>
          <p:cNvPr id="3" name="TextBox 2">
            <a:extLst>
              <a:ext uri="{FF2B5EF4-FFF2-40B4-BE49-F238E27FC236}">
                <a16:creationId xmlns:a16="http://schemas.microsoft.com/office/drawing/2014/main" id="{C84B6B6C-25DB-CA3E-9FA6-64297BD96460}"/>
              </a:ext>
            </a:extLst>
          </p:cNvPr>
          <p:cNvSpPr txBox="1"/>
          <p:nvPr/>
        </p:nvSpPr>
        <p:spPr>
          <a:xfrm>
            <a:off x="615737" y="239725"/>
            <a:ext cx="10962321" cy="1077218"/>
          </a:xfrm>
          <a:prstGeom prst="rect">
            <a:avLst/>
          </a:prstGeom>
          <a:noFill/>
        </p:spPr>
        <p:txBody>
          <a:bodyPr wrap="squar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Aptos" panose="020B0004020202020204" pitchFamily="34" charset="0"/>
                <a:ea typeface="+mn-ea"/>
                <a:cs typeface="Nirmala UI" panose="020B0502040204020203" pitchFamily="34" charset="0"/>
              </a:rPr>
              <a:t>Global clinical TB vaccine development pipeline: prophylaxis in adolescents and adults.</a:t>
            </a:r>
            <a:endParaRPr kumimoji="0" lang="en-US" sz="3200" b="1" i="0" u="none" strike="noStrike" kern="1200" cap="none" spc="0" normalizeH="0" baseline="0" noProof="0">
              <a:ln>
                <a:noFill/>
              </a:ln>
              <a:solidFill>
                <a:srgbClr val="5B9BD5">
                  <a:lumMod val="75000"/>
                </a:srgbClr>
              </a:solidFill>
              <a:effectLst/>
              <a:uLnTx/>
              <a:uFillTx/>
              <a:latin typeface="Aptos" panose="020B0004020202020204" pitchFamily="34" charset="0"/>
              <a:ea typeface="+mn-ea"/>
              <a:cs typeface="Nirmala UI" panose="020B0502040204020203" pitchFamily="34" charset="0"/>
            </a:endParaRPr>
          </a:p>
        </p:txBody>
      </p:sp>
      <p:graphicFrame>
        <p:nvGraphicFramePr>
          <p:cNvPr id="4" name="Table 7">
            <a:extLst>
              <a:ext uri="{FF2B5EF4-FFF2-40B4-BE49-F238E27FC236}">
                <a16:creationId xmlns:a16="http://schemas.microsoft.com/office/drawing/2014/main" id="{E1E5AC50-D681-500F-043E-C978609A0FA5}"/>
              </a:ext>
            </a:extLst>
          </p:cNvPr>
          <p:cNvGraphicFramePr>
            <a:graphicFrameLocks noGrp="1"/>
          </p:cNvGraphicFramePr>
          <p:nvPr/>
        </p:nvGraphicFramePr>
        <p:xfrm>
          <a:off x="308083" y="1585021"/>
          <a:ext cx="11575836" cy="4690196"/>
        </p:xfrm>
        <a:graphic>
          <a:graphicData uri="http://schemas.openxmlformats.org/drawingml/2006/table">
            <a:tbl>
              <a:tblPr firstRow="1" bandRow="1">
                <a:tableStyleId>{912C8C85-51F0-491E-9774-3900AFEF0FD7}</a:tableStyleId>
              </a:tblPr>
              <a:tblGrid>
                <a:gridCol w="2883191">
                  <a:extLst>
                    <a:ext uri="{9D8B030D-6E8A-4147-A177-3AD203B41FA5}">
                      <a16:colId xmlns:a16="http://schemas.microsoft.com/office/drawing/2014/main" val="572544765"/>
                    </a:ext>
                  </a:extLst>
                </a:gridCol>
                <a:gridCol w="2904727">
                  <a:extLst>
                    <a:ext uri="{9D8B030D-6E8A-4147-A177-3AD203B41FA5}">
                      <a16:colId xmlns:a16="http://schemas.microsoft.com/office/drawing/2014/main" val="3552222662"/>
                    </a:ext>
                  </a:extLst>
                </a:gridCol>
                <a:gridCol w="2893959">
                  <a:extLst>
                    <a:ext uri="{9D8B030D-6E8A-4147-A177-3AD203B41FA5}">
                      <a16:colId xmlns:a16="http://schemas.microsoft.com/office/drawing/2014/main" val="1082377274"/>
                    </a:ext>
                  </a:extLst>
                </a:gridCol>
                <a:gridCol w="2893959">
                  <a:extLst>
                    <a:ext uri="{9D8B030D-6E8A-4147-A177-3AD203B41FA5}">
                      <a16:colId xmlns:a16="http://schemas.microsoft.com/office/drawing/2014/main" val="1869118752"/>
                    </a:ext>
                  </a:extLst>
                </a:gridCol>
              </a:tblGrid>
              <a:tr h="335257">
                <a:tc>
                  <a:txBody>
                    <a:bodyPr/>
                    <a:lstStyle/>
                    <a:p>
                      <a:pPr algn="ctr"/>
                      <a:r>
                        <a:rPr lang="en-US" sz="1600">
                          <a:latin typeface="Aptos" panose="020B0004020202020204" pitchFamily="34" charset="0"/>
                        </a:rPr>
                        <a:t>Phase 1</a:t>
                      </a:r>
                      <a:endParaRPr lang="en-ZA" sz="1600">
                        <a:latin typeface="Aptos" panose="020B0004020202020204" pitchFamily="34" charset="0"/>
                      </a:endParaRPr>
                    </a:p>
                  </a:txBody>
                  <a:tcPr marL="91434" marR="91434" marT="45717" marB="45717">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2"/>
                    </a:solidFill>
                  </a:tcPr>
                </a:tc>
                <a:tc>
                  <a:txBody>
                    <a:bodyPr/>
                    <a:lstStyle/>
                    <a:p>
                      <a:pPr algn="ctr"/>
                      <a:r>
                        <a:rPr lang="en-US" sz="1600">
                          <a:latin typeface="Aptos" panose="020B0004020202020204" pitchFamily="34" charset="0"/>
                        </a:rPr>
                        <a:t>Phase 2A</a:t>
                      </a:r>
                      <a:endParaRPr lang="en-ZA" sz="1600">
                        <a:latin typeface="Aptos" panose="020B0004020202020204" pitchFamily="34" charset="0"/>
                      </a:endParaRPr>
                    </a:p>
                  </a:txBody>
                  <a:tcPr marL="91434" marR="91434" marT="45717" marB="45717">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2"/>
                    </a:solidFill>
                  </a:tcPr>
                </a:tc>
                <a:tc>
                  <a:txBody>
                    <a:bodyPr/>
                    <a:lstStyle/>
                    <a:p>
                      <a:pPr algn="ctr"/>
                      <a:r>
                        <a:rPr lang="en-US" sz="1600">
                          <a:latin typeface="Aptos" panose="020B0004020202020204" pitchFamily="34" charset="0"/>
                        </a:rPr>
                        <a:t>Phase 2B</a:t>
                      </a:r>
                      <a:endParaRPr lang="en-ZA" sz="1600">
                        <a:latin typeface="Aptos" panose="020B0004020202020204" pitchFamily="34" charset="0"/>
                      </a:endParaRPr>
                    </a:p>
                  </a:txBody>
                  <a:tcPr marL="91434" marR="91434" marT="45717" marB="45717">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2"/>
                    </a:solidFill>
                  </a:tcPr>
                </a:tc>
                <a:tc>
                  <a:txBody>
                    <a:bodyPr/>
                    <a:lstStyle/>
                    <a:p>
                      <a:pPr algn="ctr"/>
                      <a:r>
                        <a:rPr lang="en-US" sz="1600">
                          <a:latin typeface="Aptos" panose="020B0004020202020204" pitchFamily="34" charset="0"/>
                        </a:rPr>
                        <a:t>Phase 3</a:t>
                      </a:r>
                      <a:endParaRPr lang="en-ZA" sz="1600">
                        <a:latin typeface="Aptos" panose="020B0004020202020204" pitchFamily="34" charset="0"/>
                      </a:endParaRPr>
                    </a:p>
                  </a:txBody>
                  <a:tcPr marL="91434" marR="91434" marT="45717" marB="45717">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677390270"/>
                  </a:ext>
                </a:extLst>
              </a:tr>
              <a:tr h="617392">
                <a:tc>
                  <a:txBody>
                    <a:bodyPr/>
                    <a:lstStyle/>
                    <a:p>
                      <a:pPr algn="ctr"/>
                      <a:r>
                        <a:rPr lang="en-US" sz="1600" b="1">
                          <a:solidFill>
                            <a:schemeClr val="tx1">
                              <a:lumMod val="50000"/>
                              <a:lumOff val="50000"/>
                            </a:schemeClr>
                          </a:solidFill>
                          <a:latin typeface="Aptos" panose="020B0004020202020204" pitchFamily="34" charset="0"/>
                        </a:rPr>
                        <a:t>AdHuAg85A</a:t>
                      </a:r>
                      <a:endParaRPr lang="en-US" sz="1600" b="1">
                        <a:solidFill>
                          <a:schemeClr val="accent1">
                            <a:lumMod val="50000"/>
                          </a:schemeClr>
                        </a:solidFill>
                        <a:latin typeface="Aptos" panose="020B0004020202020204" pitchFamily="34" charset="0"/>
                      </a:endParaRPr>
                    </a:p>
                    <a:p>
                      <a:pPr algn="ctr"/>
                      <a:r>
                        <a:rPr lang="en-US" sz="1600">
                          <a:solidFill>
                            <a:schemeClr val="tx1">
                              <a:lumMod val="50000"/>
                              <a:lumOff val="50000"/>
                            </a:schemeClr>
                          </a:solidFill>
                          <a:latin typeface="Aptos" panose="020B0004020202020204" pitchFamily="34" charset="0"/>
                        </a:rPr>
                        <a:t>McMaster Univ, Cansino</a:t>
                      </a:r>
                    </a:p>
                  </a:txBody>
                  <a:tcPr marL="91434" marR="91434" marT="45717" marB="45717" anchor="ct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600" b="1">
                          <a:solidFill>
                            <a:schemeClr val="tx1">
                              <a:lumMod val="50000"/>
                              <a:lumOff val="50000"/>
                            </a:schemeClr>
                          </a:solidFill>
                          <a:latin typeface="Aptos" panose="020B0004020202020204" pitchFamily="34" charset="0"/>
                        </a:rPr>
                        <a:t>AEC/BC02</a:t>
                      </a:r>
                    </a:p>
                    <a:p>
                      <a:pPr algn="ctr"/>
                      <a:r>
                        <a:rPr lang="en-US" sz="1600">
                          <a:solidFill>
                            <a:schemeClr val="tx1">
                              <a:lumMod val="50000"/>
                              <a:lumOff val="50000"/>
                            </a:schemeClr>
                          </a:solidFill>
                          <a:latin typeface="Aptos" panose="020B0004020202020204" pitchFamily="34" charset="0"/>
                        </a:rPr>
                        <a:t>Anhui </a:t>
                      </a:r>
                      <a:r>
                        <a:rPr lang="en-US" sz="1600" err="1">
                          <a:solidFill>
                            <a:schemeClr val="tx1">
                              <a:lumMod val="50000"/>
                              <a:lumOff val="50000"/>
                            </a:schemeClr>
                          </a:solidFill>
                          <a:latin typeface="Aptos" panose="020B0004020202020204" pitchFamily="34" charset="0"/>
                        </a:rPr>
                        <a:t>Zifei</a:t>
                      </a:r>
                      <a:r>
                        <a:rPr lang="en-US" sz="1600">
                          <a:solidFill>
                            <a:schemeClr val="tx1">
                              <a:lumMod val="50000"/>
                              <a:lumOff val="50000"/>
                            </a:schemeClr>
                          </a:solidFill>
                          <a:latin typeface="Aptos" panose="020B0004020202020204" pitchFamily="34" charset="0"/>
                        </a:rPr>
                        <a:t> </a:t>
                      </a:r>
                      <a:r>
                        <a:rPr lang="en-US" sz="1600" err="1">
                          <a:solidFill>
                            <a:schemeClr val="tx1">
                              <a:lumMod val="50000"/>
                              <a:lumOff val="50000"/>
                            </a:schemeClr>
                          </a:solidFill>
                          <a:latin typeface="Aptos" panose="020B0004020202020204" pitchFamily="34" charset="0"/>
                        </a:rPr>
                        <a:t>Longcom</a:t>
                      </a:r>
                      <a:endParaRPr lang="en-US" sz="1600">
                        <a:solidFill>
                          <a:schemeClr val="tx1">
                            <a:lumMod val="50000"/>
                            <a:lumOff val="50000"/>
                          </a:schemeClr>
                        </a:solidFill>
                        <a:latin typeface="Aptos" panose="020B0004020202020204" pitchFamily="34" charset="0"/>
                      </a:endParaRPr>
                    </a:p>
                  </a:txBody>
                  <a:tcPr marL="91434" marR="91434" marT="45717" marB="45717"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GB" sz="1600" b="1">
                          <a:solidFill>
                            <a:srgbClr val="7030A0"/>
                          </a:solidFill>
                          <a:latin typeface="Aptos" panose="020B0004020202020204" pitchFamily="34" charset="0"/>
                        </a:rPr>
                        <a:t>MTBVAC</a:t>
                      </a:r>
                    </a:p>
                    <a:p>
                      <a:pPr algn="ctr"/>
                      <a:r>
                        <a:rPr lang="en-GB" sz="1600" err="1">
                          <a:solidFill>
                            <a:srgbClr val="7030A0"/>
                          </a:solidFill>
                          <a:latin typeface="Aptos" panose="020B0004020202020204" pitchFamily="34" charset="0"/>
                        </a:rPr>
                        <a:t>Biofabri</a:t>
                      </a:r>
                      <a:r>
                        <a:rPr lang="en-GB" sz="1600">
                          <a:solidFill>
                            <a:srgbClr val="7030A0"/>
                          </a:solidFill>
                          <a:latin typeface="Aptos" panose="020B0004020202020204" pitchFamily="34" charset="0"/>
                        </a:rPr>
                        <a:t>, </a:t>
                      </a:r>
                      <a:r>
                        <a:rPr lang="en-GB" sz="1600" err="1">
                          <a:solidFill>
                            <a:srgbClr val="7030A0"/>
                          </a:solidFill>
                          <a:latin typeface="Aptos" panose="020B0004020202020204" pitchFamily="34" charset="0"/>
                        </a:rPr>
                        <a:t>Univ</a:t>
                      </a:r>
                      <a:r>
                        <a:rPr lang="en-GB" sz="1600">
                          <a:solidFill>
                            <a:srgbClr val="7030A0"/>
                          </a:solidFill>
                          <a:latin typeface="Aptos" panose="020B0004020202020204" pitchFamily="34" charset="0"/>
                        </a:rPr>
                        <a:t> Zaragosa, IAVI</a:t>
                      </a:r>
                      <a:endParaRPr lang="en-US" sz="1600">
                        <a:solidFill>
                          <a:srgbClr val="7030A0"/>
                        </a:solidFill>
                        <a:latin typeface="Aptos" panose="020B0004020202020204" pitchFamily="34" charset="0"/>
                      </a:endParaRPr>
                    </a:p>
                  </a:txBody>
                  <a:tcPr marL="91434" marR="91434" marT="45717" marB="45717"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600" b="1">
                          <a:solidFill>
                            <a:schemeClr val="tx1">
                              <a:lumMod val="50000"/>
                              <a:lumOff val="50000"/>
                            </a:schemeClr>
                          </a:solidFill>
                          <a:latin typeface="Aptos" panose="020B0004020202020204" pitchFamily="34" charset="0"/>
                        </a:rPr>
                        <a:t>BCG as travel vaccine</a:t>
                      </a:r>
                    </a:p>
                    <a:p>
                      <a:pPr algn="ctr"/>
                      <a:r>
                        <a:rPr lang="en-US" sz="1600">
                          <a:solidFill>
                            <a:schemeClr val="tx1">
                              <a:lumMod val="50000"/>
                              <a:lumOff val="50000"/>
                            </a:schemeClr>
                          </a:solidFill>
                          <a:latin typeface="Aptos" panose="020B0004020202020204" pitchFamily="34" charset="0"/>
                        </a:rPr>
                        <a:t>HJF</a:t>
                      </a:r>
                    </a:p>
                  </a:txBody>
                  <a:tcPr marL="91434" marR="91434" marT="45717" marB="45717" anchor="ct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79308808"/>
                  </a:ext>
                </a:extLst>
              </a:tr>
              <a:tr h="778122">
                <a:tc>
                  <a:txBody>
                    <a:bodyPr/>
                    <a:lstStyle/>
                    <a:p>
                      <a:pPr algn="ctr"/>
                      <a:r>
                        <a:rPr lang="en-ZA" sz="1600" b="1">
                          <a:solidFill>
                            <a:srgbClr val="E05329"/>
                          </a:solidFill>
                          <a:latin typeface="Aptos" panose="020B0004020202020204" pitchFamily="34" charset="0"/>
                        </a:rPr>
                        <a:t>H107e/CAF10b</a:t>
                      </a:r>
                    </a:p>
                    <a:p>
                      <a:pPr algn="ctr"/>
                      <a:r>
                        <a:rPr lang="en-ZA" sz="1600">
                          <a:solidFill>
                            <a:srgbClr val="E05329"/>
                          </a:solidFill>
                          <a:latin typeface="Aptos" panose="020B0004020202020204" pitchFamily="34" charset="0"/>
                        </a:rPr>
                        <a:t>SSI</a:t>
                      </a:r>
                    </a:p>
                  </a:txBody>
                  <a:tcPr marL="91434" marR="91434" marT="45717" marB="45717" anchor="ct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600" b="1">
                          <a:solidFill>
                            <a:srgbClr val="E05329"/>
                          </a:solidFill>
                          <a:latin typeface="Aptos" panose="020B0004020202020204" pitchFamily="34" charset="0"/>
                        </a:rPr>
                        <a:t>BNT164a1 and BNT164b1</a:t>
                      </a:r>
                    </a:p>
                    <a:p>
                      <a:pPr algn="ctr"/>
                      <a:r>
                        <a:rPr lang="en-US" sz="1600" err="1">
                          <a:solidFill>
                            <a:srgbClr val="E05329"/>
                          </a:solidFill>
                          <a:latin typeface="Aptos" panose="020B0004020202020204" pitchFamily="34" charset="0"/>
                        </a:rPr>
                        <a:t>Biontech</a:t>
                      </a:r>
                      <a:r>
                        <a:rPr lang="en-US" sz="1600">
                          <a:solidFill>
                            <a:srgbClr val="E05329"/>
                          </a:solidFill>
                          <a:latin typeface="Aptos" panose="020B0004020202020204" pitchFamily="34" charset="0"/>
                        </a:rPr>
                        <a:t>, Gates MRI</a:t>
                      </a:r>
                    </a:p>
                  </a:txBody>
                  <a:tcPr marL="91434" marR="91434" marT="45717" marB="45717"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endParaRPr lang="en-US" sz="1600">
                        <a:solidFill>
                          <a:schemeClr val="tx1">
                            <a:lumMod val="50000"/>
                            <a:lumOff val="50000"/>
                          </a:schemeClr>
                        </a:solidFill>
                        <a:latin typeface="Aptos" panose="020B0004020202020204" pitchFamily="34" charset="0"/>
                      </a:endParaRPr>
                    </a:p>
                  </a:txBody>
                  <a:tcPr marL="91434" marR="91434" marT="45717" marB="45717"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600" b="1" err="1">
                          <a:solidFill>
                            <a:schemeClr val="tx1">
                              <a:lumMod val="50000"/>
                              <a:lumOff val="50000"/>
                            </a:schemeClr>
                          </a:solidFill>
                          <a:latin typeface="Aptos" panose="020B0004020202020204" pitchFamily="34" charset="0"/>
                        </a:rPr>
                        <a:t>GamTBvac</a:t>
                      </a:r>
                      <a:endParaRPr lang="en-US" sz="1600" b="1">
                        <a:solidFill>
                          <a:schemeClr val="tx1">
                            <a:lumMod val="50000"/>
                            <a:lumOff val="50000"/>
                          </a:schemeClr>
                        </a:solidFill>
                        <a:latin typeface="Aptos" panose="020B0004020202020204" pitchFamily="34" charset="0"/>
                      </a:endParaRPr>
                    </a:p>
                    <a:p>
                      <a:pPr algn="ctr"/>
                      <a:r>
                        <a:rPr lang="en-US" sz="1600">
                          <a:solidFill>
                            <a:schemeClr val="tx1">
                              <a:lumMod val="50000"/>
                              <a:lumOff val="50000"/>
                            </a:schemeClr>
                          </a:solidFill>
                          <a:latin typeface="Aptos" panose="020B0004020202020204" pitchFamily="34" charset="0"/>
                        </a:rPr>
                        <a:t>Gamaleya, MoH Russia</a:t>
                      </a:r>
                    </a:p>
                  </a:txBody>
                  <a:tcPr marL="91434" marR="91434" marT="45717" marB="45717" anchor="ct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73446320"/>
                  </a:ext>
                </a:extLst>
              </a:tr>
              <a:tr h="617392">
                <a:tc>
                  <a:txBody>
                    <a:bodyPr/>
                    <a:lstStyle/>
                    <a:p>
                      <a:pPr algn="ctr"/>
                      <a:r>
                        <a:rPr lang="en-US" sz="1600" b="1">
                          <a:solidFill>
                            <a:schemeClr val="tx1">
                              <a:lumMod val="50000"/>
                              <a:lumOff val="50000"/>
                            </a:schemeClr>
                          </a:solidFill>
                          <a:latin typeface="Aptos" panose="020B0004020202020204" pitchFamily="34" charset="0"/>
                        </a:rPr>
                        <a:t>TB/FLU-05E</a:t>
                      </a:r>
                    </a:p>
                    <a:p>
                      <a:pPr algn="ctr"/>
                      <a:r>
                        <a:rPr lang="en-ZA" sz="1600" err="1">
                          <a:solidFill>
                            <a:schemeClr val="tx1">
                              <a:lumMod val="50000"/>
                              <a:lumOff val="50000"/>
                            </a:schemeClr>
                          </a:solidFill>
                          <a:latin typeface="Aptos" panose="020B0004020202020204" pitchFamily="34" charset="0"/>
                        </a:rPr>
                        <a:t>Smorodintsev</a:t>
                      </a:r>
                      <a:r>
                        <a:rPr lang="en-ZA" sz="1600">
                          <a:solidFill>
                            <a:schemeClr val="tx1">
                              <a:lumMod val="50000"/>
                              <a:lumOff val="50000"/>
                            </a:schemeClr>
                          </a:solidFill>
                          <a:latin typeface="Aptos" panose="020B0004020202020204" pitchFamily="34" charset="0"/>
                        </a:rPr>
                        <a:t>/MOH Russia</a:t>
                      </a:r>
                    </a:p>
                  </a:txBody>
                  <a:tcPr marL="91434" marR="91434" marT="45717" marB="45717" anchor="ct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600" b="1">
                          <a:solidFill>
                            <a:srgbClr val="E05329"/>
                          </a:solidFill>
                          <a:latin typeface="Aptos" panose="020B0004020202020204" pitchFamily="34" charset="0"/>
                        </a:rPr>
                        <a:t>ID93/GLA-SE (QTP101)</a:t>
                      </a:r>
                    </a:p>
                    <a:p>
                      <a:pPr algn="ctr"/>
                      <a:r>
                        <a:rPr lang="en-ZA" sz="1600" err="1">
                          <a:solidFill>
                            <a:srgbClr val="E05329"/>
                          </a:solidFill>
                          <a:latin typeface="Aptos" panose="020B0004020202020204" pitchFamily="34" charset="0"/>
                        </a:rPr>
                        <a:t>Quratis</a:t>
                      </a:r>
                      <a:r>
                        <a:rPr lang="en-ZA" sz="1600">
                          <a:solidFill>
                            <a:srgbClr val="E05329"/>
                          </a:solidFill>
                          <a:latin typeface="Aptos" panose="020B0004020202020204" pitchFamily="34" charset="0"/>
                        </a:rPr>
                        <a:t>, NIH</a:t>
                      </a:r>
                    </a:p>
                  </a:txBody>
                  <a:tcPr marL="91434" marR="91434" marT="45717" marB="45717"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endParaRPr lang="en-US" sz="1600">
                        <a:solidFill>
                          <a:schemeClr val="tx1">
                            <a:lumMod val="50000"/>
                            <a:lumOff val="50000"/>
                          </a:schemeClr>
                        </a:solidFill>
                        <a:latin typeface="Aptos" panose="020B0004020202020204" pitchFamily="34" charset="0"/>
                      </a:endParaRPr>
                    </a:p>
                  </a:txBody>
                  <a:tcPr marL="91434" marR="91434" marT="45717" marB="45717"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600" b="1" err="1">
                          <a:solidFill>
                            <a:schemeClr val="accent1">
                              <a:lumMod val="50000"/>
                            </a:schemeClr>
                          </a:solidFill>
                          <a:latin typeface="Aptos" panose="020B0004020202020204" pitchFamily="34" charset="0"/>
                        </a:rPr>
                        <a:t>Immuvac</a:t>
                      </a:r>
                      <a:r>
                        <a:rPr lang="en-US" sz="1600" b="1">
                          <a:solidFill>
                            <a:schemeClr val="accent1">
                              <a:lumMod val="50000"/>
                            </a:schemeClr>
                          </a:solidFill>
                          <a:latin typeface="Aptos" panose="020B0004020202020204" pitchFamily="34" charset="0"/>
                        </a:rPr>
                        <a:t> (MIP)</a:t>
                      </a:r>
                    </a:p>
                    <a:p>
                      <a:pPr algn="ctr"/>
                      <a:r>
                        <a:rPr lang="en-US" sz="1600">
                          <a:solidFill>
                            <a:schemeClr val="accent1">
                              <a:lumMod val="50000"/>
                            </a:schemeClr>
                          </a:solidFill>
                          <a:latin typeface="Aptos" panose="020B0004020202020204" pitchFamily="34" charset="0"/>
                        </a:rPr>
                        <a:t>ICMR, </a:t>
                      </a:r>
                      <a:r>
                        <a:rPr lang="en-US" sz="1600" err="1">
                          <a:solidFill>
                            <a:schemeClr val="accent1">
                              <a:lumMod val="50000"/>
                            </a:schemeClr>
                          </a:solidFill>
                          <a:latin typeface="Aptos" panose="020B0004020202020204" pitchFamily="34" charset="0"/>
                        </a:rPr>
                        <a:t>Cadila</a:t>
                      </a:r>
                      <a:endParaRPr lang="en-US" sz="1600">
                        <a:solidFill>
                          <a:schemeClr val="accent1">
                            <a:lumMod val="50000"/>
                          </a:schemeClr>
                        </a:solidFill>
                        <a:latin typeface="Aptos" panose="020B0004020202020204" pitchFamily="34" charset="0"/>
                      </a:endParaRPr>
                    </a:p>
                  </a:txBody>
                  <a:tcPr marL="91434" marR="91434" marT="45717" marB="45717" anchor="ct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4277473782"/>
                  </a:ext>
                </a:extLst>
              </a:tr>
              <a:tr h="829197">
                <a:tc>
                  <a:txBody>
                    <a:bodyPr/>
                    <a:lstStyle/>
                    <a:p>
                      <a:pPr algn="ctr"/>
                      <a:endParaRPr lang="en-ZA" sz="1600">
                        <a:solidFill>
                          <a:schemeClr val="tx1">
                            <a:lumMod val="50000"/>
                            <a:lumOff val="50000"/>
                          </a:schemeClr>
                        </a:solidFill>
                        <a:latin typeface="Aptos" panose="020B0004020202020204" pitchFamily="34" charset="0"/>
                      </a:endParaRPr>
                    </a:p>
                  </a:txBody>
                  <a:tcPr marL="91434" marR="91434" marT="45717" marB="45717" anchor="ct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endParaRPr lang="en-US" sz="3000">
                        <a:solidFill>
                          <a:schemeClr val="tx1">
                            <a:lumMod val="50000"/>
                            <a:lumOff val="50000"/>
                          </a:schemeClr>
                        </a:solidFill>
                        <a:latin typeface="Aptos" panose="020B0004020202020204" pitchFamily="34" charset="0"/>
                      </a:endParaRPr>
                    </a:p>
                  </a:txBody>
                  <a:tcPr marL="91434" marR="91434" marT="45717" marB="45717">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endParaRPr lang="en-US" sz="1600">
                        <a:solidFill>
                          <a:schemeClr val="tx1">
                            <a:lumMod val="50000"/>
                            <a:lumOff val="50000"/>
                          </a:schemeClr>
                        </a:solidFill>
                        <a:latin typeface="Aptos" panose="020B0004020202020204" pitchFamily="34" charset="0"/>
                      </a:endParaRPr>
                    </a:p>
                  </a:txBody>
                  <a:tcPr marL="91434" marR="91434" marT="45717" marB="45717"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600" b="1">
                          <a:solidFill>
                            <a:schemeClr val="accent1">
                              <a:lumMod val="50000"/>
                            </a:schemeClr>
                          </a:solidFill>
                          <a:latin typeface="Aptos" panose="020B0004020202020204" pitchFamily="34" charset="0"/>
                        </a:rPr>
                        <a:t>VPM1002</a:t>
                      </a:r>
                    </a:p>
                    <a:p>
                      <a:pPr algn="ctr"/>
                      <a:r>
                        <a:rPr lang="en-US" sz="1600">
                          <a:solidFill>
                            <a:schemeClr val="accent1">
                              <a:lumMod val="50000"/>
                            </a:schemeClr>
                          </a:solidFill>
                          <a:latin typeface="Aptos" panose="020B0004020202020204" pitchFamily="34" charset="0"/>
                        </a:rPr>
                        <a:t>SII, VPM</a:t>
                      </a:r>
                    </a:p>
                  </a:txBody>
                  <a:tcPr marL="91434" marR="91434" marT="45717" marB="45717" anchor="ct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001680190"/>
                  </a:ext>
                </a:extLst>
              </a:tr>
              <a:tr h="829197">
                <a:tc>
                  <a:txBody>
                    <a:bodyPr/>
                    <a:lstStyle/>
                    <a:p>
                      <a:pPr algn="ctr"/>
                      <a:endParaRPr lang="en-ZA" sz="1600">
                        <a:solidFill>
                          <a:schemeClr val="tx1">
                            <a:lumMod val="50000"/>
                            <a:lumOff val="50000"/>
                          </a:schemeClr>
                        </a:solidFill>
                        <a:latin typeface="Aptos" panose="020B0004020202020204" pitchFamily="34" charset="0"/>
                      </a:endParaRPr>
                    </a:p>
                  </a:txBody>
                  <a:tcPr marL="91434" marR="91434" marT="45717" marB="45717" anchor="ct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endParaRPr lang="en-US" sz="3000">
                        <a:solidFill>
                          <a:schemeClr val="tx1">
                            <a:lumMod val="50000"/>
                            <a:lumOff val="50000"/>
                          </a:schemeClr>
                        </a:solidFill>
                        <a:latin typeface="Aptos" panose="020B0004020202020204" pitchFamily="34" charset="0"/>
                      </a:endParaRPr>
                    </a:p>
                  </a:txBody>
                  <a:tcPr marL="91434" marR="91434" marT="45717" marB="45717">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endParaRPr lang="en-US" sz="1600">
                        <a:solidFill>
                          <a:schemeClr val="tx1">
                            <a:lumMod val="50000"/>
                            <a:lumOff val="50000"/>
                          </a:schemeClr>
                        </a:solidFill>
                        <a:latin typeface="Aptos" panose="020B0004020202020204" pitchFamily="34" charset="0"/>
                      </a:endParaRPr>
                    </a:p>
                  </a:txBody>
                  <a:tcPr marL="91434" marR="91434" marT="45717" marB="45717"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GB" sz="1600" b="1">
                          <a:solidFill>
                            <a:schemeClr val="accent6">
                              <a:lumMod val="75000"/>
                            </a:schemeClr>
                          </a:solidFill>
                          <a:latin typeface="Aptos" panose="020B0004020202020204" pitchFamily="34" charset="0"/>
                        </a:rPr>
                        <a:t>M72/AS01</a:t>
                      </a:r>
                      <a:r>
                        <a:rPr lang="en-GB" sz="1600" b="1" baseline="-25000">
                          <a:solidFill>
                            <a:schemeClr val="accent6">
                              <a:lumMod val="75000"/>
                            </a:schemeClr>
                          </a:solidFill>
                          <a:latin typeface="Aptos" panose="020B0004020202020204" pitchFamily="34" charset="0"/>
                        </a:rPr>
                        <a:t>E-4</a:t>
                      </a:r>
                    </a:p>
                    <a:p>
                      <a:pPr algn="ctr"/>
                      <a:r>
                        <a:rPr lang="en-GB" sz="1600">
                          <a:solidFill>
                            <a:schemeClr val="accent6">
                              <a:lumMod val="75000"/>
                            </a:schemeClr>
                          </a:solidFill>
                          <a:latin typeface="Aptos" panose="020B0004020202020204" pitchFamily="34" charset="0"/>
                        </a:rPr>
                        <a:t>Gates MRI, GSK</a:t>
                      </a:r>
                      <a:endParaRPr lang="en-US" sz="1600">
                        <a:solidFill>
                          <a:schemeClr val="accent6">
                            <a:lumMod val="75000"/>
                          </a:schemeClr>
                        </a:solidFill>
                        <a:latin typeface="Aptos" panose="020B0004020202020204" pitchFamily="34" charset="0"/>
                      </a:endParaRPr>
                    </a:p>
                  </a:txBody>
                  <a:tcPr marL="91434" marR="91434" marT="45717" marB="45717" anchor="ct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970519157"/>
                  </a:ext>
                </a:extLst>
              </a:tr>
              <a:tr h="683622">
                <a:tc>
                  <a:txBody>
                    <a:bodyPr/>
                    <a:lstStyle/>
                    <a:p>
                      <a:pPr algn="ctr"/>
                      <a:endParaRPr lang="en-ZA" sz="1600">
                        <a:solidFill>
                          <a:schemeClr val="tx1">
                            <a:lumMod val="50000"/>
                            <a:lumOff val="50000"/>
                          </a:schemeClr>
                        </a:solidFill>
                        <a:latin typeface="Aptos" panose="020B0004020202020204" pitchFamily="34" charset="0"/>
                      </a:endParaRPr>
                    </a:p>
                  </a:txBody>
                  <a:tcPr marL="91434" marR="91434" marT="45717" marB="45717" anchor="ct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endParaRPr lang="en-US" sz="3000">
                        <a:solidFill>
                          <a:schemeClr val="tx1">
                            <a:lumMod val="50000"/>
                            <a:lumOff val="50000"/>
                          </a:schemeClr>
                        </a:solidFill>
                        <a:latin typeface="Aptos" panose="020B0004020202020204" pitchFamily="34" charset="0"/>
                      </a:endParaRPr>
                    </a:p>
                  </a:txBody>
                  <a:tcPr marL="91434" marR="91434" marT="45717" marB="45717">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endParaRPr lang="en-US" sz="1600">
                        <a:solidFill>
                          <a:schemeClr val="tx1">
                            <a:lumMod val="50000"/>
                            <a:lumOff val="50000"/>
                          </a:schemeClr>
                        </a:solidFill>
                        <a:latin typeface="Aptos" panose="020B0004020202020204" pitchFamily="34" charset="0"/>
                      </a:endParaRPr>
                    </a:p>
                  </a:txBody>
                  <a:tcPr marL="91434" marR="91434" marT="45717" marB="45717"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endParaRPr lang="en-US" sz="1600">
                        <a:solidFill>
                          <a:schemeClr val="tx1">
                            <a:lumMod val="50000"/>
                            <a:lumOff val="50000"/>
                          </a:schemeClr>
                        </a:solidFill>
                        <a:latin typeface="Aptos" panose="020B0004020202020204" pitchFamily="34" charset="0"/>
                      </a:endParaRPr>
                    </a:p>
                  </a:txBody>
                  <a:tcPr marL="91434" marR="91434" marT="45717" marB="45717" anchor="ct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447162043"/>
                  </a:ext>
                </a:extLst>
              </a:tr>
            </a:tbl>
          </a:graphicData>
        </a:graphic>
      </p:graphicFrame>
      <p:sp>
        <p:nvSpPr>
          <p:cNvPr id="5" name="TextBox 4">
            <a:extLst>
              <a:ext uri="{FF2B5EF4-FFF2-40B4-BE49-F238E27FC236}">
                <a16:creationId xmlns:a16="http://schemas.microsoft.com/office/drawing/2014/main" id="{2837F216-0695-5DAF-5CF2-EC6D75EF0763}"/>
              </a:ext>
            </a:extLst>
          </p:cNvPr>
          <p:cNvSpPr txBox="1"/>
          <p:nvPr/>
        </p:nvSpPr>
        <p:spPr>
          <a:xfrm>
            <a:off x="1644805" y="4333408"/>
            <a:ext cx="4763314" cy="1569660"/>
          </a:xfrm>
          <a:prstGeom prst="rect">
            <a:avLst/>
          </a:prstGeom>
          <a:noFill/>
          <a:ln w="12700">
            <a:solidFill>
              <a:schemeClr val="tx1">
                <a:lumMod val="50000"/>
                <a:lumOff val="50000"/>
              </a:schemeClr>
            </a:solidFill>
          </a:ln>
        </p:spPr>
        <p:txBody>
          <a:bodyPr wrap="squar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70AD47">
                    <a:lumMod val="75000"/>
                  </a:srgbClr>
                </a:solidFill>
                <a:effectLst/>
                <a:uLnTx/>
                <a:uFillTx/>
                <a:latin typeface="Aptos" panose="020B0004020202020204" pitchFamily="34" charset="0"/>
                <a:ea typeface="+mn-ea"/>
                <a:cs typeface="+mn-cs"/>
              </a:rPr>
              <a:t>1. Most advanced and promising</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7030A0"/>
                </a:solidFill>
                <a:effectLst/>
                <a:uLnTx/>
                <a:uFillTx/>
                <a:latin typeface="Aptos" panose="020B0004020202020204" pitchFamily="34" charset="0"/>
                <a:ea typeface="+mn-ea"/>
                <a:cs typeface="+mn-cs"/>
              </a:rPr>
              <a:t>2. Fast follower</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E05329"/>
                </a:solidFill>
                <a:effectLst/>
                <a:uLnTx/>
                <a:uFillTx/>
                <a:latin typeface="Aptos" panose="020B0004020202020204" pitchFamily="34" charset="0"/>
                <a:ea typeface="+mn-ea"/>
                <a:cs typeface="+mn-cs"/>
              </a:rPr>
              <a:t>3. Next generation</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50000"/>
                  </a:srgbClr>
                </a:solidFill>
                <a:effectLst/>
                <a:uLnTx/>
                <a:uFillTx/>
                <a:latin typeface="Aptos" panose="020B0004020202020204" pitchFamily="34" charset="0"/>
                <a:ea typeface="+mn-ea"/>
                <a:cs typeface="+mn-cs"/>
              </a:rPr>
              <a:t>4. Where are the results?</a:t>
            </a:r>
          </a:p>
        </p:txBody>
      </p:sp>
      <p:pic>
        <p:nvPicPr>
          <p:cNvPr id="6" name="Picture 5" descr="Tuberculosis Icons - Free SVG &amp; PNG Tuberculosis Images ...">
            <a:extLst>
              <a:ext uri="{FF2B5EF4-FFF2-40B4-BE49-F238E27FC236}">
                <a16:creationId xmlns:a16="http://schemas.microsoft.com/office/drawing/2014/main" id="{ED6CE853-EDB3-6549-9823-8E8C6A4F55E7}"/>
              </a:ext>
            </a:extLst>
          </p:cNvPr>
          <p:cNvPicPr>
            <a:picLocks noChangeAspect="1" noChangeArrowheads="1"/>
          </p:cNvPicPr>
          <p:nvPr/>
        </p:nvPicPr>
        <p:blipFill>
          <a:blip r:embed="rId2" cstate="screen">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09121" y="91964"/>
            <a:ext cx="618159" cy="618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529972"/>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6E686-9531-B713-1222-C2A3CA2CF354}"/>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6D763E95-229A-9631-2D81-F36676E87BEA}"/>
              </a:ext>
            </a:extLst>
          </p:cNvPr>
          <p:cNvSpPr/>
          <p:nvPr/>
        </p:nvSpPr>
        <p:spPr>
          <a:xfrm>
            <a:off x="431885" y="5114954"/>
            <a:ext cx="11189312" cy="1039944"/>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42987" marR="0" lvl="0" indent="0" algn="l" defTabSz="277233" rtl="0" eaLnBrk="1" fontAlgn="auto" latinLnBrk="0" hangingPunct="1">
              <a:lnSpc>
                <a:spcPct val="100000"/>
              </a:lnSpc>
              <a:spcBef>
                <a:spcPts val="0"/>
              </a:spcBef>
              <a:spcAft>
                <a:spcPts val="0"/>
              </a:spcAft>
              <a:buClrTx/>
              <a:buSzTx/>
              <a:buFontTx/>
              <a:buNone/>
              <a:tabLst/>
              <a:defRPr/>
            </a:pPr>
            <a:r>
              <a:rPr kumimoji="0" lang="en-US" sz="1455" b="0" i="0" u="none" strike="noStrike" kern="1200" cap="none" spc="0" normalizeH="0" baseline="0" noProof="0">
                <a:ln>
                  <a:noFill/>
                </a:ln>
                <a:solidFill>
                  <a:srgbClr val="000000"/>
                </a:solidFill>
                <a:effectLst/>
                <a:uLnTx/>
                <a:uFillTx/>
                <a:latin typeface="Poppins"/>
                <a:ea typeface="Source Sans Pro"/>
                <a:cs typeface="Poppins"/>
              </a:rPr>
              <a:t>SAGE cautioned that inclusion of asymptomatic tuberculosis as a component of a composite endpoint may compromise the demonstration of efficacy against severe tuberculosis. SAGE supported the development of a roadmap to generate evidence on the characteristics of asymptomatic tuberculosis to enable decision-making. </a:t>
            </a:r>
            <a:endParaRPr kumimoji="0" lang="en-US" sz="1092" b="0" i="0" u="none" strike="noStrike" kern="1200" cap="none" spc="0" normalizeH="0" baseline="0" noProof="0">
              <a:ln>
                <a:noFill/>
              </a:ln>
              <a:solidFill>
                <a:srgbClr val="FFFFFF"/>
              </a:solidFill>
              <a:effectLst/>
              <a:uLnTx/>
              <a:uFillTx/>
              <a:latin typeface="Poppins"/>
              <a:ea typeface="+mn-ea"/>
              <a:cs typeface="+mn-cs"/>
            </a:endParaRPr>
          </a:p>
        </p:txBody>
      </p:sp>
      <p:sp>
        <p:nvSpPr>
          <p:cNvPr id="3" name="Slide Number Placeholder 5">
            <a:extLst>
              <a:ext uri="{FF2B5EF4-FFF2-40B4-BE49-F238E27FC236}">
                <a16:creationId xmlns:a16="http://schemas.microsoft.com/office/drawing/2014/main" id="{B6B151D7-F7F3-1B90-02AD-2E356AACA42B}"/>
              </a:ext>
            </a:extLst>
          </p:cNvPr>
          <p:cNvSpPr>
            <a:spLocks noGrp="1"/>
          </p:cNvSpPr>
          <p:nvPr>
            <p:ph type="sldNum" sz="quarter" idx="12"/>
          </p:nvPr>
        </p:nvSpPr>
        <p:spPr>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31</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D76716EC-EEF7-EE11-BB48-EEDFF16EFF03}"/>
              </a:ext>
            </a:extLst>
          </p:cNvPr>
          <p:cNvSpPr>
            <a:spLocks noGrp="1"/>
          </p:cNvSpPr>
          <p:nvPr>
            <p:ph type="title"/>
          </p:nvPr>
        </p:nvSpPr>
        <p:spPr>
          <a:xfrm>
            <a:off x="431884" y="357798"/>
            <a:ext cx="10883492" cy="339067"/>
          </a:xfrm>
        </p:spPr>
        <p:txBody>
          <a:bodyPr/>
          <a:lstStyle/>
          <a:p>
            <a:r>
              <a:rPr lang="fr-CH" sz="2426">
                <a:latin typeface="Poppins SemiBold"/>
                <a:ea typeface="Roboto"/>
                <a:cs typeface="Poppins SemiBold"/>
              </a:rPr>
              <a:t>TUBERCULOSIS VACCINES - CONCLUSIONS</a:t>
            </a:r>
            <a:endParaRPr lang="en-US" sz="2426">
              <a:latin typeface="Poppins SemiBold"/>
              <a:ea typeface="Roboto"/>
              <a:cs typeface="Poppins SemiBold"/>
            </a:endParaRPr>
          </a:p>
        </p:txBody>
      </p:sp>
      <p:sp>
        <p:nvSpPr>
          <p:cNvPr id="7" name="Rectangle: Rounded Corners 6">
            <a:extLst>
              <a:ext uri="{FF2B5EF4-FFF2-40B4-BE49-F238E27FC236}">
                <a16:creationId xmlns:a16="http://schemas.microsoft.com/office/drawing/2014/main" id="{481DA893-360E-BBB2-C472-6E8F96CA01E8}"/>
              </a:ext>
            </a:extLst>
          </p:cNvPr>
          <p:cNvSpPr/>
          <p:nvPr/>
        </p:nvSpPr>
        <p:spPr>
          <a:xfrm>
            <a:off x="441378" y="700141"/>
            <a:ext cx="11184324" cy="859753"/>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34" tIns="45717" rIns="91434" bIns="45717" rtlCol="0" anchor="ctr"/>
          <a:lstStyle/>
          <a:p>
            <a:pPr marL="1197934" marR="0" lvl="0" indent="0" algn="l" defTabSz="277233" rtl="0" eaLnBrk="1" fontAlgn="auto" latinLnBrk="0" hangingPunct="1">
              <a:lnSpc>
                <a:spcPct val="100000"/>
              </a:lnSpc>
              <a:spcBef>
                <a:spcPts val="0"/>
              </a:spcBef>
              <a:spcAft>
                <a:spcPts val="0"/>
              </a:spcAft>
              <a:buClrTx/>
              <a:buSzTx/>
              <a:buFontTx/>
              <a:buNone/>
              <a:tabLst/>
              <a:defRPr/>
            </a:pPr>
            <a:r>
              <a:rPr kumimoji="0" lang="en-US" sz="1455" b="0" i="0" u="none" strike="noStrike" kern="1200" cap="none" spc="0" normalizeH="0" baseline="0" noProof="0">
                <a:ln>
                  <a:noFill/>
                </a:ln>
                <a:solidFill>
                  <a:srgbClr val="000000"/>
                </a:solidFill>
                <a:effectLst/>
                <a:uLnTx/>
                <a:uFillTx/>
                <a:latin typeface="Poppins"/>
                <a:ea typeface="+mn-ea"/>
                <a:cs typeface="Poppins"/>
              </a:rPr>
              <a:t>As of May 2025, there are 16 candidate TB vaccines in clinical development; 5 are in phase 3 trials with a prevention of disease endpoint. One of these candidates, M72/AS01E may be licensed as early as 2028.</a:t>
            </a:r>
            <a:endParaRPr kumimoji="0" lang="en-US" sz="1092" b="0" i="0" u="none" strike="noStrike" kern="1200" cap="none" spc="0" normalizeH="0" baseline="0" noProof="0">
              <a:ln>
                <a:noFill/>
              </a:ln>
              <a:solidFill>
                <a:srgbClr val="FFFFFF"/>
              </a:solidFill>
              <a:effectLst/>
              <a:uLnTx/>
              <a:uFillTx/>
              <a:latin typeface="Poppins"/>
              <a:ea typeface="+mn-ea"/>
              <a:cs typeface="+mn-cs"/>
            </a:endParaRPr>
          </a:p>
        </p:txBody>
      </p:sp>
      <p:sp>
        <p:nvSpPr>
          <p:cNvPr id="14" name="Rectangle: Rounded Corners 13">
            <a:extLst>
              <a:ext uri="{FF2B5EF4-FFF2-40B4-BE49-F238E27FC236}">
                <a16:creationId xmlns:a16="http://schemas.microsoft.com/office/drawing/2014/main" id="{6E28E1C7-981F-4BFD-FF14-4DDDDE2CDFF2}"/>
              </a:ext>
            </a:extLst>
          </p:cNvPr>
          <p:cNvSpPr/>
          <p:nvPr/>
        </p:nvSpPr>
        <p:spPr>
          <a:xfrm>
            <a:off x="444964" y="1699015"/>
            <a:ext cx="11175412" cy="1207647"/>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2987" marR="0" lvl="0" indent="0" algn="l" defTabSz="277233" rtl="0" eaLnBrk="1" fontAlgn="auto" latinLnBrk="0" hangingPunct="1">
              <a:lnSpc>
                <a:spcPct val="100000"/>
              </a:lnSpc>
              <a:spcBef>
                <a:spcPts val="0"/>
              </a:spcBef>
              <a:spcAft>
                <a:spcPts val="0"/>
              </a:spcAft>
              <a:buClrTx/>
              <a:buSzTx/>
              <a:buFontTx/>
              <a:buNone/>
              <a:tabLst/>
              <a:defRPr/>
            </a:pPr>
            <a:r>
              <a:rPr kumimoji="0" lang="en-US" sz="1455" b="0" i="0" u="none" strike="noStrike" kern="1200" cap="none" spc="0" normalizeH="0" baseline="0" noProof="0">
                <a:ln>
                  <a:noFill/>
                </a:ln>
                <a:solidFill>
                  <a:srgbClr val="000000"/>
                </a:solidFill>
                <a:effectLst/>
                <a:uLnTx/>
                <a:uFillTx/>
                <a:latin typeface="Poppins"/>
                <a:ea typeface="Source Sans Pro"/>
                <a:cs typeface="Poppins"/>
              </a:rPr>
              <a:t>Results of multi-country, multi-region vaccine clinical trials that will only have adequate statistical power to detect efficacy in 1 or 2 high TB burden countries or single-country clinical trials can be extrapolated to other countries unless there are major epidemiological differences. Phase 4 impact studies may be required to determine effectiveness in other settings or priority groups*. </a:t>
            </a:r>
          </a:p>
        </p:txBody>
      </p:sp>
      <p:sp>
        <p:nvSpPr>
          <p:cNvPr id="15" name="Rectangle: Rounded Corners 14">
            <a:extLst>
              <a:ext uri="{FF2B5EF4-FFF2-40B4-BE49-F238E27FC236}">
                <a16:creationId xmlns:a16="http://schemas.microsoft.com/office/drawing/2014/main" id="{C526CF91-63B1-249E-E6AF-5CC93DD1B31B}"/>
              </a:ext>
            </a:extLst>
          </p:cNvPr>
          <p:cNvSpPr/>
          <p:nvPr/>
        </p:nvSpPr>
        <p:spPr>
          <a:xfrm>
            <a:off x="458591" y="3045783"/>
            <a:ext cx="11175509" cy="887574"/>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2987" marR="0" lvl="0" indent="0" algn="l" defTabSz="277233" rtl="0" eaLnBrk="1" fontAlgn="auto" latinLnBrk="0" hangingPunct="1">
              <a:lnSpc>
                <a:spcPct val="100000"/>
              </a:lnSpc>
              <a:spcBef>
                <a:spcPts val="0"/>
              </a:spcBef>
              <a:spcAft>
                <a:spcPts val="0"/>
              </a:spcAft>
              <a:buClrTx/>
              <a:buSzTx/>
              <a:buFontTx/>
              <a:buNone/>
              <a:tabLst/>
              <a:defRPr/>
            </a:pPr>
            <a:r>
              <a:rPr kumimoji="0" lang="en-US" sz="1455" b="0" i="0" u="none" strike="noStrike" kern="1200" cap="none" spc="0" normalizeH="0" baseline="0" noProof="0">
                <a:ln>
                  <a:noFill/>
                </a:ln>
                <a:solidFill>
                  <a:srgbClr val="000000"/>
                </a:solidFill>
                <a:effectLst/>
                <a:uLnTx/>
                <a:uFillTx/>
                <a:latin typeface="Poppins"/>
                <a:ea typeface="Source Sans Pro"/>
                <a:cs typeface="Poppins"/>
              </a:rPr>
              <a:t>SAGE advised that provisions should be made to collect adequate data on the safety and immunogenicity of the vaccine in IGRA negative individuals to inform recommendations since such individuals are likely to be vaccinated during programmatic rollout of the vaccines.</a:t>
            </a:r>
            <a:endParaRPr kumimoji="0" lang="en-US" sz="1092" b="0" i="0" u="none" strike="noStrike" kern="1200" cap="none" spc="0" normalizeH="0" baseline="0" noProof="0">
              <a:ln>
                <a:noFill/>
              </a:ln>
              <a:solidFill>
                <a:srgbClr val="FFFFFF"/>
              </a:solidFill>
              <a:effectLst/>
              <a:uLnTx/>
              <a:uFillTx/>
              <a:latin typeface="Poppins"/>
              <a:ea typeface="+mn-ea"/>
              <a:cs typeface="+mn-cs"/>
            </a:endParaRPr>
          </a:p>
        </p:txBody>
      </p:sp>
      <p:pic>
        <p:nvPicPr>
          <p:cNvPr id="6" name="Graphic 5" descr="Needle outline">
            <a:extLst>
              <a:ext uri="{FF2B5EF4-FFF2-40B4-BE49-F238E27FC236}">
                <a16:creationId xmlns:a16="http://schemas.microsoft.com/office/drawing/2014/main" id="{8B963D36-F78B-52C7-A958-E5BFBF150E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6779" y="859941"/>
            <a:ext cx="554493" cy="554493"/>
          </a:xfrm>
          <a:prstGeom prst="rect">
            <a:avLst/>
          </a:prstGeom>
        </p:spPr>
      </p:pic>
      <p:pic>
        <p:nvPicPr>
          <p:cNvPr id="9" name="Graphic 8" descr="Research outline">
            <a:extLst>
              <a:ext uri="{FF2B5EF4-FFF2-40B4-BE49-F238E27FC236}">
                <a16:creationId xmlns:a16="http://schemas.microsoft.com/office/drawing/2014/main" id="{B0FD8613-26E5-7C0C-ACF6-65AB9BDCE1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2133" y="1932443"/>
            <a:ext cx="554493" cy="554493"/>
          </a:xfrm>
          <a:prstGeom prst="rect">
            <a:avLst/>
          </a:prstGeom>
        </p:spPr>
      </p:pic>
      <p:pic>
        <p:nvPicPr>
          <p:cNvPr id="12" name="Graphic 11" descr="Disk outline">
            <a:extLst>
              <a:ext uri="{FF2B5EF4-FFF2-40B4-BE49-F238E27FC236}">
                <a16:creationId xmlns:a16="http://schemas.microsoft.com/office/drawing/2014/main" id="{270A5F90-4F8E-C9DD-1331-334F799848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8826" y="3146202"/>
            <a:ext cx="554493" cy="554493"/>
          </a:xfrm>
          <a:prstGeom prst="rect">
            <a:avLst/>
          </a:prstGeom>
        </p:spPr>
      </p:pic>
      <p:sp>
        <p:nvSpPr>
          <p:cNvPr id="2" name="TextBox 1">
            <a:extLst>
              <a:ext uri="{FF2B5EF4-FFF2-40B4-BE49-F238E27FC236}">
                <a16:creationId xmlns:a16="http://schemas.microsoft.com/office/drawing/2014/main" id="{5EE45340-912D-65E0-6805-A0CFD559CB16}"/>
              </a:ext>
            </a:extLst>
          </p:cNvPr>
          <p:cNvSpPr txBox="1"/>
          <p:nvPr/>
        </p:nvSpPr>
        <p:spPr>
          <a:xfrm>
            <a:off x="2786462" y="6266422"/>
            <a:ext cx="7376737" cy="260392"/>
          </a:xfrm>
          <a:prstGeom prst="rect">
            <a:avLst/>
          </a:prstGeom>
          <a:noFill/>
        </p:spPr>
        <p:txBody>
          <a:bodyPr wrap="square" rtlCol="0">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GB" sz="1092" b="0" i="1" u="none" strike="noStrike" kern="1200" cap="none" spc="0" normalizeH="0" baseline="0" noProof="0">
                <a:ln>
                  <a:noFill/>
                </a:ln>
                <a:solidFill>
                  <a:srgbClr val="000000"/>
                </a:solidFill>
                <a:effectLst/>
                <a:uLnTx/>
                <a:uFillTx/>
                <a:latin typeface="Poppins"/>
                <a:ea typeface="+mn-ea"/>
                <a:cs typeface="+mn-cs"/>
              </a:rPr>
              <a:t>*If correlates of protection are established, immunobridging trials may be used.</a:t>
            </a:r>
          </a:p>
        </p:txBody>
      </p:sp>
      <p:sp>
        <p:nvSpPr>
          <p:cNvPr id="5" name="Rectangle: Rounded Corners 4">
            <a:extLst>
              <a:ext uri="{FF2B5EF4-FFF2-40B4-BE49-F238E27FC236}">
                <a16:creationId xmlns:a16="http://schemas.microsoft.com/office/drawing/2014/main" id="{A44EF563-6A80-8DA9-0C35-C64A2DDF3BF5}"/>
              </a:ext>
            </a:extLst>
          </p:cNvPr>
          <p:cNvSpPr/>
          <p:nvPr/>
        </p:nvSpPr>
        <p:spPr>
          <a:xfrm>
            <a:off x="454249" y="4072479"/>
            <a:ext cx="11175412" cy="914747"/>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42987" marR="0" lvl="0" indent="0" algn="l" defTabSz="277233" rtl="0" eaLnBrk="1" fontAlgn="auto" latinLnBrk="0" hangingPunct="1">
              <a:lnSpc>
                <a:spcPct val="100000"/>
              </a:lnSpc>
              <a:spcBef>
                <a:spcPts val="0"/>
              </a:spcBef>
              <a:spcAft>
                <a:spcPts val="0"/>
              </a:spcAft>
              <a:buClrTx/>
              <a:buSzTx/>
              <a:buFontTx/>
              <a:buNone/>
              <a:tabLst/>
              <a:defRPr/>
            </a:pPr>
            <a:r>
              <a:rPr kumimoji="0" lang="en-US" sz="1455" b="0" i="0" u="none" strike="noStrike" kern="1200" cap="none" spc="0" normalizeH="0" baseline="0" noProof="0">
                <a:ln>
                  <a:noFill/>
                </a:ln>
                <a:solidFill>
                  <a:srgbClr val="000000"/>
                </a:solidFill>
                <a:effectLst/>
                <a:uLnTx/>
                <a:uFillTx/>
                <a:latin typeface="Poppins"/>
                <a:ea typeface="Source Sans Pro"/>
                <a:cs typeface="Poppins"/>
              </a:rPr>
              <a:t>SAGE proposed conducting scenario analyses, risk assessment and contingency planning, including potential efficacy in IGRA negatives, to proactively align and inform decision making. It will be important to ensure commitment from developers and donors to generate additional data and evidence. </a:t>
            </a:r>
          </a:p>
        </p:txBody>
      </p:sp>
      <p:pic>
        <p:nvPicPr>
          <p:cNvPr id="16" name="Graphic 15" descr="Decision chart outline">
            <a:extLst>
              <a:ext uri="{FF2B5EF4-FFF2-40B4-BE49-F238E27FC236}">
                <a16:creationId xmlns:a16="http://schemas.microsoft.com/office/drawing/2014/main" id="{689491B1-417A-31D1-FA96-1F168668AE1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7421" y="4276300"/>
            <a:ext cx="554493" cy="554493"/>
          </a:xfrm>
          <a:prstGeom prst="rect">
            <a:avLst/>
          </a:prstGeom>
        </p:spPr>
      </p:pic>
      <p:pic>
        <p:nvPicPr>
          <p:cNvPr id="11" name="Graphic 10" descr="Open hand outline">
            <a:extLst>
              <a:ext uri="{FF2B5EF4-FFF2-40B4-BE49-F238E27FC236}">
                <a16:creationId xmlns:a16="http://schemas.microsoft.com/office/drawing/2014/main" id="{50A309CC-D969-4B8A-CCF6-7343288ADAE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9846" y="5419247"/>
            <a:ext cx="554454" cy="554493"/>
          </a:xfrm>
          <a:prstGeom prst="rect">
            <a:avLst/>
          </a:prstGeom>
        </p:spPr>
      </p:pic>
    </p:spTree>
    <p:extLst>
      <p:ext uri="{BB962C8B-B14F-4D97-AF65-F5344CB8AC3E}">
        <p14:creationId xmlns:p14="http://schemas.microsoft.com/office/powerpoint/2010/main" val="161652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7C416-EF53-6A12-5EE1-7CCC2A95CA78}"/>
            </a:ext>
          </a:extLst>
        </p:cNvPr>
        <p:cNvGrpSpPr/>
        <p:nvPr/>
      </p:nvGrpSpPr>
      <p:grpSpPr>
        <a:xfrm>
          <a:off x="0" y="0"/>
          <a:ext cx="0" cy="0"/>
          <a:chOff x="0" y="0"/>
          <a:chExt cx="0" cy="0"/>
        </a:xfrm>
      </p:grpSpPr>
      <p:sp>
        <p:nvSpPr>
          <p:cNvPr id="12" name="Footer Placeholder 1">
            <a:extLst>
              <a:ext uri="{FF2B5EF4-FFF2-40B4-BE49-F238E27FC236}">
                <a16:creationId xmlns:a16="http://schemas.microsoft.com/office/drawing/2014/main" id="{4E41E13F-AB3C-2424-42DD-F32C5643C42F}"/>
              </a:ext>
            </a:extLst>
          </p:cNvPr>
          <p:cNvSpPr>
            <a:spLocks noGrp="1"/>
          </p:cNvSpPr>
          <p:nvPr>
            <p:ph type="ftr" sz="quarter" idx="4294967295"/>
          </p:nvPr>
        </p:nvSpPr>
        <p:spPr>
          <a:xfrm>
            <a:off x="578025" y="6482886"/>
            <a:ext cx="7575183" cy="111982"/>
          </a:xfrm>
          <a:prstGeom prst="rect">
            <a:avLst/>
          </a:prstGeom>
        </p:spPr>
        <p:txBody>
          <a:bodyPr/>
          <a:lstStyle/>
          <a:p>
            <a:pPr marL="0" marR="0" lvl="0" indent="0" algn="l" defTabSz="554492" rtl="0" eaLnBrk="1" fontAlgn="auto" latinLnBrk="0" hangingPunct="1">
              <a:lnSpc>
                <a:spcPct val="100000"/>
              </a:lnSpc>
              <a:spcBef>
                <a:spcPts val="0"/>
              </a:spcBef>
              <a:spcAft>
                <a:spcPts val="364"/>
              </a:spcAft>
              <a:buClrTx/>
              <a:buSzTx/>
              <a:buFontTx/>
              <a:buNone/>
              <a:tabLst/>
              <a:defRPr/>
            </a:pPr>
            <a:r>
              <a:rPr kumimoji="0" lang="en-GB" sz="1092" b="0" i="0" u="none" strike="noStrike" kern="1200" cap="none" spc="0" normalizeH="0" baseline="0" noProof="0">
                <a:ln>
                  <a:noFill/>
                </a:ln>
                <a:solidFill>
                  <a:srgbClr val="000000"/>
                </a:solidFill>
                <a:effectLst/>
                <a:uLnTx/>
                <a:uFillTx/>
                <a:latin typeface="Poppins"/>
                <a:ea typeface="+mn-ea"/>
                <a:cs typeface="+mn-cs"/>
              </a:rPr>
              <a:t>Immunization, Vaccines and Biologicals</a:t>
            </a:r>
          </a:p>
        </p:txBody>
      </p:sp>
      <p:sp>
        <p:nvSpPr>
          <p:cNvPr id="5" name="Title 4">
            <a:extLst>
              <a:ext uri="{FF2B5EF4-FFF2-40B4-BE49-F238E27FC236}">
                <a16:creationId xmlns:a16="http://schemas.microsoft.com/office/drawing/2014/main" id="{B5B6711C-7871-AE9E-46A5-D6BAD38BE1B7}"/>
              </a:ext>
            </a:extLst>
          </p:cNvPr>
          <p:cNvSpPr>
            <a:spLocks noGrp="1"/>
          </p:cNvSpPr>
          <p:nvPr>
            <p:ph type="body" sz="quarter" idx="13"/>
          </p:nvPr>
        </p:nvSpPr>
        <p:spPr>
          <a:xfrm>
            <a:off x="1498330" y="2863649"/>
            <a:ext cx="9195342" cy="1130703"/>
          </a:xfrm>
        </p:spPr>
        <p:txBody>
          <a:bodyPr wrap="square" anchor="ctr">
            <a:normAutofit/>
          </a:bodyPr>
          <a:lstStyle/>
          <a:p>
            <a:r>
              <a:rPr lang="en-GB"/>
              <a:t>COMBINATION VACCINES</a:t>
            </a:r>
          </a:p>
        </p:txBody>
      </p:sp>
      <p:sp>
        <p:nvSpPr>
          <p:cNvPr id="2" name="Slide Number Placeholder 5">
            <a:extLst>
              <a:ext uri="{FF2B5EF4-FFF2-40B4-BE49-F238E27FC236}">
                <a16:creationId xmlns:a16="http://schemas.microsoft.com/office/drawing/2014/main" id="{69020668-4E74-9369-9716-D762F11C6E62}"/>
              </a:ext>
            </a:extLst>
          </p:cNvPr>
          <p:cNvSpPr txBox="1">
            <a:spLocks/>
          </p:cNvSpPr>
          <p:nvPr/>
        </p:nvSpPr>
        <p:spPr>
          <a:xfrm>
            <a:off x="10693671" y="6482886"/>
            <a:ext cx="897133" cy="112018"/>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32</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pic>
        <p:nvPicPr>
          <p:cNvPr id="3" name="Graphic 2" descr="Needle outline">
            <a:extLst>
              <a:ext uri="{FF2B5EF4-FFF2-40B4-BE49-F238E27FC236}">
                <a16:creationId xmlns:a16="http://schemas.microsoft.com/office/drawing/2014/main" id="{08978F45-4016-81D7-4321-BDB9C03075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3671" y="263132"/>
            <a:ext cx="1174379" cy="1174379"/>
          </a:xfrm>
          <a:prstGeom prst="rect">
            <a:avLst/>
          </a:prstGeom>
        </p:spPr>
      </p:pic>
    </p:spTree>
    <p:extLst>
      <p:ext uri="{BB962C8B-B14F-4D97-AF65-F5344CB8AC3E}">
        <p14:creationId xmlns:p14="http://schemas.microsoft.com/office/powerpoint/2010/main" val="26727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E10B80-68B4-879B-892D-937CB0FDC5BA}"/>
              </a:ext>
            </a:extLst>
          </p:cNvPr>
          <p:cNvSpPr>
            <a:spLocks noGrp="1"/>
          </p:cNvSpPr>
          <p:nvPr>
            <p:ph type="title"/>
          </p:nvPr>
        </p:nvSpPr>
        <p:spPr>
          <a:xfrm>
            <a:off x="330744" y="141208"/>
            <a:ext cx="11528086" cy="891001"/>
          </a:xfrm>
        </p:spPr>
        <p:txBody>
          <a:bodyPr/>
          <a:lstStyle/>
          <a:p>
            <a:pPr algn="ctr"/>
            <a:r>
              <a:rPr lang="en-CH"/>
              <a:t>Combination vaccines could help broaden and strengthen immunization programs, but few are in development </a:t>
            </a:r>
            <a:endParaRPr lang="en-US"/>
          </a:p>
        </p:txBody>
      </p:sp>
      <p:sp>
        <p:nvSpPr>
          <p:cNvPr id="6" name="Text Placeholder 5">
            <a:extLst>
              <a:ext uri="{FF2B5EF4-FFF2-40B4-BE49-F238E27FC236}">
                <a16:creationId xmlns:a16="http://schemas.microsoft.com/office/drawing/2014/main" id="{E97FB4A9-BB67-A220-5D8F-7A341690CBD8}"/>
              </a:ext>
            </a:extLst>
          </p:cNvPr>
          <p:cNvSpPr>
            <a:spLocks noGrp="1"/>
          </p:cNvSpPr>
          <p:nvPr>
            <p:ph type="body" idx="1"/>
          </p:nvPr>
        </p:nvSpPr>
        <p:spPr>
          <a:xfrm>
            <a:off x="326552" y="1882242"/>
            <a:ext cx="2899493" cy="3918733"/>
          </a:xfrm>
          <a:solidFill>
            <a:srgbClr val="F5ECE8"/>
          </a:solidFill>
          <a:ln>
            <a:noFill/>
          </a:ln>
        </p:spPr>
        <p:txBody>
          <a:bodyPr wrap="square" lIns="137150" tIns="0" rIns="137150" bIns="0" anchor="ctr">
            <a:noAutofit/>
          </a:bodyPr>
          <a:lstStyle/>
          <a:p>
            <a:pPr algn="l">
              <a:spcAft>
                <a:spcPts val="2400"/>
              </a:spcAft>
            </a:pPr>
            <a:r>
              <a:rPr lang="en-GB" sz="1698" b="1">
                <a:solidFill>
                  <a:schemeClr val="tx1"/>
                </a:solidFill>
              </a:rPr>
              <a:t>The potential for new vaccines </a:t>
            </a:r>
            <a:r>
              <a:rPr lang="en-GB" sz="1698">
                <a:solidFill>
                  <a:schemeClr val="tx1"/>
                </a:solidFill>
              </a:rPr>
              <a:t>to address major public health challenges, including AMR, </a:t>
            </a:r>
            <a:r>
              <a:rPr lang="en-GB" sz="1698" b="1">
                <a:solidFill>
                  <a:schemeClr val="tx1"/>
                </a:solidFill>
              </a:rPr>
              <a:t>has never been greater.</a:t>
            </a:r>
            <a:endParaRPr lang="en-GB" sz="1698">
              <a:solidFill>
                <a:schemeClr val="tx1"/>
              </a:solidFill>
              <a:ea typeface="Calibri"/>
              <a:cs typeface="Calibri"/>
            </a:endParaRPr>
          </a:p>
          <a:p>
            <a:pPr algn="l">
              <a:spcAft>
                <a:spcPts val="2400"/>
              </a:spcAft>
            </a:pPr>
            <a:r>
              <a:rPr lang="en-GB" sz="1698" b="1">
                <a:solidFill>
                  <a:schemeClr val="tx1"/>
                </a:solidFill>
              </a:rPr>
              <a:t>But</a:t>
            </a:r>
            <a:r>
              <a:rPr lang="en-GB" sz="1698">
                <a:solidFill>
                  <a:schemeClr val="tx1"/>
                </a:solidFill>
              </a:rPr>
              <a:t> </a:t>
            </a:r>
            <a:r>
              <a:rPr lang="en-GB" sz="1698" b="1">
                <a:solidFill>
                  <a:schemeClr val="tx1"/>
                </a:solidFill>
              </a:rPr>
              <a:t>immunization schedules are </a:t>
            </a:r>
            <a:r>
              <a:rPr lang="en-GB" sz="1698">
                <a:solidFill>
                  <a:schemeClr val="tx1"/>
                </a:solidFill>
              </a:rPr>
              <a:t>already</a:t>
            </a:r>
            <a:r>
              <a:rPr lang="en-GB" sz="1698" b="1">
                <a:solidFill>
                  <a:schemeClr val="tx1"/>
                </a:solidFill>
              </a:rPr>
              <a:t> saturated </a:t>
            </a:r>
            <a:r>
              <a:rPr lang="en-GB" sz="1698">
                <a:solidFill>
                  <a:schemeClr val="tx1"/>
                </a:solidFill>
              </a:rPr>
              <a:t>with multiple vaccines often administered at the same visit.</a:t>
            </a:r>
            <a:endParaRPr lang="en-GB" sz="1698">
              <a:solidFill>
                <a:schemeClr val="tx1"/>
              </a:solidFill>
              <a:ea typeface="Calibri"/>
              <a:cs typeface="Calibri"/>
            </a:endParaRPr>
          </a:p>
        </p:txBody>
      </p:sp>
      <p:sp>
        <p:nvSpPr>
          <p:cNvPr id="3" name="Slide Number Placeholder 2">
            <a:extLst>
              <a:ext uri="{FF2B5EF4-FFF2-40B4-BE49-F238E27FC236}">
                <a16:creationId xmlns:a16="http://schemas.microsoft.com/office/drawing/2014/main" id="{BF4D0F7B-D8EF-F518-85AD-677E608BD4DB}"/>
              </a:ext>
            </a:extLst>
          </p:cNvPr>
          <p:cNvSpPr>
            <a:spLocks noGrp="1"/>
          </p:cNvSpPr>
          <p:nvPr>
            <p:ph type="sldNum" sz="quarter" idx="7"/>
          </p:nvPr>
        </p:nvSpPr>
        <p:spPr/>
        <p:txBody>
          <a:bodyPr/>
          <a:lstStyle/>
          <a:p>
            <a:pPr marL="38098" marR="0" lvl="0" indent="0" algn="ctr" defTabSz="914358" rtl="0" eaLnBrk="1" fontAlgn="auto" latinLnBrk="0" hangingPunct="1">
              <a:lnSpc>
                <a:spcPct val="100000"/>
              </a:lnSpc>
              <a:spcBef>
                <a:spcPts val="180"/>
              </a:spcBef>
              <a:spcAft>
                <a:spcPts val="0"/>
              </a:spcAft>
              <a:buClrTx/>
              <a:buSzTx/>
              <a:buFontTx/>
              <a:buNone/>
              <a:tabLst/>
              <a:defRPr/>
            </a:pPr>
            <a:fld id="{81D60167-4931-47E6-BA6A-407CBD079E47}" type="slidenum">
              <a:rPr kumimoji="0" lang="en-US" sz="1200" b="1" i="0" u="none" strike="noStrike" kern="0" cap="none" spc="-50" normalizeH="0" baseline="0" noProof="0">
                <a:ln>
                  <a:noFill/>
                </a:ln>
                <a:solidFill>
                  <a:srgbClr val="182857"/>
                </a:solidFill>
                <a:effectLst/>
                <a:uLnTx/>
                <a:uFillTx/>
                <a:latin typeface="Open Sans"/>
                <a:ea typeface="+mn-ea"/>
                <a:cs typeface="Open Sans"/>
              </a:rPr>
              <a:pPr marL="38098" marR="0" lvl="0" indent="0" algn="ctr" defTabSz="914358" rtl="0" eaLnBrk="1" fontAlgn="auto" latinLnBrk="0" hangingPunct="1">
                <a:lnSpc>
                  <a:spcPct val="100000"/>
                </a:lnSpc>
                <a:spcBef>
                  <a:spcPts val="180"/>
                </a:spcBef>
                <a:spcAft>
                  <a:spcPts val="0"/>
                </a:spcAft>
                <a:buClrTx/>
                <a:buSzTx/>
                <a:buFontTx/>
                <a:buNone/>
                <a:tabLst/>
                <a:defRPr/>
              </a:pPr>
              <a:t>33</a:t>
            </a:fld>
            <a:endParaRPr kumimoji="0" lang="en-US" sz="1200" b="1" i="0" u="none" strike="noStrike" kern="0" cap="none" spc="-50" normalizeH="0" baseline="0" noProof="0">
              <a:ln>
                <a:noFill/>
              </a:ln>
              <a:solidFill>
                <a:srgbClr val="182857"/>
              </a:solidFill>
              <a:effectLst/>
              <a:uLnTx/>
              <a:uFillTx/>
              <a:latin typeface="Open Sans"/>
              <a:ea typeface="+mn-ea"/>
              <a:cs typeface="Open Sans"/>
            </a:endParaRPr>
          </a:p>
        </p:txBody>
      </p:sp>
      <p:sp>
        <p:nvSpPr>
          <p:cNvPr id="7" name="Text Placeholder 5">
            <a:extLst>
              <a:ext uri="{FF2B5EF4-FFF2-40B4-BE49-F238E27FC236}">
                <a16:creationId xmlns:a16="http://schemas.microsoft.com/office/drawing/2014/main" id="{5141B441-C961-2410-6C7E-65EB9E707D37}"/>
              </a:ext>
            </a:extLst>
          </p:cNvPr>
          <p:cNvSpPr txBox="1">
            <a:spLocks/>
          </p:cNvSpPr>
          <p:nvPr/>
        </p:nvSpPr>
        <p:spPr>
          <a:xfrm>
            <a:off x="3360608" y="1882242"/>
            <a:ext cx="3252739" cy="3907516"/>
          </a:xfrm>
          <a:prstGeom prst="rect">
            <a:avLst/>
          </a:prstGeom>
          <a:solidFill>
            <a:srgbClr val="E5F2D9"/>
          </a:solidFill>
          <a:ln>
            <a:noFill/>
          </a:ln>
        </p:spPr>
        <p:txBody>
          <a:bodyPr wrap="square" lIns="137150" tIns="0" rIns="137150" bIns="0" anchor="ctr">
            <a:noAutofit/>
          </a:bodyPr>
          <a:lst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0" marR="0" lvl="0" indent="0" algn="l" defTabSz="914358" rtl="0" eaLnBrk="1" fontAlgn="auto" latinLnBrk="0" hangingPunct="1">
              <a:lnSpc>
                <a:spcPct val="100000"/>
              </a:lnSpc>
              <a:spcBef>
                <a:spcPts val="0"/>
              </a:spcBef>
              <a:spcAft>
                <a:spcPts val="2400"/>
              </a:spcAft>
              <a:buClrTx/>
              <a:buSzTx/>
              <a:buFontTx/>
              <a:buNone/>
              <a:tabLst/>
              <a:defRPr/>
            </a:pPr>
            <a:r>
              <a:rPr kumimoji="0" lang="en-GB" sz="1698" b="0" i="0" u="none" strike="noStrike" kern="0" cap="none" spc="0" normalizeH="0" baseline="0" noProof="0">
                <a:ln>
                  <a:noFill/>
                </a:ln>
                <a:solidFill>
                  <a:srgbClr val="3A4151"/>
                </a:solidFill>
                <a:effectLst/>
                <a:uLnTx/>
                <a:uFillTx/>
                <a:latin typeface="Calibri" panose="020F0502020204030204"/>
                <a:ea typeface="+mn-ea"/>
                <a:cs typeface="+mn-cs"/>
              </a:rPr>
              <a:t>Combination vaccines could </a:t>
            </a:r>
            <a:r>
              <a:rPr kumimoji="0" lang="en-GB" sz="1698" b="1" i="0" u="none" strike="noStrike" kern="0" cap="none" spc="0" normalizeH="0" baseline="0" noProof="0">
                <a:ln>
                  <a:noFill/>
                </a:ln>
                <a:solidFill>
                  <a:srgbClr val="3A4151"/>
                </a:solidFill>
                <a:effectLst/>
                <a:uLnTx/>
                <a:uFillTx/>
                <a:latin typeface="Calibri" panose="020F0502020204030204"/>
                <a:ea typeface="+mn-ea"/>
                <a:cs typeface="+mn-cs"/>
              </a:rPr>
              <a:t>simplify immunization schedules, increase coverage</a:t>
            </a:r>
            <a:r>
              <a:rPr kumimoji="0" lang="en-GB" sz="1698" b="0" i="0" u="none" strike="noStrike" kern="0" cap="none" spc="0" normalizeH="0" baseline="0" noProof="0">
                <a:ln>
                  <a:noFill/>
                </a:ln>
                <a:solidFill>
                  <a:srgbClr val="3A4151"/>
                </a:solidFill>
                <a:effectLst/>
                <a:uLnTx/>
                <a:uFillTx/>
                <a:latin typeface="Calibri" panose="020F0502020204030204"/>
                <a:ea typeface="+mn-ea"/>
                <a:cs typeface="+mn-cs"/>
              </a:rPr>
              <a:t>, allow </a:t>
            </a:r>
            <a:r>
              <a:rPr kumimoji="0" lang="en-GB" sz="1698" b="1" i="0" u="none" strike="noStrike" kern="0" cap="none" spc="0" normalizeH="0" baseline="0" noProof="0">
                <a:ln>
                  <a:noFill/>
                </a:ln>
                <a:solidFill>
                  <a:srgbClr val="3A4151"/>
                </a:solidFill>
                <a:effectLst/>
                <a:uLnTx/>
                <a:uFillTx/>
                <a:latin typeface="Calibri" panose="020F0502020204030204"/>
                <a:ea typeface="+mn-ea"/>
                <a:cs typeface="+mn-cs"/>
              </a:rPr>
              <a:t>introduction of new vaccines</a:t>
            </a:r>
            <a:r>
              <a:rPr kumimoji="0" lang="en-GB" sz="1698" b="0" i="0" u="none" strike="noStrike" kern="0" cap="none" spc="0" normalizeH="0" baseline="0" noProof="0">
                <a:ln>
                  <a:noFill/>
                </a:ln>
                <a:solidFill>
                  <a:srgbClr val="3A4151"/>
                </a:solidFill>
                <a:effectLst/>
                <a:uLnTx/>
                <a:uFillTx/>
                <a:latin typeface="Calibri" panose="020F0502020204030204"/>
                <a:ea typeface="+mn-ea"/>
                <a:cs typeface="+mn-cs"/>
              </a:rPr>
              <a:t>, </a:t>
            </a:r>
            <a:r>
              <a:rPr kumimoji="0" lang="en-GB" sz="1698" b="1" i="0" u="none" strike="noStrike" kern="0" cap="none" spc="0" normalizeH="0" baseline="0" noProof="0">
                <a:ln>
                  <a:noFill/>
                </a:ln>
                <a:solidFill>
                  <a:srgbClr val="3A4151"/>
                </a:solidFill>
                <a:effectLst/>
                <a:uLnTx/>
                <a:uFillTx/>
                <a:latin typeface="Calibri" panose="020F0502020204030204"/>
                <a:ea typeface="+mn-ea"/>
                <a:cs typeface="+mn-cs"/>
              </a:rPr>
              <a:t>and enhance efficiency</a:t>
            </a:r>
            <a:r>
              <a:rPr kumimoji="0" lang="en-GB" sz="1698" b="0" i="0" u="none" strike="noStrike" kern="0" cap="none" spc="0" normalizeH="0" baseline="0" noProof="0">
                <a:ln>
                  <a:noFill/>
                </a:ln>
                <a:solidFill>
                  <a:srgbClr val="3A4151"/>
                </a:solidFill>
                <a:effectLst/>
                <a:uLnTx/>
                <a:uFillTx/>
                <a:latin typeface="Calibri" panose="020F0502020204030204"/>
                <a:ea typeface="+mn-ea"/>
                <a:cs typeface="+mn-cs"/>
              </a:rPr>
              <a:t> of immunization programs.</a:t>
            </a:r>
            <a:endParaRPr kumimoji="0" lang="en-GB" sz="1698" b="0" i="0" u="none" strike="noStrike" kern="0" cap="none" spc="0" normalizeH="0" baseline="0" noProof="0">
              <a:ln>
                <a:noFill/>
              </a:ln>
              <a:solidFill>
                <a:srgbClr val="3A4151"/>
              </a:solidFill>
              <a:effectLst/>
              <a:uLnTx/>
              <a:uFillTx/>
              <a:latin typeface="Calibri" panose="020F0502020204030204"/>
              <a:ea typeface="Calibri"/>
              <a:cs typeface="Calibri"/>
            </a:endParaRPr>
          </a:p>
          <a:p>
            <a:pPr marL="0" marR="0" lvl="0" indent="0" algn="l" defTabSz="914358" rtl="0" eaLnBrk="1" fontAlgn="auto" latinLnBrk="0" hangingPunct="1">
              <a:lnSpc>
                <a:spcPct val="100000"/>
              </a:lnSpc>
              <a:spcBef>
                <a:spcPts val="0"/>
              </a:spcBef>
              <a:spcAft>
                <a:spcPts val="2400"/>
              </a:spcAft>
              <a:buClrTx/>
              <a:buSzTx/>
              <a:buFontTx/>
              <a:buNone/>
              <a:tabLst/>
              <a:defRPr/>
            </a:pPr>
            <a:r>
              <a:rPr kumimoji="0" lang="en-GB" sz="1698" b="0" i="0" u="none" strike="noStrike" kern="0" cap="none" spc="0" normalizeH="0" baseline="0" noProof="0">
                <a:ln>
                  <a:noFill/>
                </a:ln>
                <a:solidFill>
                  <a:srgbClr val="3A4151"/>
                </a:solidFill>
                <a:effectLst/>
                <a:uLnTx/>
                <a:uFillTx/>
                <a:latin typeface="Calibri" panose="020F0502020204030204"/>
                <a:ea typeface="+mn-ea"/>
                <a:cs typeface="+mn-cs"/>
              </a:rPr>
              <a:t>However – they will likely </a:t>
            </a:r>
            <a:r>
              <a:rPr kumimoji="0" lang="en-GB" sz="1698" b="1" i="0" u="none" strike="noStrike" kern="0" cap="none" spc="0" normalizeH="0" baseline="0" noProof="0">
                <a:ln>
                  <a:noFill/>
                </a:ln>
                <a:solidFill>
                  <a:srgbClr val="3A4151"/>
                </a:solidFill>
                <a:effectLst/>
                <a:uLnTx/>
                <a:uFillTx/>
                <a:latin typeface="Calibri" panose="020F0502020204030204"/>
                <a:ea typeface="+mn-ea"/>
                <a:cs typeface="+mn-cs"/>
              </a:rPr>
              <a:t>cost more</a:t>
            </a:r>
            <a:r>
              <a:rPr kumimoji="0" lang="en-GB" sz="1698" b="0" i="0" u="none" strike="noStrike" kern="0" cap="none" spc="0" normalizeH="0" baseline="0" noProof="0">
                <a:ln>
                  <a:noFill/>
                </a:ln>
                <a:solidFill>
                  <a:srgbClr val="3A4151"/>
                </a:solidFill>
                <a:effectLst/>
                <a:uLnTx/>
                <a:uFillTx/>
                <a:latin typeface="Calibri" panose="020F0502020204030204"/>
                <a:ea typeface="+mn-ea"/>
                <a:cs typeface="+mn-cs"/>
              </a:rPr>
              <a:t>. </a:t>
            </a:r>
            <a:endParaRPr kumimoji="0" lang="en-GB" sz="1698" b="0" i="0" u="none" strike="noStrike" kern="0" cap="none" spc="0" normalizeH="0" baseline="0" noProof="0">
              <a:ln>
                <a:noFill/>
              </a:ln>
              <a:solidFill>
                <a:srgbClr val="3A4151"/>
              </a:solidFill>
              <a:effectLst/>
              <a:uLnTx/>
              <a:uFillTx/>
              <a:latin typeface="Calibri" panose="020F0502020204030204"/>
              <a:ea typeface="Calibri"/>
              <a:cs typeface="Calibri"/>
            </a:endParaRPr>
          </a:p>
          <a:p>
            <a:pPr marL="0" marR="0" lvl="0" indent="0" algn="l" defTabSz="914358" rtl="0" eaLnBrk="1" fontAlgn="auto" latinLnBrk="0" hangingPunct="1">
              <a:lnSpc>
                <a:spcPct val="100000"/>
              </a:lnSpc>
              <a:spcBef>
                <a:spcPts val="0"/>
              </a:spcBef>
              <a:spcAft>
                <a:spcPts val="2400"/>
              </a:spcAft>
              <a:buClrTx/>
              <a:buSzTx/>
              <a:buFontTx/>
              <a:buNone/>
              <a:tabLst/>
              <a:defRPr/>
            </a:pPr>
            <a:endParaRPr kumimoji="0" lang="en-GB" sz="1698" b="0" i="0" u="none" strike="noStrike" kern="0" cap="none" spc="0" normalizeH="0" baseline="0" noProof="0">
              <a:ln>
                <a:noFill/>
              </a:ln>
              <a:solidFill>
                <a:srgbClr val="3A4151"/>
              </a:solidFill>
              <a:effectLst/>
              <a:uLnTx/>
              <a:uFillTx/>
              <a:latin typeface="Calibri" panose="020F0502020204030204"/>
              <a:ea typeface="Calibri"/>
              <a:cs typeface="Calibri"/>
            </a:endParaRPr>
          </a:p>
        </p:txBody>
      </p:sp>
      <p:sp>
        <p:nvSpPr>
          <p:cNvPr id="8" name="Text Placeholder 5">
            <a:extLst>
              <a:ext uri="{FF2B5EF4-FFF2-40B4-BE49-F238E27FC236}">
                <a16:creationId xmlns:a16="http://schemas.microsoft.com/office/drawing/2014/main" id="{1AC29FD9-9536-1182-F103-74892CCD3251}"/>
              </a:ext>
            </a:extLst>
          </p:cNvPr>
          <p:cNvSpPr txBox="1">
            <a:spLocks/>
          </p:cNvSpPr>
          <p:nvPr/>
        </p:nvSpPr>
        <p:spPr>
          <a:xfrm>
            <a:off x="6759551" y="1877493"/>
            <a:ext cx="5225121" cy="3912596"/>
          </a:xfrm>
          <a:prstGeom prst="rect">
            <a:avLst/>
          </a:prstGeom>
          <a:solidFill>
            <a:schemeClr val="accent5">
              <a:lumMod val="20000"/>
              <a:lumOff val="80000"/>
            </a:schemeClr>
          </a:solidFill>
          <a:ln>
            <a:noFill/>
          </a:ln>
        </p:spPr>
        <p:txBody>
          <a:bodyPr wrap="square" lIns="137150" tIns="0" rIns="137150" bIns="0" anchor="ctr">
            <a:noAutofit/>
          </a:bodyPr>
          <a:lst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0" marR="0" lvl="0" indent="0" algn="l" defTabSz="914358" rtl="0" eaLnBrk="1" fontAlgn="auto" latinLnBrk="0" hangingPunct="1">
              <a:lnSpc>
                <a:spcPct val="100000"/>
              </a:lnSpc>
              <a:spcBef>
                <a:spcPts val="0"/>
              </a:spcBef>
              <a:spcAft>
                <a:spcPts val="2400"/>
              </a:spcAft>
              <a:buClrTx/>
              <a:buSzTx/>
              <a:buFontTx/>
              <a:buNone/>
              <a:tabLst/>
              <a:defRPr/>
            </a:pPr>
            <a:r>
              <a:rPr kumimoji="0" lang="en-CH" sz="1698" b="1" i="0" u="none" strike="noStrike" kern="0" cap="none" spc="0" normalizeH="0" baseline="0" noProof="0">
                <a:ln>
                  <a:noFill/>
                </a:ln>
                <a:solidFill>
                  <a:srgbClr val="3A4151"/>
                </a:solidFill>
                <a:effectLst/>
                <a:uLnTx/>
                <a:uFillTx/>
                <a:latin typeface="Calibri" panose="020F0502020204030204"/>
                <a:ea typeface="+mn-ea"/>
                <a:cs typeface="+mn-cs"/>
              </a:rPr>
              <a:t>REGULATORY:</a:t>
            </a:r>
            <a:r>
              <a:rPr kumimoji="0" lang="en-CH" sz="1698" b="0" i="0" u="none" strike="noStrike" kern="0" cap="none" spc="0" normalizeH="0" baseline="0" noProof="0">
                <a:ln>
                  <a:noFill/>
                </a:ln>
                <a:solidFill>
                  <a:srgbClr val="3A4151"/>
                </a:solidFill>
                <a:effectLst/>
                <a:uLnTx/>
                <a:uFillTx/>
                <a:latin typeface="Calibri" panose="020F0502020204030204"/>
                <a:ea typeface="+mn-ea"/>
                <a:cs typeface="+mn-cs"/>
              </a:rPr>
              <a:t> </a:t>
            </a:r>
            <a:r>
              <a:rPr kumimoji="0" lang="en-GB" sz="1698" b="1" i="0" u="none" strike="noStrike" kern="0" cap="none" spc="0" normalizeH="0" baseline="0" noProof="0">
                <a:ln>
                  <a:noFill/>
                </a:ln>
                <a:solidFill>
                  <a:srgbClr val="3A4151"/>
                </a:solidFill>
                <a:effectLst/>
                <a:uLnTx/>
                <a:uFillTx/>
                <a:latin typeface="Calibri" panose="020F0502020204030204"/>
                <a:ea typeface="+mn-ea"/>
                <a:cs typeface="+mn-cs"/>
              </a:rPr>
              <a:t>Evaluate simplifying licensure </a:t>
            </a:r>
            <a:r>
              <a:rPr kumimoji="0" lang="en-CH" sz="1698" b="1" i="0" u="none" strike="noStrike" kern="0" cap="none" spc="0" normalizeH="0" baseline="0" noProof="0">
                <a:ln>
                  <a:noFill/>
                </a:ln>
                <a:solidFill>
                  <a:srgbClr val="3A4151"/>
                </a:solidFill>
                <a:effectLst/>
                <a:uLnTx/>
                <a:uFillTx/>
                <a:latin typeface="Calibri" panose="020F0502020204030204"/>
                <a:ea typeface="+mn-ea"/>
                <a:cs typeface="+mn-cs"/>
              </a:rPr>
              <a:t>pathways</a:t>
            </a:r>
            <a:r>
              <a:rPr kumimoji="0" lang="en-US" sz="1698" b="1" i="0" u="none" strike="noStrike" kern="0" cap="none" spc="0" normalizeH="0" baseline="0" noProof="0">
                <a:ln>
                  <a:noFill/>
                </a:ln>
                <a:solidFill>
                  <a:srgbClr val="3A4151"/>
                </a:solidFill>
                <a:effectLst/>
                <a:uLnTx/>
                <a:uFillTx/>
                <a:latin typeface="Calibri" panose="020F0502020204030204"/>
                <a:ea typeface="+mn-ea"/>
                <a:cs typeface="+mn-cs"/>
              </a:rPr>
              <a:t>, </a:t>
            </a:r>
            <a:r>
              <a:rPr kumimoji="0" lang="en-US" sz="1698" b="0" i="0" u="none" strike="noStrike" kern="0" cap="none" spc="0" normalizeH="0" baseline="0" noProof="0">
                <a:ln>
                  <a:noFill/>
                </a:ln>
                <a:solidFill>
                  <a:srgbClr val="3A4151"/>
                </a:solidFill>
                <a:effectLst/>
                <a:uLnTx/>
                <a:uFillTx/>
                <a:latin typeface="Calibri" panose="020F0502020204030204"/>
                <a:ea typeface="+mn-ea"/>
                <a:cs typeface="+mn-cs"/>
              </a:rPr>
              <a:t>focusing on the benefit/risk of a combination as a whole</a:t>
            </a:r>
            <a:endParaRPr kumimoji="0" lang="en-US" sz="1698" b="0" i="0" u="none" strike="noStrike" kern="0" cap="none" spc="0" normalizeH="0" baseline="0" noProof="0">
              <a:ln>
                <a:noFill/>
              </a:ln>
              <a:solidFill>
                <a:srgbClr val="3A4151"/>
              </a:solidFill>
              <a:effectLst/>
              <a:uLnTx/>
              <a:uFillTx/>
              <a:latin typeface="Calibri" panose="020F0502020204030204"/>
              <a:ea typeface="Calibri" panose="020F0502020204030204"/>
              <a:cs typeface="Calibri" panose="020F0502020204030204"/>
            </a:endParaRPr>
          </a:p>
          <a:p>
            <a:pPr marL="0" marR="0" lvl="0" indent="0" algn="l" defTabSz="914358" rtl="0" eaLnBrk="1" fontAlgn="auto" latinLnBrk="0" hangingPunct="1">
              <a:lnSpc>
                <a:spcPct val="100000"/>
              </a:lnSpc>
              <a:spcBef>
                <a:spcPts val="0"/>
              </a:spcBef>
              <a:spcAft>
                <a:spcPts val="2400"/>
              </a:spcAft>
              <a:buClrTx/>
              <a:buSzTx/>
              <a:buFontTx/>
              <a:buNone/>
              <a:tabLst/>
              <a:defRPr/>
            </a:pPr>
            <a:r>
              <a:rPr kumimoji="0" lang="en-CH" sz="1698" b="1" i="0" u="none" strike="noStrike" kern="0" cap="none" spc="0" normalizeH="0" baseline="0" noProof="0">
                <a:ln>
                  <a:noFill/>
                </a:ln>
                <a:solidFill>
                  <a:srgbClr val="3A4151"/>
                </a:solidFill>
                <a:effectLst/>
                <a:uLnTx/>
                <a:uFillTx/>
                <a:latin typeface="Calibri" panose="020F0502020204030204"/>
                <a:ea typeface="+mn-ea"/>
                <a:cs typeface="+mn-cs"/>
              </a:rPr>
              <a:t>POLICY</a:t>
            </a:r>
            <a:r>
              <a:rPr kumimoji="0" lang="en-CH" sz="1698" b="0" i="0" u="none" strike="noStrike" kern="0" cap="none" spc="0" normalizeH="0" baseline="0" noProof="0">
                <a:ln>
                  <a:noFill/>
                </a:ln>
                <a:solidFill>
                  <a:srgbClr val="3A4151"/>
                </a:solidFill>
                <a:effectLst/>
                <a:uLnTx/>
                <a:uFillTx/>
                <a:latin typeface="Calibri" panose="020F0502020204030204"/>
                <a:ea typeface="+mn-ea"/>
                <a:cs typeface="+mn-cs"/>
              </a:rPr>
              <a:t>:</a:t>
            </a:r>
            <a:r>
              <a:rPr kumimoji="0" lang="en-GB" sz="1698" b="0" i="0" u="none" strike="noStrike" kern="0" cap="none" spc="0" normalizeH="0" baseline="0" noProof="0">
                <a:ln>
                  <a:noFill/>
                </a:ln>
                <a:solidFill>
                  <a:srgbClr val="3A4151"/>
                </a:solidFill>
                <a:effectLst/>
                <a:uLnTx/>
                <a:uFillTx/>
                <a:latin typeface="Calibri" panose="020F0502020204030204"/>
                <a:ea typeface="+mn-ea"/>
                <a:cs typeface="+mn-cs"/>
              </a:rPr>
              <a:t> </a:t>
            </a:r>
            <a:r>
              <a:rPr kumimoji="0" lang="en-GB" sz="1698" b="1" i="0" u="none" strike="noStrike" kern="0" cap="none" spc="0" normalizeH="0" baseline="0" noProof="0">
                <a:ln>
                  <a:noFill/>
                </a:ln>
                <a:solidFill>
                  <a:srgbClr val="3A4151"/>
                </a:solidFill>
                <a:effectLst/>
                <a:uLnTx/>
                <a:uFillTx/>
                <a:latin typeface="Calibri" panose="020F0502020204030204"/>
                <a:ea typeface="+mn-ea"/>
                <a:cs typeface="+mn-cs"/>
              </a:rPr>
              <a:t>Articulate</a:t>
            </a:r>
            <a:r>
              <a:rPr kumimoji="0" lang="en-CH" sz="1698" b="1" i="0" u="none" strike="noStrike" kern="0" cap="none" spc="0" normalizeH="0" baseline="0" noProof="0">
                <a:ln>
                  <a:noFill/>
                </a:ln>
                <a:solidFill>
                  <a:srgbClr val="3A4151"/>
                </a:solidFill>
                <a:effectLst/>
                <a:uLnTx/>
                <a:uFillTx/>
                <a:latin typeface="Calibri" panose="020F0502020204030204"/>
                <a:ea typeface="+mn-ea"/>
                <a:cs typeface="+mn-cs"/>
              </a:rPr>
              <a:t> public health</a:t>
            </a:r>
            <a:r>
              <a:rPr kumimoji="0" lang="en-GB" sz="1698" b="1" i="0" u="none" strike="noStrike" kern="0" cap="none" spc="0" normalizeH="0" baseline="0" noProof="0">
                <a:ln>
                  <a:noFill/>
                </a:ln>
                <a:solidFill>
                  <a:srgbClr val="3A4151"/>
                </a:solidFill>
                <a:effectLst/>
                <a:uLnTx/>
                <a:uFillTx/>
                <a:latin typeface="Calibri" panose="020F0502020204030204"/>
                <a:ea typeface="+mn-ea"/>
                <a:cs typeface="+mn-cs"/>
              </a:rPr>
              <a:t> impact</a:t>
            </a:r>
            <a:r>
              <a:rPr kumimoji="0" lang="en-GB" sz="1698" b="0" i="0" u="none" strike="noStrike" kern="0" cap="none" spc="0" normalizeH="0" baseline="0" noProof="0">
                <a:ln>
                  <a:noFill/>
                </a:ln>
                <a:solidFill>
                  <a:srgbClr val="3A4151"/>
                </a:solidFill>
                <a:effectLst/>
                <a:uLnTx/>
                <a:uFillTx/>
                <a:latin typeface="Calibri" panose="020F0502020204030204"/>
                <a:ea typeface="+mn-ea"/>
                <a:cs typeface="+mn-cs"/>
              </a:rPr>
              <a:t> of combinations relative to stand-alone components</a:t>
            </a:r>
            <a:endParaRPr kumimoji="0" lang="en-GB" sz="1698" b="0" i="0" u="none" strike="noStrike" kern="0" cap="none" spc="0" normalizeH="0" baseline="0" noProof="0">
              <a:ln>
                <a:noFill/>
              </a:ln>
              <a:solidFill>
                <a:srgbClr val="3A4151"/>
              </a:solidFill>
              <a:effectLst/>
              <a:uLnTx/>
              <a:uFillTx/>
              <a:latin typeface="Calibri" panose="020F0502020204030204"/>
              <a:ea typeface="Calibri" panose="020F0502020204030204"/>
              <a:cs typeface="Calibri" panose="020F0502020204030204"/>
            </a:endParaRPr>
          </a:p>
          <a:p>
            <a:pPr marL="0" marR="0" lvl="0" indent="0" algn="l" defTabSz="914358" rtl="0" eaLnBrk="1" fontAlgn="auto" latinLnBrk="0" hangingPunct="1">
              <a:lnSpc>
                <a:spcPct val="100000"/>
              </a:lnSpc>
              <a:spcBef>
                <a:spcPts val="0"/>
              </a:spcBef>
              <a:spcAft>
                <a:spcPts val="2400"/>
              </a:spcAft>
              <a:buClrTx/>
              <a:buSzTx/>
              <a:buFontTx/>
              <a:buNone/>
              <a:tabLst/>
              <a:defRPr/>
            </a:pPr>
            <a:r>
              <a:rPr kumimoji="0" lang="en-CH" sz="1698" b="1" i="0" u="none" strike="noStrike" kern="0" cap="none" spc="0" normalizeH="0" baseline="0" noProof="0">
                <a:ln>
                  <a:noFill/>
                </a:ln>
                <a:solidFill>
                  <a:srgbClr val="3A4151"/>
                </a:solidFill>
                <a:effectLst/>
                <a:uLnTx/>
                <a:uFillTx/>
                <a:latin typeface="Calibri" panose="020F0502020204030204"/>
                <a:ea typeface="+mn-ea"/>
                <a:cs typeface="+mn-cs"/>
              </a:rPr>
              <a:t>ECONOMIC:</a:t>
            </a:r>
            <a:r>
              <a:rPr kumimoji="0" lang="en-CH" sz="1698" b="0" i="0" u="none" strike="noStrike" kern="0" cap="none" spc="0" normalizeH="0" baseline="0" noProof="0">
                <a:ln>
                  <a:noFill/>
                </a:ln>
                <a:solidFill>
                  <a:srgbClr val="3A4151"/>
                </a:solidFill>
                <a:effectLst/>
                <a:uLnTx/>
                <a:uFillTx/>
                <a:latin typeface="Calibri" panose="020F0502020204030204"/>
                <a:ea typeface="+mn-ea"/>
                <a:cs typeface="+mn-cs"/>
              </a:rPr>
              <a:t> </a:t>
            </a:r>
            <a:r>
              <a:rPr kumimoji="0" lang="en-US" sz="1698" b="1" i="0" u="none" strike="noStrike" kern="0" cap="none" spc="0" normalizeH="0" baseline="0" noProof="0">
                <a:ln>
                  <a:noFill/>
                </a:ln>
                <a:solidFill>
                  <a:srgbClr val="3A4151"/>
                </a:solidFill>
                <a:effectLst/>
                <a:uLnTx/>
                <a:uFillTx/>
                <a:latin typeface="Calibri" panose="020F0502020204030204"/>
                <a:ea typeface="+mn-ea"/>
                <a:cs typeface="+mn-cs"/>
              </a:rPr>
              <a:t>Assess full health impact and economic value</a:t>
            </a:r>
            <a:r>
              <a:rPr kumimoji="0" lang="en-US" sz="1698" b="0" i="0" u="none" strike="noStrike" kern="0" cap="none" spc="0" normalizeH="0" baseline="0" noProof="0">
                <a:ln>
                  <a:noFill/>
                </a:ln>
                <a:solidFill>
                  <a:srgbClr val="3A4151"/>
                </a:solidFill>
                <a:effectLst/>
                <a:uLnTx/>
                <a:uFillTx/>
                <a:latin typeface="Calibri" panose="020F0502020204030204"/>
                <a:ea typeface="+mn-ea"/>
                <a:cs typeface="+mn-cs"/>
              </a:rPr>
              <a:t> of combinations</a:t>
            </a:r>
            <a:endParaRPr kumimoji="0" lang="en-GB" sz="1698" b="0" i="0" u="none" strike="noStrike" kern="0" cap="none" spc="0" normalizeH="0" baseline="0" noProof="0">
              <a:ln>
                <a:noFill/>
              </a:ln>
              <a:solidFill>
                <a:srgbClr val="3A4151"/>
              </a:solidFill>
              <a:effectLst/>
              <a:uLnTx/>
              <a:uFillTx/>
              <a:latin typeface="Calibri" panose="020F0502020204030204"/>
              <a:ea typeface="Calibri"/>
              <a:cs typeface="Calibri"/>
            </a:endParaRPr>
          </a:p>
          <a:p>
            <a:pPr marL="0" marR="0" lvl="0" indent="0" algn="l" defTabSz="914358" rtl="0" eaLnBrk="1" fontAlgn="auto" latinLnBrk="0" hangingPunct="1">
              <a:lnSpc>
                <a:spcPct val="100000"/>
              </a:lnSpc>
              <a:spcBef>
                <a:spcPts val="0"/>
              </a:spcBef>
              <a:spcAft>
                <a:spcPts val="2400"/>
              </a:spcAft>
              <a:buClrTx/>
              <a:buSzTx/>
              <a:buFontTx/>
              <a:buNone/>
              <a:tabLst/>
              <a:defRPr/>
            </a:pPr>
            <a:r>
              <a:rPr kumimoji="0" lang="en-GB" sz="1698" b="1" i="0" u="none" strike="noStrike" kern="0" cap="none" spc="0" normalizeH="0" baseline="0" noProof="0">
                <a:ln>
                  <a:noFill/>
                </a:ln>
                <a:solidFill>
                  <a:srgbClr val="3A4151"/>
                </a:solidFill>
                <a:effectLst/>
                <a:uLnTx/>
                <a:uFillTx/>
                <a:latin typeface="Calibri" panose="020F0502020204030204"/>
                <a:ea typeface="+mn-ea"/>
                <a:cs typeface="+mn-cs"/>
              </a:rPr>
              <a:t>COMMERCIAL</a:t>
            </a:r>
            <a:r>
              <a:rPr kumimoji="0" lang="en-CH" sz="1698" b="0" i="0" u="none" strike="noStrike" kern="0" cap="none" spc="0" normalizeH="0" baseline="0" noProof="0">
                <a:ln>
                  <a:noFill/>
                </a:ln>
                <a:solidFill>
                  <a:srgbClr val="3A4151"/>
                </a:solidFill>
                <a:effectLst/>
                <a:uLnTx/>
                <a:uFillTx/>
                <a:latin typeface="Calibri" panose="020F0502020204030204"/>
                <a:ea typeface="+mn-ea"/>
                <a:cs typeface="+mn-cs"/>
              </a:rPr>
              <a:t>:</a:t>
            </a:r>
            <a:r>
              <a:rPr kumimoji="0" lang="en-GB" sz="1698" b="0" i="0" u="none" strike="noStrike" kern="0" cap="none" spc="0" normalizeH="0" baseline="0" noProof="0">
                <a:ln>
                  <a:noFill/>
                </a:ln>
                <a:solidFill>
                  <a:srgbClr val="3A4151"/>
                </a:solidFill>
                <a:effectLst/>
                <a:uLnTx/>
                <a:uFillTx/>
                <a:latin typeface="Calibri" panose="020F0502020204030204"/>
                <a:ea typeface="+mn-ea"/>
                <a:cs typeface="+mn-cs"/>
              </a:rPr>
              <a:t>  </a:t>
            </a:r>
            <a:r>
              <a:rPr kumimoji="0" lang="en-GB" sz="1698" b="1" i="0" u="none" strike="noStrike" kern="0" cap="none" spc="0" normalizeH="0" baseline="0" noProof="0">
                <a:ln>
                  <a:noFill/>
                </a:ln>
                <a:solidFill>
                  <a:srgbClr val="3A4151"/>
                </a:solidFill>
                <a:effectLst/>
                <a:uLnTx/>
                <a:uFillTx/>
                <a:latin typeface="Calibri" panose="020F0502020204030204"/>
                <a:ea typeface="+mn-ea"/>
                <a:cs typeface="+mn-cs"/>
              </a:rPr>
              <a:t>De-risk investment</a:t>
            </a:r>
            <a:r>
              <a:rPr kumimoji="0" lang="en-GB" sz="1698" b="0" i="0" u="none" strike="noStrike" kern="0" cap="none" spc="0" normalizeH="0" baseline="0" noProof="0">
                <a:ln>
                  <a:noFill/>
                </a:ln>
                <a:solidFill>
                  <a:srgbClr val="3A4151"/>
                </a:solidFill>
                <a:effectLst/>
                <a:uLnTx/>
                <a:uFillTx/>
                <a:latin typeface="Calibri" panose="020F0502020204030204"/>
                <a:ea typeface="+mn-ea"/>
                <a:cs typeface="+mn-cs"/>
              </a:rPr>
              <a:t> by providing clarity on priorities, approval and policy pathways </a:t>
            </a:r>
            <a:endParaRPr kumimoji="0" lang="en-CH" sz="1698" b="0" i="0" u="none" strike="noStrike" kern="0" cap="none" spc="0" normalizeH="0" baseline="0" noProof="0">
              <a:ln>
                <a:noFill/>
              </a:ln>
              <a:solidFill>
                <a:srgbClr val="3A4151"/>
              </a:solidFill>
              <a:effectLst/>
              <a:uLnTx/>
              <a:uFillTx/>
              <a:latin typeface="Calibri" panose="020F0502020204030204"/>
              <a:ea typeface="Calibri" panose="020F0502020204030204"/>
              <a:cs typeface="Calibri" panose="020F0502020204030204"/>
            </a:endParaRPr>
          </a:p>
        </p:txBody>
      </p:sp>
      <p:pic>
        <p:nvPicPr>
          <p:cNvPr id="10" name="Picture 9" descr="A flag on a mountain&#10;&#10;AI-generated content may be incorrect.">
            <a:extLst>
              <a:ext uri="{FF2B5EF4-FFF2-40B4-BE49-F238E27FC236}">
                <a16:creationId xmlns:a16="http://schemas.microsoft.com/office/drawing/2014/main" id="{C3CA4CCA-ADBE-54C1-23D2-AF42D78BF9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7910" y="1211498"/>
            <a:ext cx="571460" cy="533362"/>
          </a:xfrm>
          <a:prstGeom prst="rect">
            <a:avLst/>
          </a:prstGeom>
        </p:spPr>
      </p:pic>
      <p:sp>
        <p:nvSpPr>
          <p:cNvPr id="11" name="TextBox 10">
            <a:extLst>
              <a:ext uri="{FF2B5EF4-FFF2-40B4-BE49-F238E27FC236}">
                <a16:creationId xmlns:a16="http://schemas.microsoft.com/office/drawing/2014/main" id="{3C43D3F0-B0FD-6E11-0AF1-09E93ADD8B53}"/>
              </a:ext>
            </a:extLst>
          </p:cNvPr>
          <p:cNvSpPr txBox="1"/>
          <p:nvPr/>
        </p:nvSpPr>
        <p:spPr>
          <a:xfrm>
            <a:off x="1359371" y="1364731"/>
            <a:ext cx="1436612" cy="428259"/>
          </a:xfrm>
          <a:prstGeom prst="rect">
            <a:avLst/>
          </a:prstGeom>
          <a:noFill/>
        </p:spPr>
        <p:txBody>
          <a:bodyPr wrap="non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CH" sz="2183" b="1" i="0" u="none" strike="noStrike" kern="0" cap="none" spc="0" normalizeH="0" baseline="0" noProof="0">
                <a:ln>
                  <a:noFill/>
                </a:ln>
                <a:solidFill>
                  <a:srgbClr val="3A4151"/>
                </a:solidFill>
                <a:effectLst/>
                <a:uLnTx/>
                <a:uFillTx/>
                <a:latin typeface="Calibri" panose="020F0502020204030204"/>
                <a:ea typeface="+mn-ea"/>
                <a:cs typeface="+mn-cs"/>
              </a:rPr>
              <a:t>Challenges</a:t>
            </a:r>
          </a:p>
        </p:txBody>
      </p:sp>
      <p:sp>
        <p:nvSpPr>
          <p:cNvPr id="13" name="TextBox 12">
            <a:extLst>
              <a:ext uri="{FF2B5EF4-FFF2-40B4-BE49-F238E27FC236}">
                <a16:creationId xmlns:a16="http://schemas.microsoft.com/office/drawing/2014/main" id="{A4012096-D17C-B47C-69AC-A4D7877B46F1}"/>
              </a:ext>
            </a:extLst>
          </p:cNvPr>
          <p:cNvSpPr txBox="1"/>
          <p:nvPr/>
        </p:nvSpPr>
        <p:spPr>
          <a:xfrm>
            <a:off x="4266907" y="1364731"/>
            <a:ext cx="2372765" cy="428259"/>
          </a:xfrm>
          <a:prstGeom prst="rect">
            <a:avLst/>
          </a:prstGeom>
          <a:noFill/>
        </p:spPr>
        <p:txBody>
          <a:bodyPr wrap="non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2183" b="1" i="0" u="none" strike="noStrike" kern="0" cap="none" spc="0" normalizeH="0" baseline="0" noProof="0">
                <a:ln>
                  <a:noFill/>
                </a:ln>
                <a:solidFill>
                  <a:srgbClr val="3A4151"/>
                </a:solidFill>
                <a:effectLst/>
                <a:uLnTx/>
                <a:uFillTx/>
                <a:latin typeface="Calibri" panose="020F0502020204030204"/>
                <a:ea typeface="+mn-ea"/>
                <a:cs typeface="+mn-cs"/>
              </a:rPr>
              <a:t>Potential s</a:t>
            </a:r>
            <a:r>
              <a:rPr kumimoji="0" lang="en-CH" sz="2183" b="1" i="0" u="none" strike="noStrike" kern="0" cap="none" spc="0" normalizeH="0" baseline="0" noProof="0">
                <a:ln>
                  <a:noFill/>
                </a:ln>
                <a:solidFill>
                  <a:srgbClr val="3A4151"/>
                </a:solidFill>
                <a:effectLst/>
                <a:uLnTx/>
                <a:uFillTx/>
                <a:latin typeface="Calibri" panose="020F0502020204030204"/>
                <a:ea typeface="+mn-ea"/>
                <a:cs typeface="+mn-cs"/>
              </a:rPr>
              <a:t>olutions</a:t>
            </a:r>
          </a:p>
        </p:txBody>
      </p:sp>
      <p:pic>
        <p:nvPicPr>
          <p:cNvPr id="15" name="Picture 14" descr="A light bulb with a check mark&#10;&#10;AI-generated content may be incorrect.">
            <a:extLst>
              <a:ext uri="{FF2B5EF4-FFF2-40B4-BE49-F238E27FC236}">
                <a16:creationId xmlns:a16="http://schemas.microsoft.com/office/drawing/2014/main" id="{86E1CF08-0A86-0094-8E68-FA39C7D241E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36819" y="1163495"/>
            <a:ext cx="630088" cy="638962"/>
          </a:xfrm>
          <a:prstGeom prst="rect">
            <a:avLst/>
          </a:prstGeom>
        </p:spPr>
      </p:pic>
      <p:sp>
        <p:nvSpPr>
          <p:cNvPr id="17" name="TextBox 16">
            <a:extLst>
              <a:ext uri="{FF2B5EF4-FFF2-40B4-BE49-F238E27FC236}">
                <a16:creationId xmlns:a16="http://schemas.microsoft.com/office/drawing/2014/main" id="{8F4D21F4-AB7D-21F3-EE8F-DFF0AF3735C7}"/>
              </a:ext>
            </a:extLst>
          </p:cNvPr>
          <p:cNvSpPr txBox="1"/>
          <p:nvPr/>
        </p:nvSpPr>
        <p:spPr>
          <a:xfrm>
            <a:off x="8923239" y="1294961"/>
            <a:ext cx="1813317" cy="428259"/>
          </a:xfrm>
          <a:prstGeom prst="rect">
            <a:avLst/>
          </a:prstGeom>
          <a:noFill/>
        </p:spPr>
        <p:txBody>
          <a:bodyPr wrap="non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2183" b="1" i="0" u="none" strike="noStrike" kern="0" cap="none" spc="0" normalizeH="0" baseline="0" noProof="0">
                <a:ln>
                  <a:noFill/>
                </a:ln>
                <a:solidFill>
                  <a:srgbClr val="3A4151"/>
                </a:solidFill>
                <a:effectLst/>
                <a:uLnTx/>
                <a:uFillTx/>
                <a:latin typeface="Calibri" panose="020F0502020204030204"/>
                <a:ea typeface="+mn-ea"/>
                <a:cs typeface="+mn-cs"/>
              </a:rPr>
              <a:t>Opportunities</a:t>
            </a:r>
            <a:endParaRPr kumimoji="0" lang="en-CH" sz="2183" b="1" i="0" u="none" strike="noStrike" kern="0" cap="none" spc="0" normalizeH="0" baseline="0" noProof="0">
              <a:ln>
                <a:noFill/>
              </a:ln>
              <a:solidFill>
                <a:srgbClr val="3A4151"/>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131C951A-E560-3CF0-E57E-C6B6993B2254}"/>
              </a:ext>
            </a:extLst>
          </p:cNvPr>
          <p:cNvSpPr txBox="1"/>
          <p:nvPr/>
        </p:nvSpPr>
        <p:spPr>
          <a:xfrm>
            <a:off x="237585" y="6015609"/>
            <a:ext cx="8524277" cy="369326"/>
          </a:xfrm>
          <a:prstGeom prst="rect">
            <a:avLst/>
          </a:prstGeom>
          <a:noFill/>
        </p:spPr>
        <p:txBody>
          <a:bodyPr rot="0" spcFirstLastPara="0" vertOverflow="overflow" horzOverflow="overflow" vert="horz" wrap="square" lIns="91434" tIns="45717" rIns="91434" bIns="45717" numCol="1" spcCol="0" rtlCol="0" fromWordArt="0" anchor="t" anchorCtr="0" forceAA="0" compatLnSpc="1">
            <a:prstTxWarp prst="textNoShape">
              <a:avLst/>
            </a:prstTxWarp>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3A4151"/>
                </a:solidFill>
                <a:effectLst/>
                <a:uLnTx/>
                <a:uFillTx/>
                <a:latin typeface="Calibri"/>
                <a:ea typeface="Calibri"/>
                <a:cs typeface="Calibri"/>
              </a:rPr>
              <a:t>Build on the successful experience with DTP-Hib-</a:t>
            </a:r>
            <a:r>
              <a:rPr kumimoji="0" lang="en-GB" sz="1800" b="1" i="0" u="none" strike="noStrike" kern="0" cap="none" spc="0" normalizeH="0" baseline="0" noProof="0" err="1">
                <a:ln>
                  <a:noFill/>
                </a:ln>
                <a:solidFill>
                  <a:srgbClr val="3A4151"/>
                </a:solidFill>
                <a:effectLst/>
                <a:uLnTx/>
                <a:uFillTx/>
                <a:latin typeface="Calibri"/>
                <a:ea typeface="Calibri"/>
                <a:cs typeface="Calibri"/>
              </a:rPr>
              <a:t>HepB</a:t>
            </a:r>
            <a:r>
              <a:rPr kumimoji="0" lang="en-GB" sz="1800" b="1" i="0" u="none" strike="noStrike" kern="0" cap="none" spc="0" normalizeH="0" baseline="0" noProof="0">
                <a:ln>
                  <a:noFill/>
                </a:ln>
                <a:solidFill>
                  <a:srgbClr val="3A4151"/>
                </a:solidFill>
                <a:effectLst/>
                <a:uLnTx/>
                <a:uFillTx/>
                <a:latin typeface="Calibri"/>
                <a:ea typeface="Calibri"/>
                <a:cs typeface="Calibri"/>
              </a:rPr>
              <a:t>-(IPV) and MR combinations </a:t>
            </a:r>
            <a:endParaRPr kumimoji="0" lang="en-US" sz="1800" b="1" i="0" u="none" strike="noStrike" kern="0" cap="none" spc="0" normalizeH="0" baseline="0" noProof="0">
              <a:ln>
                <a:noFill/>
              </a:ln>
              <a:solidFill>
                <a:srgbClr val="3A4151"/>
              </a:solidFill>
              <a:effectLst/>
              <a:uLnTx/>
              <a:uFillTx/>
              <a:latin typeface="Calibri" panose="020F0502020204030204"/>
              <a:ea typeface="+mn-ea"/>
              <a:cs typeface="+mn-cs"/>
            </a:endParaRPr>
          </a:p>
        </p:txBody>
      </p:sp>
      <p:pic>
        <p:nvPicPr>
          <p:cNvPr id="9" name="Graphic 8" descr="Train Tracks with solid fill">
            <a:extLst>
              <a:ext uri="{FF2B5EF4-FFF2-40B4-BE49-F238E27FC236}">
                <a16:creationId xmlns:a16="http://schemas.microsoft.com/office/drawing/2014/main" id="{6D75CEE5-BB10-9FFA-1195-B4B6088F1C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69928" y="1086076"/>
            <a:ext cx="734271" cy="734271"/>
          </a:xfrm>
          <a:prstGeom prst="rect">
            <a:avLst/>
          </a:prstGeom>
        </p:spPr>
      </p:pic>
      <p:pic>
        <p:nvPicPr>
          <p:cNvPr id="4" name="Graphic 3" descr="Needle outline">
            <a:extLst>
              <a:ext uri="{FF2B5EF4-FFF2-40B4-BE49-F238E27FC236}">
                <a16:creationId xmlns:a16="http://schemas.microsoft.com/office/drawing/2014/main" id="{6F658562-0226-ECC3-9E35-23E5FCB522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65594" y="280560"/>
            <a:ext cx="554493" cy="554493"/>
          </a:xfrm>
          <a:prstGeom prst="rect">
            <a:avLst/>
          </a:prstGeom>
        </p:spPr>
      </p:pic>
    </p:spTree>
    <p:extLst>
      <p:ext uri="{BB962C8B-B14F-4D97-AF65-F5344CB8AC3E}">
        <p14:creationId xmlns:p14="http://schemas.microsoft.com/office/powerpoint/2010/main" val="1517699360"/>
      </p:ext>
    </p:extLst>
  </p:cSld>
  <p:clrMapOvr>
    <a:masterClrMapping/>
  </p:clrMapOvr>
  <p:extLst>
    <p:ext uri="{6950BFC3-D8DA-4A85-94F7-54DA5524770B}">
      <p188:commentRel xmlns:p188="http://schemas.microsoft.com/office/powerpoint/2018/8/main" r:id="rId3"/>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A8A49-853A-0906-13E5-3E145207E9E3}"/>
            </a:ext>
          </a:extLst>
        </p:cNvPr>
        <p:cNvGrpSpPr/>
        <p:nvPr/>
      </p:nvGrpSpPr>
      <p:grpSpPr>
        <a:xfrm>
          <a:off x="0" y="0"/>
          <a:ext cx="0" cy="0"/>
          <a:chOff x="0" y="0"/>
          <a:chExt cx="0" cy="0"/>
        </a:xfrm>
      </p:grpSpPr>
      <p:graphicFrame>
        <p:nvGraphicFramePr>
          <p:cNvPr id="96" name="Table 95">
            <a:extLst>
              <a:ext uri="{FF2B5EF4-FFF2-40B4-BE49-F238E27FC236}">
                <a16:creationId xmlns:a16="http://schemas.microsoft.com/office/drawing/2014/main" id="{135BFB00-22F5-1A20-5671-71ABF5829F16}"/>
              </a:ext>
            </a:extLst>
          </p:cNvPr>
          <p:cNvGraphicFramePr>
            <a:graphicFrameLocks noGrp="1"/>
          </p:cNvGraphicFramePr>
          <p:nvPr/>
        </p:nvGraphicFramePr>
        <p:xfrm>
          <a:off x="376321" y="4248753"/>
          <a:ext cx="11404602" cy="1158234"/>
        </p:xfrm>
        <a:graphic>
          <a:graphicData uri="http://schemas.openxmlformats.org/drawingml/2006/table">
            <a:tbl>
              <a:tblPr>
                <a:tableStyleId>{5C22544A-7EE6-4342-B048-85BDC9FD1C3A}</a:tableStyleId>
              </a:tblPr>
              <a:tblGrid>
                <a:gridCol w="1889628">
                  <a:extLst>
                    <a:ext uri="{9D8B030D-6E8A-4147-A177-3AD203B41FA5}">
                      <a16:colId xmlns:a16="http://schemas.microsoft.com/office/drawing/2014/main" val="2936728894"/>
                    </a:ext>
                  </a:extLst>
                </a:gridCol>
                <a:gridCol w="1950048">
                  <a:extLst>
                    <a:ext uri="{9D8B030D-6E8A-4147-A177-3AD203B41FA5}">
                      <a16:colId xmlns:a16="http://schemas.microsoft.com/office/drawing/2014/main" val="1706112684"/>
                    </a:ext>
                  </a:extLst>
                </a:gridCol>
                <a:gridCol w="1934542">
                  <a:extLst>
                    <a:ext uri="{9D8B030D-6E8A-4147-A177-3AD203B41FA5}">
                      <a16:colId xmlns:a16="http://schemas.microsoft.com/office/drawing/2014/main" val="185968844"/>
                    </a:ext>
                  </a:extLst>
                </a:gridCol>
                <a:gridCol w="1944167">
                  <a:extLst>
                    <a:ext uri="{9D8B030D-6E8A-4147-A177-3AD203B41FA5}">
                      <a16:colId xmlns:a16="http://schemas.microsoft.com/office/drawing/2014/main" val="2476048741"/>
                    </a:ext>
                  </a:extLst>
                </a:gridCol>
                <a:gridCol w="1857545">
                  <a:extLst>
                    <a:ext uri="{9D8B030D-6E8A-4147-A177-3AD203B41FA5}">
                      <a16:colId xmlns:a16="http://schemas.microsoft.com/office/drawing/2014/main" val="1046548125"/>
                    </a:ext>
                  </a:extLst>
                </a:gridCol>
                <a:gridCol w="1828672">
                  <a:extLst>
                    <a:ext uri="{9D8B030D-6E8A-4147-A177-3AD203B41FA5}">
                      <a16:colId xmlns:a16="http://schemas.microsoft.com/office/drawing/2014/main" val="3389653415"/>
                    </a:ext>
                  </a:extLst>
                </a:gridCol>
              </a:tblGrid>
              <a:tr h="1158159">
                <a:tc>
                  <a:txBody>
                    <a:bodyPr/>
                    <a:lstStyle/>
                    <a:p>
                      <a:pPr algn="ctr"/>
                      <a:r>
                        <a:rPr lang="en-US" sz="1400" b="1">
                          <a:solidFill>
                            <a:srgbClr val="000000"/>
                          </a:solidFill>
                          <a:latin typeface="+mn-lt"/>
                        </a:rPr>
                        <a:t>1.</a:t>
                      </a:r>
                      <a:r>
                        <a:rPr lang="en-US" sz="1400">
                          <a:solidFill>
                            <a:srgbClr val="000000"/>
                          </a:solidFill>
                          <a:latin typeface="+mn-lt"/>
                        </a:rPr>
                        <a:t> Identify vaccines to consider combining and apply entry criteria to focus on the most relevant vaccines</a:t>
                      </a:r>
                    </a:p>
                  </a:txBody>
                  <a:tcPr marL="91434" marR="91434" marT="45717" marB="4571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400" b="1">
                          <a:solidFill>
                            <a:srgbClr val="000000"/>
                          </a:solidFill>
                          <a:latin typeface="+mn-lt"/>
                        </a:rPr>
                        <a:t>2.</a:t>
                      </a:r>
                      <a:r>
                        <a:rPr lang="en-US" sz="1400">
                          <a:solidFill>
                            <a:srgbClr val="000000"/>
                          </a:solidFill>
                          <a:latin typeface="+mn-lt"/>
                        </a:rPr>
                        <a:t> Combine vaccines pairwise for analysis</a:t>
                      </a:r>
                    </a:p>
                  </a:txBody>
                  <a:tcPr marL="91434" marR="91434" marT="45717" marB="4571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400" b="1">
                          <a:solidFill>
                            <a:srgbClr val="000000"/>
                          </a:solidFill>
                          <a:latin typeface="+mn-lt"/>
                        </a:rPr>
                        <a:t>3. </a:t>
                      </a:r>
                      <a:r>
                        <a:rPr lang="en-US" sz="1400">
                          <a:solidFill>
                            <a:srgbClr val="000000"/>
                          </a:solidFill>
                          <a:latin typeface="+mn-lt"/>
                        </a:rPr>
                        <a:t>Identify programmatically compatible combinations</a:t>
                      </a:r>
                      <a:endParaRPr lang="en-US" sz="1400" i="0">
                        <a:solidFill>
                          <a:srgbClr val="000000"/>
                        </a:solidFill>
                        <a:latin typeface="+mn-lt"/>
                      </a:endParaRPr>
                    </a:p>
                  </a:txBody>
                  <a:tcPr marL="91434" marR="91434" marT="45717" marB="4571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400" b="1">
                          <a:solidFill>
                            <a:srgbClr val="000000"/>
                          </a:solidFill>
                          <a:latin typeface="+mn-lt"/>
                        </a:rPr>
                        <a:t>4.</a:t>
                      </a:r>
                      <a:r>
                        <a:rPr lang="en-US" sz="1400">
                          <a:solidFill>
                            <a:srgbClr val="000000"/>
                          </a:solidFill>
                          <a:latin typeface="+mn-lt"/>
                        </a:rPr>
                        <a:t> Identify </a:t>
                      </a:r>
                      <a:br>
                        <a:rPr lang="en-US" sz="1400">
                          <a:solidFill>
                            <a:srgbClr val="000000"/>
                          </a:solidFill>
                          <a:latin typeface="+mn-lt"/>
                        </a:rPr>
                      </a:br>
                      <a:r>
                        <a:rPr lang="en-US" sz="1400">
                          <a:solidFill>
                            <a:srgbClr val="000000"/>
                          </a:solidFill>
                          <a:latin typeface="+mn-lt"/>
                        </a:rPr>
                        <a:t>technically feasible combinations</a:t>
                      </a:r>
                      <a:endParaRPr lang="en-US" sz="1400" i="0">
                        <a:solidFill>
                          <a:srgbClr val="000000"/>
                        </a:solidFill>
                        <a:latin typeface="+mn-lt"/>
                      </a:endParaRPr>
                    </a:p>
                  </a:txBody>
                  <a:tcPr marL="91434" marR="91434" marT="45717" marB="4571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400" b="1">
                          <a:solidFill>
                            <a:srgbClr val="000000"/>
                          </a:solidFill>
                          <a:latin typeface="+mn-lt"/>
                        </a:rPr>
                        <a:t>5.</a:t>
                      </a:r>
                      <a:r>
                        <a:rPr lang="en-US" sz="1400">
                          <a:solidFill>
                            <a:srgbClr val="000000"/>
                          </a:solidFill>
                          <a:latin typeface="+mn-lt"/>
                        </a:rPr>
                        <a:t> Identify the combinations with greatest potential impact and sustainability</a:t>
                      </a:r>
                      <a:endParaRPr lang="en-US" sz="1400" i="0">
                        <a:solidFill>
                          <a:srgbClr val="000000"/>
                        </a:solidFill>
                        <a:latin typeface="+mn-lt"/>
                      </a:endParaRPr>
                    </a:p>
                  </a:txBody>
                  <a:tcPr marL="91434" marR="91434" marT="45717" marB="4571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400" b="1">
                          <a:solidFill>
                            <a:srgbClr val="000000"/>
                          </a:solidFill>
                          <a:latin typeface="+mn-lt"/>
                        </a:rPr>
                        <a:t>6. </a:t>
                      </a:r>
                      <a:r>
                        <a:rPr lang="en-US" sz="1400" b="0">
                          <a:solidFill>
                            <a:srgbClr val="000000"/>
                          </a:solidFill>
                          <a:latin typeface="+mn-lt"/>
                        </a:rPr>
                        <a:t>Health </a:t>
                      </a:r>
                      <a:br>
                        <a:rPr lang="en-US" sz="1400" b="0">
                          <a:solidFill>
                            <a:srgbClr val="000000"/>
                          </a:solidFill>
                          <a:latin typeface="+mn-lt"/>
                        </a:rPr>
                      </a:br>
                      <a:r>
                        <a:rPr lang="en-US" sz="1400" b="0">
                          <a:solidFill>
                            <a:srgbClr val="000000"/>
                          </a:solidFill>
                          <a:latin typeface="+mn-lt"/>
                        </a:rPr>
                        <a:t>economics va</a:t>
                      </a:r>
                      <a:r>
                        <a:rPr lang="en-US" sz="1400">
                          <a:solidFill>
                            <a:srgbClr val="000000"/>
                          </a:solidFill>
                          <a:latin typeface="+mn-lt"/>
                        </a:rPr>
                        <a:t>lue assessment and priorities</a:t>
                      </a:r>
                    </a:p>
                  </a:txBody>
                  <a:tcPr marL="91434" marR="91434" marT="45717" marB="4571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06137502"/>
                  </a:ext>
                </a:extLst>
              </a:tr>
            </a:tbl>
          </a:graphicData>
        </a:graphic>
      </p:graphicFrame>
      <p:sp>
        <p:nvSpPr>
          <p:cNvPr id="15" name="Title 14">
            <a:extLst>
              <a:ext uri="{FF2B5EF4-FFF2-40B4-BE49-F238E27FC236}">
                <a16:creationId xmlns:a16="http://schemas.microsoft.com/office/drawing/2014/main" id="{CD6F2157-EE7B-DB46-5BB4-A6003155E73D}"/>
              </a:ext>
            </a:extLst>
          </p:cNvPr>
          <p:cNvSpPr>
            <a:spLocks noGrp="1"/>
          </p:cNvSpPr>
          <p:nvPr>
            <p:ph type="title"/>
          </p:nvPr>
        </p:nvSpPr>
        <p:spPr/>
        <p:txBody>
          <a:bodyPr/>
          <a:lstStyle/>
          <a:p>
            <a:r>
              <a:rPr lang="en-US"/>
              <a:t>Staged approach to prioritize combinations</a:t>
            </a:r>
          </a:p>
        </p:txBody>
      </p:sp>
      <p:sp>
        <p:nvSpPr>
          <p:cNvPr id="2" name="Slide Number Placeholder 1">
            <a:extLst>
              <a:ext uri="{FF2B5EF4-FFF2-40B4-BE49-F238E27FC236}">
                <a16:creationId xmlns:a16="http://schemas.microsoft.com/office/drawing/2014/main" id="{A0833E0A-93A3-CFBC-54DC-37C7AD524394}"/>
              </a:ext>
            </a:extLst>
          </p:cNvPr>
          <p:cNvSpPr>
            <a:spLocks noGrp="1"/>
          </p:cNvSpPr>
          <p:nvPr>
            <p:ph type="sldNum" sz="quarter" idx="7"/>
          </p:nvPr>
        </p:nvSpPr>
        <p:spPr/>
        <p:txBody>
          <a:bodyPr/>
          <a:lstStyle/>
          <a:p>
            <a:pPr marL="38098" marR="0" lvl="0" indent="0" algn="ctr" defTabSz="914358" rtl="0" eaLnBrk="1" fontAlgn="auto" latinLnBrk="0" hangingPunct="1">
              <a:lnSpc>
                <a:spcPct val="100000"/>
              </a:lnSpc>
              <a:spcBef>
                <a:spcPts val="180"/>
              </a:spcBef>
              <a:spcAft>
                <a:spcPts val="0"/>
              </a:spcAft>
              <a:buClrTx/>
              <a:buSzTx/>
              <a:buFontTx/>
              <a:buNone/>
              <a:tabLst/>
              <a:defRPr/>
            </a:pPr>
            <a:fld id="{81D60167-4931-47E6-BA6A-407CBD079E47}" type="slidenum">
              <a:rPr kumimoji="0" lang="en-US" sz="1200" b="1" i="0" u="none" strike="noStrike" kern="0" cap="none" spc="-50" normalizeH="0" baseline="0" noProof="0">
                <a:ln>
                  <a:noFill/>
                </a:ln>
                <a:solidFill>
                  <a:srgbClr val="182857"/>
                </a:solidFill>
                <a:effectLst/>
                <a:uLnTx/>
                <a:uFillTx/>
                <a:latin typeface="Open Sans"/>
                <a:ea typeface="+mn-ea"/>
                <a:cs typeface="Open Sans"/>
              </a:rPr>
              <a:pPr marL="38098" marR="0" lvl="0" indent="0" algn="ctr" defTabSz="914358" rtl="0" eaLnBrk="1" fontAlgn="auto" latinLnBrk="0" hangingPunct="1">
                <a:lnSpc>
                  <a:spcPct val="100000"/>
                </a:lnSpc>
                <a:spcBef>
                  <a:spcPts val="180"/>
                </a:spcBef>
                <a:spcAft>
                  <a:spcPts val="0"/>
                </a:spcAft>
                <a:buClrTx/>
                <a:buSzTx/>
                <a:buFontTx/>
                <a:buNone/>
                <a:tabLst/>
                <a:defRPr/>
              </a:pPr>
              <a:t>34</a:t>
            </a:fld>
            <a:endParaRPr kumimoji="0" lang="en-US" sz="1200" b="1" i="0" u="none" strike="noStrike" kern="0" cap="none" spc="-50" normalizeH="0" baseline="0" noProof="0">
              <a:ln>
                <a:noFill/>
              </a:ln>
              <a:solidFill>
                <a:srgbClr val="182857"/>
              </a:solidFill>
              <a:effectLst/>
              <a:uLnTx/>
              <a:uFillTx/>
              <a:latin typeface="Open Sans"/>
              <a:ea typeface="+mn-ea"/>
              <a:cs typeface="Open Sans"/>
            </a:endParaRPr>
          </a:p>
        </p:txBody>
      </p:sp>
      <p:sp>
        <p:nvSpPr>
          <p:cNvPr id="98" name="Rectangle 97">
            <a:extLst>
              <a:ext uri="{FF2B5EF4-FFF2-40B4-BE49-F238E27FC236}">
                <a16:creationId xmlns:a16="http://schemas.microsoft.com/office/drawing/2014/main" id="{2577669E-CE93-8351-2A28-7598C6A1F40E}"/>
              </a:ext>
            </a:extLst>
          </p:cNvPr>
          <p:cNvSpPr/>
          <p:nvPr/>
        </p:nvSpPr>
        <p:spPr>
          <a:xfrm>
            <a:off x="818687" y="1712207"/>
            <a:ext cx="1188637" cy="59431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Vaccines to consider </a:t>
            </a: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combining</a:t>
            </a: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99" name="Table 98">
            <a:extLst>
              <a:ext uri="{FF2B5EF4-FFF2-40B4-BE49-F238E27FC236}">
                <a16:creationId xmlns:a16="http://schemas.microsoft.com/office/drawing/2014/main" id="{EFB4B748-929E-1BC1-84BB-AAA55BF3F47D}"/>
              </a:ext>
            </a:extLst>
          </p:cNvPr>
          <p:cNvGraphicFramePr>
            <a:graphicFrameLocks noGrp="1"/>
          </p:cNvGraphicFramePr>
          <p:nvPr/>
        </p:nvGraphicFramePr>
        <p:xfrm>
          <a:off x="2701089" y="2553050"/>
          <a:ext cx="1206924" cy="1206924"/>
        </p:xfrm>
        <a:graphic>
          <a:graphicData uri="http://schemas.openxmlformats.org/drawingml/2006/table">
            <a:tbl>
              <a:tblPr firstRow="1" firstCol="1" bandRow="1">
                <a:tableStyleId>{21E4AEA4-8DFA-4A89-87EB-49C32662AFE0}</a:tableStyleId>
              </a:tblPr>
              <a:tblGrid>
                <a:gridCol w="100577">
                  <a:extLst>
                    <a:ext uri="{9D8B030D-6E8A-4147-A177-3AD203B41FA5}">
                      <a16:colId xmlns:a16="http://schemas.microsoft.com/office/drawing/2014/main" val="1250722080"/>
                    </a:ext>
                  </a:extLst>
                </a:gridCol>
                <a:gridCol w="100577">
                  <a:extLst>
                    <a:ext uri="{9D8B030D-6E8A-4147-A177-3AD203B41FA5}">
                      <a16:colId xmlns:a16="http://schemas.microsoft.com/office/drawing/2014/main" val="3264460207"/>
                    </a:ext>
                  </a:extLst>
                </a:gridCol>
                <a:gridCol w="100577">
                  <a:extLst>
                    <a:ext uri="{9D8B030D-6E8A-4147-A177-3AD203B41FA5}">
                      <a16:colId xmlns:a16="http://schemas.microsoft.com/office/drawing/2014/main" val="3525546781"/>
                    </a:ext>
                  </a:extLst>
                </a:gridCol>
                <a:gridCol w="100577">
                  <a:extLst>
                    <a:ext uri="{9D8B030D-6E8A-4147-A177-3AD203B41FA5}">
                      <a16:colId xmlns:a16="http://schemas.microsoft.com/office/drawing/2014/main" val="4195289725"/>
                    </a:ext>
                  </a:extLst>
                </a:gridCol>
                <a:gridCol w="100577">
                  <a:extLst>
                    <a:ext uri="{9D8B030D-6E8A-4147-A177-3AD203B41FA5}">
                      <a16:colId xmlns:a16="http://schemas.microsoft.com/office/drawing/2014/main" val="2058946387"/>
                    </a:ext>
                  </a:extLst>
                </a:gridCol>
                <a:gridCol w="100577">
                  <a:extLst>
                    <a:ext uri="{9D8B030D-6E8A-4147-A177-3AD203B41FA5}">
                      <a16:colId xmlns:a16="http://schemas.microsoft.com/office/drawing/2014/main" val="1041033462"/>
                    </a:ext>
                  </a:extLst>
                </a:gridCol>
                <a:gridCol w="100577">
                  <a:extLst>
                    <a:ext uri="{9D8B030D-6E8A-4147-A177-3AD203B41FA5}">
                      <a16:colId xmlns:a16="http://schemas.microsoft.com/office/drawing/2014/main" val="1150689502"/>
                    </a:ext>
                  </a:extLst>
                </a:gridCol>
                <a:gridCol w="100577">
                  <a:extLst>
                    <a:ext uri="{9D8B030D-6E8A-4147-A177-3AD203B41FA5}">
                      <a16:colId xmlns:a16="http://schemas.microsoft.com/office/drawing/2014/main" val="910507495"/>
                    </a:ext>
                  </a:extLst>
                </a:gridCol>
                <a:gridCol w="100577">
                  <a:extLst>
                    <a:ext uri="{9D8B030D-6E8A-4147-A177-3AD203B41FA5}">
                      <a16:colId xmlns:a16="http://schemas.microsoft.com/office/drawing/2014/main" val="1724129376"/>
                    </a:ext>
                  </a:extLst>
                </a:gridCol>
                <a:gridCol w="100577">
                  <a:extLst>
                    <a:ext uri="{9D8B030D-6E8A-4147-A177-3AD203B41FA5}">
                      <a16:colId xmlns:a16="http://schemas.microsoft.com/office/drawing/2014/main" val="2667156736"/>
                    </a:ext>
                  </a:extLst>
                </a:gridCol>
                <a:gridCol w="100577">
                  <a:extLst>
                    <a:ext uri="{9D8B030D-6E8A-4147-A177-3AD203B41FA5}">
                      <a16:colId xmlns:a16="http://schemas.microsoft.com/office/drawing/2014/main" val="2966085246"/>
                    </a:ext>
                  </a:extLst>
                </a:gridCol>
                <a:gridCol w="100577">
                  <a:extLst>
                    <a:ext uri="{9D8B030D-6E8A-4147-A177-3AD203B41FA5}">
                      <a16:colId xmlns:a16="http://schemas.microsoft.com/office/drawing/2014/main" val="236527563"/>
                    </a:ext>
                  </a:extLst>
                </a:gridCol>
              </a:tblGrid>
              <a:tr h="100577">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extLst>
                  <a:ext uri="{0D108BD9-81ED-4DB2-BD59-A6C34878D82A}">
                    <a16:rowId xmlns:a16="http://schemas.microsoft.com/office/drawing/2014/main" val="1180159497"/>
                  </a:ext>
                </a:extLst>
              </a:tr>
              <a:tr h="100577">
                <a:tc>
                  <a:txBody>
                    <a:bodyPr/>
                    <a:lstStyle/>
                    <a:p>
                      <a:endParaRPr lang="en-US" sz="100"/>
                    </a:p>
                  </a:txBody>
                  <a:tcPr marL="0" marR="0" marT="0" marB="0"/>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extLst>
                  <a:ext uri="{0D108BD9-81ED-4DB2-BD59-A6C34878D82A}">
                    <a16:rowId xmlns:a16="http://schemas.microsoft.com/office/drawing/2014/main" val="133542447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extLst>
                  <a:ext uri="{0D108BD9-81ED-4DB2-BD59-A6C34878D82A}">
                    <a16:rowId xmlns:a16="http://schemas.microsoft.com/office/drawing/2014/main" val="245437586"/>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extLst>
                  <a:ext uri="{0D108BD9-81ED-4DB2-BD59-A6C34878D82A}">
                    <a16:rowId xmlns:a16="http://schemas.microsoft.com/office/drawing/2014/main" val="609185421"/>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extLst>
                  <a:ext uri="{0D108BD9-81ED-4DB2-BD59-A6C34878D82A}">
                    <a16:rowId xmlns:a16="http://schemas.microsoft.com/office/drawing/2014/main" val="336728013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extLst>
                  <a:ext uri="{0D108BD9-81ED-4DB2-BD59-A6C34878D82A}">
                    <a16:rowId xmlns:a16="http://schemas.microsoft.com/office/drawing/2014/main" val="356609977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extLst>
                  <a:ext uri="{0D108BD9-81ED-4DB2-BD59-A6C34878D82A}">
                    <a16:rowId xmlns:a16="http://schemas.microsoft.com/office/drawing/2014/main" val="256978774"/>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extLst>
                  <a:ext uri="{0D108BD9-81ED-4DB2-BD59-A6C34878D82A}">
                    <a16:rowId xmlns:a16="http://schemas.microsoft.com/office/drawing/2014/main" val="3247110680"/>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extLst>
                  <a:ext uri="{0D108BD9-81ED-4DB2-BD59-A6C34878D82A}">
                    <a16:rowId xmlns:a16="http://schemas.microsoft.com/office/drawing/2014/main" val="1529717088"/>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extLst>
                  <a:ext uri="{0D108BD9-81ED-4DB2-BD59-A6C34878D82A}">
                    <a16:rowId xmlns:a16="http://schemas.microsoft.com/office/drawing/2014/main" val="2523473245"/>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rgbClr val="DBDBF1"/>
                    </a:solidFill>
                  </a:tcPr>
                </a:tc>
                <a:tc>
                  <a:txBody>
                    <a:bodyPr/>
                    <a:lstStyle/>
                    <a:p>
                      <a:endParaRPr lang="en-US" sz="100"/>
                    </a:p>
                  </a:txBody>
                  <a:tcPr marL="0" marR="0" marT="0" marB="0">
                    <a:solidFill>
                      <a:srgbClr val="DBDBF1"/>
                    </a:solidFill>
                  </a:tcPr>
                </a:tc>
                <a:extLst>
                  <a:ext uri="{0D108BD9-81ED-4DB2-BD59-A6C34878D82A}">
                    <a16:rowId xmlns:a16="http://schemas.microsoft.com/office/drawing/2014/main" val="2590754609"/>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rgbClr val="DBDBF1"/>
                    </a:solidFill>
                  </a:tcPr>
                </a:tc>
                <a:extLst>
                  <a:ext uri="{0D108BD9-81ED-4DB2-BD59-A6C34878D82A}">
                    <a16:rowId xmlns:a16="http://schemas.microsoft.com/office/drawing/2014/main" val="1709701597"/>
                  </a:ext>
                </a:extLst>
              </a:tr>
            </a:tbl>
          </a:graphicData>
        </a:graphic>
      </p:graphicFrame>
      <p:sp>
        <p:nvSpPr>
          <p:cNvPr id="100" name="Rectangle 99">
            <a:extLst>
              <a:ext uri="{FF2B5EF4-FFF2-40B4-BE49-F238E27FC236}">
                <a16:creationId xmlns:a16="http://schemas.microsoft.com/office/drawing/2014/main" id="{1E43A097-B23C-0C86-2819-9772EA58A3BA}"/>
              </a:ext>
            </a:extLst>
          </p:cNvPr>
          <p:cNvSpPr/>
          <p:nvPr/>
        </p:nvSpPr>
        <p:spPr>
          <a:xfrm>
            <a:off x="2701089" y="1712207"/>
            <a:ext cx="1188637" cy="59431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A4151"/>
                </a:solidFill>
                <a:effectLst/>
                <a:uLnTx/>
                <a:uFillTx/>
                <a:latin typeface="Calibri" panose="020F0502020204030204"/>
                <a:ea typeface="+mn-ea"/>
                <a:cs typeface="+mn-cs"/>
              </a:rPr>
              <a:t>Hypothetical combinations</a:t>
            </a:r>
          </a:p>
        </p:txBody>
      </p:sp>
      <p:sp>
        <p:nvSpPr>
          <p:cNvPr id="101" name="Rectangle 100">
            <a:extLst>
              <a:ext uri="{FF2B5EF4-FFF2-40B4-BE49-F238E27FC236}">
                <a16:creationId xmlns:a16="http://schemas.microsoft.com/office/drawing/2014/main" id="{E6E7786E-8331-6D74-26D4-E9E4D6B943C2}"/>
              </a:ext>
            </a:extLst>
          </p:cNvPr>
          <p:cNvSpPr/>
          <p:nvPr/>
        </p:nvSpPr>
        <p:spPr>
          <a:xfrm>
            <a:off x="4583491" y="1712207"/>
            <a:ext cx="1188637" cy="594318"/>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A4151"/>
                </a:solidFill>
                <a:effectLst/>
                <a:uLnTx/>
                <a:uFillTx/>
                <a:latin typeface="Calibri" panose="020F0502020204030204"/>
                <a:ea typeface="+mn-ea"/>
                <a:cs typeface="+mn-cs"/>
              </a:rPr>
              <a:t>Program-compatible</a:t>
            </a:r>
          </a:p>
        </p:txBody>
      </p:sp>
      <p:sp>
        <p:nvSpPr>
          <p:cNvPr id="102" name="Rectangle 101">
            <a:extLst>
              <a:ext uri="{FF2B5EF4-FFF2-40B4-BE49-F238E27FC236}">
                <a16:creationId xmlns:a16="http://schemas.microsoft.com/office/drawing/2014/main" id="{3B462D89-243D-7D1E-FE66-F28708DAF874}"/>
              </a:ext>
            </a:extLst>
          </p:cNvPr>
          <p:cNvSpPr/>
          <p:nvPr/>
        </p:nvSpPr>
        <p:spPr>
          <a:xfrm>
            <a:off x="6465893" y="1712207"/>
            <a:ext cx="1188637" cy="59431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Technically feasible</a:t>
            </a: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1C76B025-5C1B-B52E-808C-96321838BE19}"/>
              </a:ext>
            </a:extLst>
          </p:cNvPr>
          <p:cNvSpPr/>
          <p:nvPr/>
        </p:nvSpPr>
        <p:spPr>
          <a:xfrm>
            <a:off x="8348297" y="1712207"/>
            <a:ext cx="1188637" cy="594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panose="020F0502020204030204"/>
                <a:ea typeface="+mn-ea"/>
                <a:cs typeface="+mn-cs"/>
              </a:rPr>
              <a:t>Public Health and Market Opportunity</a:t>
            </a:r>
            <a:endParaRPr kumimoji="0" lang="en-US" sz="1200" b="0" i="0" u="none" strike="noStrike" kern="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104" name="Table 103">
            <a:extLst>
              <a:ext uri="{FF2B5EF4-FFF2-40B4-BE49-F238E27FC236}">
                <a16:creationId xmlns:a16="http://schemas.microsoft.com/office/drawing/2014/main" id="{9AA31E5F-D78D-447D-86C9-60A00C18993D}"/>
              </a:ext>
            </a:extLst>
          </p:cNvPr>
          <p:cNvGraphicFramePr>
            <a:graphicFrameLocks noGrp="1"/>
          </p:cNvGraphicFramePr>
          <p:nvPr/>
        </p:nvGraphicFramePr>
        <p:xfrm>
          <a:off x="818687" y="2504924"/>
          <a:ext cx="574002" cy="934672"/>
        </p:xfrm>
        <a:graphic>
          <a:graphicData uri="http://schemas.openxmlformats.org/drawingml/2006/table">
            <a:tbl>
              <a:tblPr firstCol="1">
                <a:tableStyleId>{21E4AEA4-8DFA-4A89-87EB-49C32662AFE0}</a:tableStyleId>
              </a:tblPr>
              <a:tblGrid>
                <a:gridCol w="208268">
                  <a:extLst>
                    <a:ext uri="{9D8B030D-6E8A-4147-A177-3AD203B41FA5}">
                      <a16:colId xmlns:a16="http://schemas.microsoft.com/office/drawing/2014/main" val="716946294"/>
                    </a:ext>
                  </a:extLst>
                </a:gridCol>
                <a:gridCol w="365734">
                  <a:extLst>
                    <a:ext uri="{9D8B030D-6E8A-4147-A177-3AD203B41FA5}">
                      <a16:colId xmlns:a16="http://schemas.microsoft.com/office/drawing/2014/main" val="1250722080"/>
                    </a:ext>
                  </a:extLst>
                </a:gridCol>
              </a:tblGrid>
              <a:tr h="0">
                <a:tc rowSpan="8">
                  <a:txBody>
                    <a:bodyPr/>
                    <a:lstStyle/>
                    <a:p>
                      <a:pPr algn="ctr"/>
                      <a:r>
                        <a:rPr lang="en-US" sz="900">
                          <a:solidFill>
                            <a:schemeClr val="tx1"/>
                          </a:solidFill>
                        </a:rPr>
                        <a:t>Licensed</a:t>
                      </a:r>
                    </a:p>
                  </a:txBody>
                  <a:tcPr marL="91434" marR="91434" marT="45717" marB="45717" vert="vert270" anchor="ctr">
                    <a:solidFill>
                      <a:schemeClr val="accent2">
                        <a:lumMod val="20000"/>
                        <a:lumOff val="80000"/>
                      </a:schemeClr>
                    </a:solidFill>
                  </a:tcPr>
                </a:tc>
                <a:tc>
                  <a:txBody>
                    <a:bodyPr/>
                    <a:lstStyle/>
                    <a:p>
                      <a:endParaRPr lang="en-US" sz="100"/>
                    </a:p>
                  </a:txBody>
                  <a:tcPr marL="91434" marR="91434" marT="45717" marB="45717">
                    <a:solidFill>
                      <a:schemeClr val="accent2">
                        <a:lumMod val="20000"/>
                        <a:lumOff val="80000"/>
                      </a:schemeClr>
                    </a:solidFill>
                  </a:tcPr>
                </a:tc>
                <a:extLst>
                  <a:ext uri="{0D108BD9-81ED-4DB2-BD59-A6C34878D82A}">
                    <a16:rowId xmlns:a16="http://schemas.microsoft.com/office/drawing/2014/main" val="1180159497"/>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solidFill>
                  </a:tcPr>
                </a:tc>
                <a:extLst>
                  <a:ext uri="{0D108BD9-81ED-4DB2-BD59-A6C34878D82A}">
                    <a16:rowId xmlns:a16="http://schemas.microsoft.com/office/drawing/2014/main" val="1335424472"/>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lumMod val="20000"/>
                        <a:lumOff val="80000"/>
                      </a:schemeClr>
                    </a:solidFill>
                  </a:tcPr>
                </a:tc>
                <a:extLst>
                  <a:ext uri="{0D108BD9-81ED-4DB2-BD59-A6C34878D82A}">
                    <a16:rowId xmlns:a16="http://schemas.microsoft.com/office/drawing/2014/main" val="245437586"/>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solidFill>
                  </a:tcPr>
                </a:tc>
                <a:extLst>
                  <a:ext uri="{0D108BD9-81ED-4DB2-BD59-A6C34878D82A}">
                    <a16:rowId xmlns:a16="http://schemas.microsoft.com/office/drawing/2014/main" val="609185421"/>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solidFill>
                  </a:tcPr>
                </a:tc>
                <a:extLst>
                  <a:ext uri="{0D108BD9-81ED-4DB2-BD59-A6C34878D82A}">
                    <a16:rowId xmlns:a16="http://schemas.microsoft.com/office/drawing/2014/main" val="3367280132"/>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lumMod val="20000"/>
                        <a:lumOff val="80000"/>
                      </a:schemeClr>
                    </a:solidFill>
                  </a:tcPr>
                </a:tc>
                <a:extLst>
                  <a:ext uri="{0D108BD9-81ED-4DB2-BD59-A6C34878D82A}">
                    <a16:rowId xmlns:a16="http://schemas.microsoft.com/office/drawing/2014/main" val="2227674718"/>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lumMod val="20000"/>
                        <a:lumOff val="80000"/>
                      </a:schemeClr>
                    </a:solidFill>
                  </a:tcPr>
                </a:tc>
                <a:extLst>
                  <a:ext uri="{0D108BD9-81ED-4DB2-BD59-A6C34878D82A}">
                    <a16:rowId xmlns:a16="http://schemas.microsoft.com/office/drawing/2014/main" val="1643633038"/>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lumMod val="20000"/>
                        <a:lumOff val="80000"/>
                      </a:schemeClr>
                    </a:solidFill>
                  </a:tcPr>
                </a:tc>
                <a:extLst>
                  <a:ext uri="{0D108BD9-81ED-4DB2-BD59-A6C34878D82A}">
                    <a16:rowId xmlns:a16="http://schemas.microsoft.com/office/drawing/2014/main" val="1835343424"/>
                  </a:ext>
                </a:extLst>
              </a:tr>
            </a:tbl>
          </a:graphicData>
        </a:graphic>
      </p:graphicFrame>
      <p:sp>
        <p:nvSpPr>
          <p:cNvPr id="105" name="Isosceles Triangle 104">
            <a:extLst>
              <a:ext uri="{FF2B5EF4-FFF2-40B4-BE49-F238E27FC236}">
                <a16:creationId xmlns:a16="http://schemas.microsoft.com/office/drawing/2014/main" id="{A52AFCC3-9A47-0C1E-5AF9-219F3C087DF0}"/>
              </a:ext>
            </a:extLst>
          </p:cNvPr>
          <p:cNvSpPr/>
          <p:nvPr/>
        </p:nvSpPr>
        <p:spPr>
          <a:xfrm rot="5400000">
            <a:off x="7824163" y="1914077"/>
            <a:ext cx="354498" cy="190578"/>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06" name="Isosceles Triangle 105">
            <a:extLst>
              <a:ext uri="{FF2B5EF4-FFF2-40B4-BE49-F238E27FC236}">
                <a16:creationId xmlns:a16="http://schemas.microsoft.com/office/drawing/2014/main" id="{DADA3E36-93CA-EB00-8CD3-9BE9ABF766E3}"/>
              </a:ext>
            </a:extLst>
          </p:cNvPr>
          <p:cNvSpPr/>
          <p:nvPr/>
        </p:nvSpPr>
        <p:spPr>
          <a:xfrm rot="5400000">
            <a:off x="5941761" y="1914077"/>
            <a:ext cx="354498" cy="190578"/>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07" name="Isosceles Triangle 106">
            <a:extLst>
              <a:ext uri="{FF2B5EF4-FFF2-40B4-BE49-F238E27FC236}">
                <a16:creationId xmlns:a16="http://schemas.microsoft.com/office/drawing/2014/main" id="{16A40421-3E38-B708-341F-95ECC3BA3780}"/>
              </a:ext>
            </a:extLst>
          </p:cNvPr>
          <p:cNvSpPr/>
          <p:nvPr/>
        </p:nvSpPr>
        <p:spPr>
          <a:xfrm rot="5400000">
            <a:off x="4059360" y="1914077"/>
            <a:ext cx="354498" cy="190578"/>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08" name="Isosceles Triangle 107">
            <a:extLst>
              <a:ext uri="{FF2B5EF4-FFF2-40B4-BE49-F238E27FC236}">
                <a16:creationId xmlns:a16="http://schemas.microsoft.com/office/drawing/2014/main" id="{860E48DA-C727-2B77-F80B-26C3E7507203}"/>
              </a:ext>
            </a:extLst>
          </p:cNvPr>
          <p:cNvSpPr/>
          <p:nvPr/>
        </p:nvSpPr>
        <p:spPr>
          <a:xfrm rot="5400000">
            <a:off x="2176958" y="1914077"/>
            <a:ext cx="354498" cy="190578"/>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109" name="Table 108">
            <a:extLst>
              <a:ext uri="{FF2B5EF4-FFF2-40B4-BE49-F238E27FC236}">
                <a16:creationId xmlns:a16="http://schemas.microsoft.com/office/drawing/2014/main" id="{A89A60C6-8E97-8694-2F19-5FD647C2C405}"/>
              </a:ext>
            </a:extLst>
          </p:cNvPr>
          <p:cNvGraphicFramePr>
            <a:graphicFrameLocks noGrp="1"/>
          </p:cNvGraphicFramePr>
          <p:nvPr/>
        </p:nvGraphicFramePr>
        <p:xfrm>
          <a:off x="4580444" y="2553050"/>
          <a:ext cx="1206924" cy="1206924"/>
        </p:xfrm>
        <a:graphic>
          <a:graphicData uri="http://schemas.openxmlformats.org/drawingml/2006/table">
            <a:tbl>
              <a:tblPr firstRow="1" firstCol="1" bandRow="1">
                <a:tableStyleId>{21E4AEA4-8DFA-4A89-87EB-49C32662AFE0}</a:tableStyleId>
              </a:tblPr>
              <a:tblGrid>
                <a:gridCol w="100577">
                  <a:extLst>
                    <a:ext uri="{9D8B030D-6E8A-4147-A177-3AD203B41FA5}">
                      <a16:colId xmlns:a16="http://schemas.microsoft.com/office/drawing/2014/main" val="1250722080"/>
                    </a:ext>
                  </a:extLst>
                </a:gridCol>
                <a:gridCol w="100577">
                  <a:extLst>
                    <a:ext uri="{9D8B030D-6E8A-4147-A177-3AD203B41FA5}">
                      <a16:colId xmlns:a16="http://schemas.microsoft.com/office/drawing/2014/main" val="3264460207"/>
                    </a:ext>
                  </a:extLst>
                </a:gridCol>
                <a:gridCol w="100577">
                  <a:extLst>
                    <a:ext uri="{9D8B030D-6E8A-4147-A177-3AD203B41FA5}">
                      <a16:colId xmlns:a16="http://schemas.microsoft.com/office/drawing/2014/main" val="3525546781"/>
                    </a:ext>
                  </a:extLst>
                </a:gridCol>
                <a:gridCol w="100577">
                  <a:extLst>
                    <a:ext uri="{9D8B030D-6E8A-4147-A177-3AD203B41FA5}">
                      <a16:colId xmlns:a16="http://schemas.microsoft.com/office/drawing/2014/main" val="4195289725"/>
                    </a:ext>
                  </a:extLst>
                </a:gridCol>
                <a:gridCol w="100577">
                  <a:extLst>
                    <a:ext uri="{9D8B030D-6E8A-4147-A177-3AD203B41FA5}">
                      <a16:colId xmlns:a16="http://schemas.microsoft.com/office/drawing/2014/main" val="2058946387"/>
                    </a:ext>
                  </a:extLst>
                </a:gridCol>
                <a:gridCol w="100577">
                  <a:extLst>
                    <a:ext uri="{9D8B030D-6E8A-4147-A177-3AD203B41FA5}">
                      <a16:colId xmlns:a16="http://schemas.microsoft.com/office/drawing/2014/main" val="1041033462"/>
                    </a:ext>
                  </a:extLst>
                </a:gridCol>
                <a:gridCol w="100577">
                  <a:extLst>
                    <a:ext uri="{9D8B030D-6E8A-4147-A177-3AD203B41FA5}">
                      <a16:colId xmlns:a16="http://schemas.microsoft.com/office/drawing/2014/main" val="1150689502"/>
                    </a:ext>
                  </a:extLst>
                </a:gridCol>
                <a:gridCol w="100577">
                  <a:extLst>
                    <a:ext uri="{9D8B030D-6E8A-4147-A177-3AD203B41FA5}">
                      <a16:colId xmlns:a16="http://schemas.microsoft.com/office/drawing/2014/main" val="910507495"/>
                    </a:ext>
                  </a:extLst>
                </a:gridCol>
                <a:gridCol w="100577">
                  <a:extLst>
                    <a:ext uri="{9D8B030D-6E8A-4147-A177-3AD203B41FA5}">
                      <a16:colId xmlns:a16="http://schemas.microsoft.com/office/drawing/2014/main" val="1724129376"/>
                    </a:ext>
                  </a:extLst>
                </a:gridCol>
                <a:gridCol w="100577">
                  <a:extLst>
                    <a:ext uri="{9D8B030D-6E8A-4147-A177-3AD203B41FA5}">
                      <a16:colId xmlns:a16="http://schemas.microsoft.com/office/drawing/2014/main" val="2667156736"/>
                    </a:ext>
                  </a:extLst>
                </a:gridCol>
                <a:gridCol w="100577">
                  <a:extLst>
                    <a:ext uri="{9D8B030D-6E8A-4147-A177-3AD203B41FA5}">
                      <a16:colId xmlns:a16="http://schemas.microsoft.com/office/drawing/2014/main" val="2966085246"/>
                    </a:ext>
                  </a:extLst>
                </a:gridCol>
                <a:gridCol w="100577">
                  <a:extLst>
                    <a:ext uri="{9D8B030D-6E8A-4147-A177-3AD203B41FA5}">
                      <a16:colId xmlns:a16="http://schemas.microsoft.com/office/drawing/2014/main" val="236527563"/>
                    </a:ext>
                  </a:extLst>
                </a:gridCol>
              </a:tblGrid>
              <a:tr h="100577">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extLst>
                  <a:ext uri="{0D108BD9-81ED-4DB2-BD59-A6C34878D82A}">
                    <a16:rowId xmlns:a16="http://schemas.microsoft.com/office/drawing/2014/main" val="1180159497"/>
                  </a:ext>
                </a:extLst>
              </a:tr>
              <a:tr h="100577">
                <a:tc>
                  <a:txBody>
                    <a:bodyPr/>
                    <a:lstStyle/>
                    <a:p>
                      <a:endParaRPr lang="en-US" sz="100"/>
                    </a:p>
                  </a:txBody>
                  <a:tcPr marL="0" marR="0" marT="0" marB="0"/>
                </a:tc>
                <a:tc>
                  <a:txBody>
                    <a:bodyPr/>
                    <a:lstStyle/>
                    <a:p>
                      <a:endParaRPr lang="en-US" sz="100"/>
                    </a:p>
                  </a:txBody>
                  <a:tcPr marL="0" marR="0" marT="0" marB="0">
                    <a:solidFill>
                      <a:srgbClr val="C7C7E7"/>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extLst>
                  <a:ext uri="{0D108BD9-81ED-4DB2-BD59-A6C34878D82A}">
                    <a16:rowId xmlns:a16="http://schemas.microsoft.com/office/drawing/2014/main" val="133542447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45437586"/>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609185421"/>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extLst>
                  <a:ext uri="{0D108BD9-81ED-4DB2-BD59-A6C34878D82A}">
                    <a16:rowId xmlns:a16="http://schemas.microsoft.com/office/drawing/2014/main" val="336728013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356609977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56978774"/>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rgbClr val="C7C7E7"/>
                    </a:solidFill>
                  </a:tcPr>
                </a:tc>
                <a:extLst>
                  <a:ext uri="{0D108BD9-81ED-4DB2-BD59-A6C34878D82A}">
                    <a16:rowId xmlns:a16="http://schemas.microsoft.com/office/drawing/2014/main" val="3247110680"/>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rgbClr val="C7C7E7"/>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1529717088"/>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523473245"/>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C7C7E7"/>
                    </a:solidFill>
                  </a:tcPr>
                </a:tc>
                <a:extLst>
                  <a:ext uri="{0D108BD9-81ED-4DB2-BD59-A6C34878D82A}">
                    <a16:rowId xmlns:a16="http://schemas.microsoft.com/office/drawing/2014/main" val="2590754609"/>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1709701597"/>
                  </a:ext>
                </a:extLst>
              </a:tr>
            </a:tbl>
          </a:graphicData>
        </a:graphic>
      </p:graphicFrame>
      <p:graphicFrame>
        <p:nvGraphicFramePr>
          <p:cNvPr id="110" name="Table 109">
            <a:extLst>
              <a:ext uri="{FF2B5EF4-FFF2-40B4-BE49-F238E27FC236}">
                <a16:creationId xmlns:a16="http://schemas.microsoft.com/office/drawing/2014/main" id="{74B35FE4-F63F-CD27-22CE-9DA79872AED3}"/>
              </a:ext>
            </a:extLst>
          </p:cNvPr>
          <p:cNvGraphicFramePr>
            <a:graphicFrameLocks noGrp="1"/>
          </p:cNvGraphicFramePr>
          <p:nvPr/>
        </p:nvGraphicFramePr>
        <p:xfrm>
          <a:off x="6459799" y="2553050"/>
          <a:ext cx="1206924" cy="1206924"/>
        </p:xfrm>
        <a:graphic>
          <a:graphicData uri="http://schemas.openxmlformats.org/drawingml/2006/table">
            <a:tbl>
              <a:tblPr firstRow="1" firstCol="1" bandRow="1">
                <a:tableStyleId>{21E4AEA4-8DFA-4A89-87EB-49C32662AFE0}</a:tableStyleId>
              </a:tblPr>
              <a:tblGrid>
                <a:gridCol w="100577">
                  <a:extLst>
                    <a:ext uri="{9D8B030D-6E8A-4147-A177-3AD203B41FA5}">
                      <a16:colId xmlns:a16="http://schemas.microsoft.com/office/drawing/2014/main" val="1250722080"/>
                    </a:ext>
                  </a:extLst>
                </a:gridCol>
                <a:gridCol w="100577">
                  <a:extLst>
                    <a:ext uri="{9D8B030D-6E8A-4147-A177-3AD203B41FA5}">
                      <a16:colId xmlns:a16="http://schemas.microsoft.com/office/drawing/2014/main" val="3264460207"/>
                    </a:ext>
                  </a:extLst>
                </a:gridCol>
                <a:gridCol w="100577">
                  <a:extLst>
                    <a:ext uri="{9D8B030D-6E8A-4147-A177-3AD203B41FA5}">
                      <a16:colId xmlns:a16="http://schemas.microsoft.com/office/drawing/2014/main" val="3525546781"/>
                    </a:ext>
                  </a:extLst>
                </a:gridCol>
                <a:gridCol w="100577">
                  <a:extLst>
                    <a:ext uri="{9D8B030D-6E8A-4147-A177-3AD203B41FA5}">
                      <a16:colId xmlns:a16="http://schemas.microsoft.com/office/drawing/2014/main" val="4195289725"/>
                    </a:ext>
                  </a:extLst>
                </a:gridCol>
                <a:gridCol w="100577">
                  <a:extLst>
                    <a:ext uri="{9D8B030D-6E8A-4147-A177-3AD203B41FA5}">
                      <a16:colId xmlns:a16="http://schemas.microsoft.com/office/drawing/2014/main" val="2058946387"/>
                    </a:ext>
                  </a:extLst>
                </a:gridCol>
                <a:gridCol w="100577">
                  <a:extLst>
                    <a:ext uri="{9D8B030D-6E8A-4147-A177-3AD203B41FA5}">
                      <a16:colId xmlns:a16="http://schemas.microsoft.com/office/drawing/2014/main" val="1041033462"/>
                    </a:ext>
                  </a:extLst>
                </a:gridCol>
                <a:gridCol w="100577">
                  <a:extLst>
                    <a:ext uri="{9D8B030D-6E8A-4147-A177-3AD203B41FA5}">
                      <a16:colId xmlns:a16="http://schemas.microsoft.com/office/drawing/2014/main" val="1150689502"/>
                    </a:ext>
                  </a:extLst>
                </a:gridCol>
                <a:gridCol w="100577">
                  <a:extLst>
                    <a:ext uri="{9D8B030D-6E8A-4147-A177-3AD203B41FA5}">
                      <a16:colId xmlns:a16="http://schemas.microsoft.com/office/drawing/2014/main" val="910507495"/>
                    </a:ext>
                  </a:extLst>
                </a:gridCol>
                <a:gridCol w="100577">
                  <a:extLst>
                    <a:ext uri="{9D8B030D-6E8A-4147-A177-3AD203B41FA5}">
                      <a16:colId xmlns:a16="http://schemas.microsoft.com/office/drawing/2014/main" val="1724129376"/>
                    </a:ext>
                  </a:extLst>
                </a:gridCol>
                <a:gridCol w="100577">
                  <a:extLst>
                    <a:ext uri="{9D8B030D-6E8A-4147-A177-3AD203B41FA5}">
                      <a16:colId xmlns:a16="http://schemas.microsoft.com/office/drawing/2014/main" val="2667156736"/>
                    </a:ext>
                  </a:extLst>
                </a:gridCol>
                <a:gridCol w="100577">
                  <a:extLst>
                    <a:ext uri="{9D8B030D-6E8A-4147-A177-3AD203B41FA5}">
                      <a16:colId xmlns:a16="http://schemas.microsoft.com/office/drawing/2014/main" val="2966085246"/>
                    </a:ext>
                  </a:extLst>
                </a:gridCol>
                <a:gridCol w="100577">
                  <a:extLst>
                    <a:ext uri="{9D8B030D-6E8A-4147-A177-3AD203B41FA5}">
                      <a16:colId xmlns:a16="http://schemas.microsoft.com/office/drawing/2014/main" val="236527563"/>
                    </a:ext>
                  </a:extLst>
                </a:gridCol>
              </a:tblGrid>
              <a:tr h="100577">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extLst>
                  <a:ext uri="{0D108BD9-81ED-4DB2-BD59-A6C34878D82A}">
                    <a16:rowId xmlns:a16="http://schemas.microsoft.com/office/drawing/2014/main" val="1180159497"/>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9494D4"/>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9494D4"/>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133542447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9494D4"/>
                    </a:solidFill>
                  </a:tcPr>
                </a:tc>
                <a:tc>
                  <a:txBody>
                    <a:bodyPr/>
                    <a:lstStyle/>
                    <a:p>
                      <a:endParaRPr lang="en-US" sz="100"/>
                    </a:p>
                  </a:txBody>
                  <a:tcPr marL="0" marR="0" marT="0" marB="0">
                    <a:solidFill>
                      <a:srgbClr val="9494D4"/>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9494D4"/>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45437586"/>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609185421"/>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9494D4"/>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336728013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9494D4"/>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356609977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56978774"/>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9494D4"/>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3247110680"/>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9494D4"/>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1529717088"/>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523473245"/>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590754609"/>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1709701597"/>
                  </a:ext>
                </a:extLst>
              </a:tr>
            </a:tbl>
          </a:graphicData>
        </a:graphic>
      </p:graphicFrame>
      <p:graphicFrame>
        <p:nvGraphicFramePr>
          <p:cNvPr id="111" name="Table 110">
            <a:extLst>
              <a:ext uri="{FF2B5EF4-FFF2-40B4-BE49-F238E27FC236}">
                <a16:creationId xmlns:a16="http://schemas.microsoft.com/office/drawing/2014/main" id="{E2A51AC9-8AFD-1B90-D214-BF155731EA48}"/>
              </a:ext>
            </a:extLst>
          </p:cNvPr>
          <p:cNvGraphicFramePr>
            <a:graphicFrameLocks noGrp="1"/>
          </p:cNvGraphicFramePr>
          <p:nvPr/>
        </p:nvGraphicFramePr>
        <p:xfrm>
          <a:off x="8339153" y="2553050"/>
          <a:ext cx="1206924" cy="1206924"/>
        </p:xfrm>
        <a:graphic>
          <a:graphicData uri="http://schemas.openxmlformats.org/drawingml/2006/table">
            <a:tbl>
              <a:tblPr firstRow="1" firstCol="1" bandRow="1">
                <a:tableStyleId>{21E4AEA4-8DFA-4A89-87EB-49C32662AFE0}</a:tableStyleId>
              </a:tblPr>
              <a:tblGrid>
                <a:gridCol w="100577">
                  <a:extLst>
                    <a:ext uri="{9D8B030D-6E8A-4147-A177-3AD203B41FA5}">
                      <a16:colId xmlns:a16="http://schemas.microsoft.com/office/drawing/2014/main" val="1250722080"/>
                    </a:ext>
                  </a:extLst>
                </a:gridCol>
                <a:gridCol w="100577">
                  <a:extLst>
                    <a:ext uri="{9D8B030D-6E8A-4147-A177-3AD203B41FA5}">
                      <a16:colId xmlns:a16="http://schemas.microsoft.com/office/drawing/2014/main" val="3264460207"/>
                    </a:ext>
                  </a:extLst>
                </a:gridCol>
                <a:gridCol w="100577">
                  <a:extLst>
                    <a:ext uri="{9D8B030D-6E8A-4147-A177-3AD203B41FA5}">
                      <a16:colId xmlns:a16="http://schemas.microsoft.com/office/drawing/2014/main" val="3525546781"/>
                    </a:ext>
                  </a:extLst>
                </a:gridCol>
                <a:gridCol w="100577">
                  <a:extLst>
                    <a:ext uri="{9D8B030D-6E8A-4147-A177-3AD203B41FA5}">
                      <a16:colId xmlns:a16="http://schemas.microsoft.com/office/drawing/2014/main" val="4195289725"/>
                    </a:ext>
                  </a:extLst>
                </a:gridCol>
                <a:gridCol w="100577">
                  <a:extLst>
                    <a:ext uri="{9D8B030D-6E8A-4147-A177-3AD203B41FA5}">
                      <a16:colId xmlns:a16="http://schemas.microsoft.com/office/drawing/2014/main" val="2058946387"/>
                    </a:ext>
                  </a:extLst>
                </a:gridCol>
                <a:gridCol w="100577">
                  <a:extLst>
                    <a:ext uri="{9D8B030D-6E8A-4147-A177-3AD203B41FA5}">
                      <a16:colId xmlns:a16="http://schemas.microsoft.com/office/drawing/2014/main" val="1041033462"/>
                    </a:ext>
                  </a:extLst>
                </a:gridCol>
                <a:gridCol w="100577">
                  <a:extLst>
                    <a:ext uri="{9D8B030D-6E8A-4147-A177-3AD203B41FA5}">
                      <a16:colId xmlns:a16="http://schemas.microsoft.com/office/drawing/2014/main" val="1150689502"/>
                    </a:ext>
                  </a:extLst>
                </a:gridCol>
                <a:gridCol w="100577">
                  <a:extLst>
                    <a:ext uri="{9D8B030D-6E8A-4147-A177-3AD203B41FA5}">
                      <a16:colId xmlns:a16="http://schemas.microsoft.com/office/drawing/2014/main" val="910507495"/>
                    </a:ext>
                  </a:extLst>
                </a:gridCol>
                <a:gridCol w="100577">
                  <a:extLst>
                    <a:ext uri="{9D8B030D-6E8A-4147-A177-3AD203B41FA5}">
                      <a16:colId xmlns:a16="http://schemas.microsoft.com/office/drawing/2014/main" val="1724129376"/>
                    </a:ext>
                  </a:extLst>
                </a:gridCol>
                <a:gridCol w="100577">
                  <a:extLst>
                    <a:ext uri="{9D8B030D-6E8A-4147-A177-3AD203B41FA5}">
                      <a16:colId xmlns:a16="http://schemas.microsoft.com/office/drawing/2014/main" val="2667156736"/>
                    </a:ext>
                  </a:extLst>
                </a:gridCol>
                <a:gridCol w="100577">
                  <a:extLst>
                    <a:ext uri="{9D8B030D-6E8A-4147-A177-3AD203B41FA5}">
                      <a16:colId xmlns:a16="http://schemas.microsoft.com/office/drawing/2014/main" val="2966085246"/>
                    </a:ext>
                  </a:extLst>
                </a:gridCol>
                <a:gridCol w="100577">
                  <a:extLst>
                    <a:ext uri="{9D8B030D-6E8A-4147-A177-3AD203B41FA5}">
                      <a16:colId xmlns:a16="http://schemas.microsoft.com/office/drawing/2014/main" val="236527563"/>
                    </a:ext>
                  </a:extLst>
                </a:gridCol>
              </a:tblGrid>
              <a:tr h="100577">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extLst>
                  <a:ext uri="{0D108BD9-81ED-4DB2-BD59-A6C34878D82A}">
                    <a16:rowId xmlns:a16="http://schemas.microsoft.com/office/drawing/2014/main" val="1180159497"/>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133542447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45437586"/>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609185421"/>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6262C2"/>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336728013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6262C2"/>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356609977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56978774"/>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3247110680"/>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6262C2"/>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1529717088"/>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523473245"/>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590754609"/>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1709701597"/>
                  </a:ext>
                </a:extLst>
              </a:tr>
            </a:tbl>
          </a:graphicData>
        </a:graphic>
      </p:graphicFrame>
      <p:graphicFrame>
        <p:nvGraphicFramePr>
          <p:cNvPr id="112" name="Table 111">
            <a:extLst>
              <a:ext uri="{FF2B5EF4-FFF2-40B4-BE49-F238E27FC236}">
                <a16:creationId xmlns:a16="http://schemas.microsoft.com/office/drawing/2014/main" id="{9DA9CF93-91BF-2A83-ACBD-8EE040D711F9}"/>
              </a:ext>
            </a:extLst>
          </p:cNvPr>
          <p:cNvGraphicFramePr>
            <a:graphicFrameLocks noGrp="1"/>
          </p:cNvGraphicFramePr>
          <p:nvPr/>
        </p:nvGraphicFramePr>
        <p:xfrm>
          <a:off x="1433324" y="2504924"/>
          <a:ext cx="574002" cy="1402008"/>
        </p:xfrm>
        <a:graphic>
          <a:graphicData uri="http://schemas.openxmlformats.org/drawingml/2006/table">
            <a:tbl>
              <a:tblPr firstCol="1">
                <a:tableStyleId>{21E4AEA4-8DFA-4A89-87EB-49C32662AFE0}</a:tableStyleId>
              </a:tblPr>
              <a:tblGrid>
                <a:gridCol w="208268">
                  <a:extLst>
                    <a:ext uri="{9D8B030D-6E8A-4147-A177-3AD203B41FA5}">
                      <a16:colId xmlns:a16="http://schemas.microsoft.com/office/drawing/2014/main" val="716946294"/>
                    </a:ext>
                  </a:extLst>
                </a:gridCol>
                <a:gridCol w="365734">
                  <a:extLst>
                    <a:ext uri="{9D8B030D-6E8A-4147-A177-3AD203B41FA5}">
                      <a16:colId xmlns:a16="http://schemas.microsoft.com/office/drawing/2014/main" val="1250722080"/>
                    </a:ext>
                  </a:extLst>
                </a:gridCol>
              </a:tblGrid>
              <a:tr h="0">
                <a:tc rowSpan="12">
                  <a:txBody>
                    <a:bodyPr/>
                    <a:lstStyle/>
                    <a:p>
                      <a:pPr algn="ctr"/>
                      <a:r>
                        <a:rPr lang="en-US" sz="900">
                          <a:solidFill>
                            <a:schemeClr val="tx1"/>
                          </a:solidFill>
                        </a:rPr>
                        <a:t>In Development</a:t>
                      </a:r>
                    </a:p>
                  </a:txBody>
                  <a:tcPr marL="91434" marR="91434" marT="45717" marB="45717" vert="vert270" anchor="ctr">
                    <a:solidFill>
                      <a:schemeClr val="accent2">
                        <a:lumMod val="20000"/>
                        <a:lumOff val="80000"/>
                      </a:schemeClr>
                    </a:solidFill>
                  </a:tcPr>
                </a:tc>
                <a:tc>
                  <a:txBody>
                    <a:bodyPr/>
                    <a:lstStyle/>
                    <a:p>
                      <a:endParaRPr lang="en-US" sz="100"/>
                    </a:p>
                  </a:txBody>
                  <a:tcPr marL="91434" marR="91434" marT="45717" marB="45717">
                    <a:solidFill>
                      <a:schemeClr val="accent2">
                        <a:lumMod val="20000"/>
                        <a:lumOff val="80000"/>
                      </a:schemeClr>
                    </a:solidFill>
                  </a:tcPr>
                </a:tc>
                <a:extLst>
                  <a:ext uri="{0D108BD9-81ED-4DB2-BD59-A6C34878D82A}">
                    <a16:rowId xmlns:a16="http://schemas.microsoft.com/office/drawing/2014/main" val="908934652"/>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solidFill>
                  </a:tcPr>
                </a:tc>
                <a:extLst>
                  <a:ext uri="{0D108BD9-81ED-4DB2-BD59-A6C34878D82A}">
                    <a16:rowId xmlns:a16="http://schemas.microsoft.com/office/drawing/2014/main" val="2972892883"/>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lumMod val="20000"/>
                        <a:lumOff val="80000"/>
                      </a:schemeClr>
                    </a:solidFill>
                  </a:tcPr>
                </a:tc>
                <a:extLst>
                  <a:ext uri="{0D108BD9-81ED-4DB2-BD59-A6C34878D82A}">
                    <a16:rowId xmlns:a16="http://schemas.microsoft.com/office/drawing/2014/main" val="2292050029"/>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lumMod val="20000"/>
                        <a:lumOff val="80000"/>
                      </a:schemeClr>
                    </a:solidFill>
                  </a:tcPr>
                </a:tc>
                <a:extLst>
                  <a:ext uri="{0D108BD9-81ED-4DB2-BD59-A6C34878D82A}">
                    <a16:rowId xmlns:a16="http://schemas.microsoft.com/office/drawing/2014/main" val="3766461988"/>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lumMod val="20000"/>
                        <a:lumOff val="80000"/>
                      </a:schemeClr>
                    </a:solidFill>
                  </a:tcPr>
                </a:tc>
                <a:extLst>
                  <a:ext uri="{0D108BD9-81ED-4DB2-BD59-A6C34878D82A}">
                    <a16:rowId xmlns:a16="http://schemas.microsoft.com/office/drawing/2014/main" val="812339196"/>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solidFill>
                  </a:tcPr>
                </a:tc>
                <a:extLst>
                  <a:ext uri="{0D108BD9-81ED-4DB2-BD59-A6C34878D82A}">
                    <a16:rowId xmlns:a16="http://schemas.microsoft.com/office/drawing/2014/main" val="2600958611"/>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solidFill>
                  </a:tcPr>
                </a:tc>
                <a:extLst>
                  <a:ext uri="{0D108BD9-81ED-4DB2-BD59-A6C34878D82A}">
                    <a16:rowId xmlns:a16="http://schemas.microsoft.com/office/drawing/2014/main" val="2746062490"/>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lumMod val="20000"/>
                        <a:lumOff val="80000"/>
                      </a:schemeClr>
                    </a:solidFill>
                  </a:tcPr>
                </a:tc>
                <a:extLst>
                  <a:ext uri="{0D108BD9-81ED-4DB2-BD59-A6C34878D82A}">
                    <a16:rowId xmlns:a16="http://schemas.microsoft.com/office/drawing/2014/main" val="3755965823"/>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lumMod val="20000"/>
                        <a:lumOff val="80000"/>
                      </a:schemeClr>
                    </a:solidFill>
                  </a:tcPr>
                </a:tc>
                <a:extLst>
                  <a:ext uri="{0D108BD9-81ED-4DB2-BD59-A6C34878D82A}">
                    <a16:rowId xmlns:a16="http://schemas.microsoft.com/office/drawing/2014/main" val="3773166868"/>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solidFill>
                  </a:tcPr>
                </a:tc>
                <a:extLst>
                  <a:ext uri="{0D108BD9-81ED-4DB2-BD59-A6C34878D82A}">
                    <a16:rowId xmlns:a16="http://schemas.microsoft.com/office/drawing/2014/main" val="810136829"/>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lumMod val="20000"/>
                        <a:lumOff val="80000"/>
                      </a:schemeClr>
                    </a:solidFill>
                  </a:tcPr>
                </a:tc>
                <a:extLst>
                  <a:ext uri="{0D108BD9-81ED-4DB2-BD59-A6C34878D82A}">
                    <a16:rowId xmlns:a16="http://schemas.microsoft.com/office/drawing/2014/main" val="3346770725"/>
                  </a:ext>
                </a:extLst>
              </a:tr>
              <a:tr h="0">
                <a:tc vMerge="1">
                  <a:txBody>
                    <a:bodyPr/>
                    <a:lstStyle/>
                    <a:p>
                      <a:endParaRPr lang="en-US" sz="100"/>
                    </a:p>
                  </a:txBody>
                  <a:tcPr>
                    <a:solidFill>
                      <a:schemeClr val="accent2">
                        <a:lumMod val="20000"/>
                        <a:lumOff val="80000"/>
                      </a:schemeClr>
                    </a:solidFill>
                  </a:tcPr>
                </a:tc>
                <a:tc>
                  <a:txBody>
                    <a:bodyPr/>
                    <a:lstStyle/>
                    <a:p>
                      <a:endParaRPr lang="en-US" sz="100"/>
                    </a:p>
                  </a:txBody>
                  <a:tcPr marL="91434" marR="91434" marT="45717" marB="45717">
                    <a:solidFill>
                      <a:schemeClr val="accent2"/>
                    </a:solidFill>
                  </a:tcPr>
                </a:tc>
                <a:extLst>
                  <a:ext uri="{0D108BD9-81ED-4DB2-BD59-A6C34878D82A}">
                    <a16:rowId xmlns:a16="http://schemas.microsoft.com/office/drawing/2014/main" val="455970211"/>
                  </a:ext>
                </a:extLst>
              </a:tr>
            </a:tbl>
          </a:graphicData>
        </a:graphic>
      </p:graphicFrame>
      <p:sp>
        <p:nvSpPr>
          <p:cNvPr id="113" name="Rectangle 112">
            <a:extLst>
              <a:ext uri="{FF2B5EF4-FFF2-40B4-BE49-F238E27FC236}">
                <a16:creationId xmlns:a16="http://schemas.microsoft.com/office/drawing/2014/main" id="{353369FC-6410-DA8B-E413-8098CBADE4B2}"/>
              </a:ext>
            </a:extLst>
          </p:cNvPr>
          <p:cNvSpPr/>
          <p:nvPr/>
        </p:nvSpPr>
        <p:spPr>
          <a:xfrm>
            <a:off x="10217852" y="1719642"/>
            <a:ext cx="1188637" cy="594318"/>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Value assessment</a:t>
            </a:r>
          </a:p>
        </p:txBody>
      </p:sp>
      <p:sp>
        <p:nvSpPr>
          <p:cNvPr id="114" name="Isosceles Triangle 113">
            <a:extLst>
              <a:ext uri="{FF2B5EF4-FFF2-40B4-BE49-F238E27FC236}">
                <a16:creationId xmlns:a16="http://schemas.microsoft.com/office/drawing/2014/main" id="{752FCDB8-4B83-4CFE-BD84-2A2422C82B8C}"/>
              </a:ext>
            </a:extLst>
          </p:cNvPr>
          <p:cNvSpPr/>
          <p:nvPr/>
        </p:nvSpPr>
        <p:spPr>
          <a:xfrm rot="5400000">
            <a:off x="9693718" y="1921512"/>
            <a:ext cx="354498" cy="190578"/>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115" name="Table 114">
            <a:extLst>
              <a:ext uri="{FF2B5EF4-FFF2-40B4-BE49-F238E27FC236}">
                <a16:creationId xmlns:a16="http://schemas.microsoft.com/office/drawing/2014/main" id="{0A65196F-A0DD-9392-A189-2E9D09A39455}"/>
              </a:ext>
            </a:extLst>
          </p:cNvPr>
          <p:cNvGraphicFramePr>
            <a:graphicFrameLocks noGrp="1"/>
          </p:cNvGraphicFramePr>
          <p:nvPr/>
        </p:nvGraphicFramePr>
        <p:xfrm>
          <a:off x="10208708" y="2560486"/>
          <a:ext cx="1206924" cy="1206924"/>
        </p:xfrm>
        <a:graphic>
          <a:graphicData uri="http://schemas.openxmlformats.org/drawingml/2006/table">
            <a:tbl>
              <a:tblPr firstRow="1" firstCol="1" bandRow="1">
                <a:tableStyleId>{21E4AEA4-8DFA-4A89-87EB-49C32662AFE0}</a:tableStyleId>
              </a:tblPr>
              <a:tblGrid>
                <a:gridCol w="100577">
                  <a:extLst>
                    <a:ext uri="{9D8B030D-6E8A-4147-A177-3AD203B41FA5}">
                      <a16:colId xmlns:a16="http://schemas.microsoft.com/office/drawing/2014/main" val="1250722080"/>
                    </a:ext>
                  </a:extLst>
                </a:gridCol>
                <a:gridCol w="100577">
                  <a:extLst>
                    <a:ext uri="{9D8B030D-6E8A-4147-A177-3AD203B41FA5}">
                      <a16:colId xmlns:a16="http://schemas.microsoft.com/office/drawing/2014/main" val="3264460207"/>
                    </a:ext>
                  </a:extLst>
                </a:gridCol>
                <a:gridCol w="100577">
                  <a:extLst>
                    <a:ext uri="{9D8B030D-6E8A-4147-A177-3AD203B41FA5}">
                      <a16:colId xmlns:a16="http://schemas.microsoft.com/office/drawing/2014/main" val="3525546781"/>
                    </a:ext>
                  </a:extLst>
                </a:gridCol>
                <a:gridCol w="100577">
                  <a:extLst>
                    <a:ext uri="{9D8B030D-6E8A-4147-A177-3AD203B41FA5}">
                      <a16:colId xmlns:a16="http://schemas.microsoft.com/office/drawing/2014/main" val="4195289725"/>
                    </a:ext>
                  </a:extLst>
                </a:gridCol>
                <a:gridCol w="100577">
                  <a:extLst>
                    <a:ext uri="{9D8B030D-6E8A-4147-A177-3AD203B41FA5}">
                      <a16:colId xmlns:a16="http://schemas.microsoft.com/office/drawing/2014/main" val="2058946387"/>
                    </a:ext>
                  </a:extLst>
                </a:gridCol>
                <a:gridCol w="100577">
                  <a:extLst>
                    <a:ext uri="{9D8B030D-6E8A-4147-A177-3AD203B41FA5}">
                      <a16:colId xmlns:a16="http://schemas.microsoft.com/office/drawing/2014/main" val="1041033462"/>
                    </a:ext>
                  </a:extLst>
                </a:gridCol>
                <a:gridCol w="100577">
                  <a:extLst>
                    <a:ext uri="{9D8B030D-6E8A-4147-A177-3AD203B41FA5}">
                      <a16:colId xmlns:a16="http://schemas.microsoft.com/office/drawing/2014/main" val="1150689502"/>
                    </a:ext>
                  </a:extLst>
                </a:gridCol>
                <a:gridCol w="100577">
                  <a:extLst>
                    <a:ext uri="{9D8B030D-6E8A-4147-A177-3AD203B41FA5}">
                      <a16:colId xmlns:a16="http://schemas.microsoft.com/office/drawing/2014/main" val="910507495"/>
                    </a:ext>
                  </a:extLst>
                </a:gridCol>
                <a:gridCol w="100577">
                  <a:extLst>
                    <a:ext uri="{9D8B030D-6E8A-4147-A177-3AD203B41FA5}">
                      <a16:colId xmlns:a16="http://schemas.microsoft.com/office/drawing/2014/main" val="1724129376"/>
                    </a:ext>
                  </a:extLst>
                </a:gridCol>
                <a:gridCol w="100577">
                  <a:extLst>
                    <a:ext uri="{9D8B030D-6E8A-4147-A177-3AD203B41FA5}">
                      <a16:colId xmlns:a16="http://schemas.microsoft.com/office/drawing/2014/main" val="2667156736"/>
                    </a:ext>
                  </a:extLst>
                </a:gridCol>
                <a:gridCol w="100577">
                  <a:extLst>
                    <a:ext uri="{9D8B030D-6E8A-4147-A177-3AD203B41FA5}">
                      <a16:colId xmlns:a16="http://schemas.microsoft.com/office/drawing/2014/main" val="2966085246"/>
                    </a:ext>
                  </a:extLst>
                </a:gridCol>
                <a:gridCol w="100577">
                  <a:extLst>
                    <a:ext uri="{9D8B030D-6E8A-4147-A177-3AD203B41FA5}">
                      <a16:colId xmlns:a16="http://schemas.microsoft.com/office/drawing/2014/main" val="236527563"/>
                    </a:ext>
                  </a:extLst>
                </a:gridCol>
              </a:tblGrid>
              <a:tr h="100577">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tc>
                  <a:txBody>
                    <a:bodyPr/>
                    <a:lstStyle/>
                    <a:p>
                      <a:endParaRPr lang="en-US" sz="100"/>
                    </a:p>
                  </a:txBody>
                  <a:tcPr marL="0" marR="0" marT="0" marB="0"/>
                </a:tc>
                <a:extLst>
                  <a:ext uri="{0D108BD9-81ED-4DB2-BD59-A6C34878D82A}">
                    <a16:rowId xmlns:a16="http://schemas.microsoft.com/office/drawing/2014/main" val="1180159497"/>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133542447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45437586"/>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609185421"/>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6262C2"/>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336728013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6262C2"/>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3566099772"/>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56978774"/>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3247110680"/>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rgbClr val="6262C2"/>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1529717088"/>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523473245"/>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2590754609"/>
                  </a:ext>
                </a:extLst>
              </a:tr>
              <a:tr h="100577">
                <a:tc>
                  <a:txBody>
                    <a:bodyPr/>
                    <a:lstStyle/>
                    <a:p>
                      <a:endParaRPr lang="en-US" sz="100"/>
                    </a:p>
                  </a:txBody>
                  <a:tcPr marL="0" marR="0" marT="0" marB="0"/>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solidFill>
                      <a:schemeClr val="bg1"/>
                    </a:solid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noFill/>
                  </a:tcPr>
                </a:tc>
                <a:tc>
                  <a:txBody>
                    <a:bodyPr/>
                    <a:lstStyle/>
                    <a:p>
                      <a:endParaRPr lang="en-US" sz="100"/>
                    </a:p>
                  </a:txBody>
                  <a:tcPr marL="0" marR="0" marT="0" marB="0">
                    <a:solidFill>
                      <a:schemeClr val="bg1"/>
                    </a:solidFill>
                  </a:tcPr>
                </a:tc>
                <a:extLst>
                  <a:ext uri="{0D108BD9-81ED-4DB2-BD59-A6C34878D82A}">
                    <a16:rowId xmlns:a16="http://schemas.microsoft.com/office/drawing/2014/main" val="1709701597"/>
                  </a:ext>
                </a:extLst>
              </a:tr>
            </a:tbl>
          </a:graphicData>
        </a:graphic>
      </p:graphicFrame>
      <p:sp>
        <p:nvSpPr>
          <p:cNvPr id="3" name="Oval 2">
            <a:extLst>
              <a:ext uri="{FF2B5EF4-FFF2-40B4-BE49-F238E27FC236}">
                <a16:creationId xmlns:a16="http://schemas.microsoft.com/office/drawing/2014/main" id="{6F9034D3-C828-9FD9-E3A7-C48C944D6A02}"/>
              </a:ext>
            </a:extLst>
          </p:cNvPr>
          <p:cNvSpPr/>
          <p:nvPr/>
        </p:nvSpPr>
        <p:spPr>
          <a:xfrm>
            <a:off x="10744105" y="3012812"/>
            <a:ext cx="233236" cy="199597"/>
          </a:xfrm>
          <a:prstGeom prst="ellipse">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 name="Graphic 4" descr="Needle outline">
            <a:extLst>
              <a:ext uri="{FF2B5EF4-FFF2-40B4-BE49-F238E27FC236}">
                <a16:creationId xmlns:a16="http://schemas.microsoft.com/office/drawing/2014/main" id="{96AE9AAA-384F-10DF-184F-5A0D1AA703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14257" y="483314"/>
            <a:ext cx="554493" cy="554493"/>
          </a:xfrm>
          <a:prstGeom prst="rect">
            <a:avLst/>
          </a:prstGeom>
        </p:spPr>
      </p:pic>
    </p:spTree>
    <p:extLst>
      <p:ext uri="{BB962C8B-B14F-4D97-AF65-F5344CB8AC3E}">
        <p14:creationId xmlns:p14="http://schemas.microsoft.com/office/powerpoint/2010/main" val="3804681420"/>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502FA-532A-3515-D5FE-92809498B3E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5B93663-A070-1373-93A9-073B1052EF12}"/>
              </a:ext>
            </a:extLst>
          </p:cNvPr>
          <p:cNvSpPr>
            <a:spLocks noGrp="1"/>
          </p:cNvSpPr>
          <p:nvPr>
            <p:ph type="title"/>
          </p:nvPr>
        </p:nvSpPr>
        <p:spPr>
          <a:xfrm>
            <a:off x="330743" y="344393"/>
            <a:ext cx="11517927" cy="738612"/>
          </a:xfrm>
        </p:spPr>
        <p:txBody>
          <a:bodyPr/>
          <a:lstStyle/>
          <a:p>
            <a:r>
              <a:rPr lang="en-US">
                <a:ea typeface="Calibri"/>
              </a:rPr>
              <a:t>Emerging opportunities, cluster view</a:t>
            </a:r>
          </a:p>
        </p:txBody>
      </p:sp>
      <p:sp>
        <p:nvSpPr>
          <p:cNvPr id="2" name="Slide Number Placeholder 3">
            <a:extLst>
              <a:ext uri="{FF2B5EF4-FFF2-40B4-BE49-F238E27FC236}">
                <a16:creationId xmlns:a16="http://schemas.microsoft.com/office/drawing/2014/main" id="{3F0E82DA-2FE8-91F5-C9A4-3D6E89F5C943}"/>
              </a:ext>
            </a:extLst>
          </p:cNvPr>
          <p:cNvSpPr>
            <a:spLocks noGrp="1"/>
          </p:cNvSpPr>
          <p:nvPr>
            <p:ph type="sldNum" sz="quarter" idx="7"/>
          </p:nvPr>
        </p:nvSpPr>
        <p:spPr>
          <a:xfrm>
            <a:off x="11391503" y="6573620"/>
            <a:ext cx="457168" cy="184666"/>
          </a:xfrm>
        </p:spPr>
        <p:txBody>
          <a:bodyPr/>
          <a:lstStyle/>
          <a:p>
            <a:pPr marL="38098" marR="0" lvl="0" indent="0" algn="ctr" defTabSz="914358" rtl="0" eaLnBrk="1" fontAlgn="auto" latinLnBrk="0" hangingPunct="1">
              <a:lnSpc>
                <a:spcPct val="100000"/>
              </a:lnSpc>
              <a:spcBef>
                <a:spcPts val="180"/>
              </a:spcBef>
              <a:spcAft>
                <a:spcPts val="0"/>
              </a:spcAft>
              <a:buClrTx/>
              <a:buSzTx/>
              <a:buFontTx/>
              <a:buNone/>
              <a:tabLst/>
              <a:defRPr/>
            </a:pPr>
            <a:fld id="{81D60167-4931-47E6-BA6A-407CBD079E47}" type="slidenum">
              <a:rPr kumimoji="0" lang="en-US" sz="1200" b="1" i="0" u="none" strike="noStrike" kern="0" cap="none" spc="-50" normalizeH="0" baseline="0" noProof="0">
                <a:ln>
                  <a:noFill/>
                </a:ln>
                <a:solidFill>
                  <a:srgbClr val="182857"/>
                </a:solidFill>
                <a:effectLst/>
                <a:uLnTx/>
                <a:uFillTx/>
                <a:latin typeface="Open Sans"/>
                <a:ea typeface="+mn-ea"/>
                <a:cs typeface="Open Sans"/>
              </a:rPr>
              <a:pPr marL="38098" marR="0" lvl="0" indent="0" algn="ctr" defTabSz="914358" rtl="0" eaLnBrk="1" fontAlgn="auto" latinLnBrk="0" hangingPunct="1">
                <a:lnSpc>
                  <a:spcPct val="100000"/>
                </a:lnSpc>
                <a:spcBef>
                  <a:spcPts val="180"/>
                </a:spcBef>
                <a:spcAft>
                  <a:spcPts val="0"/>
                </a:spcAft>
                <a:buClrTx/>
                <a:buSzTx/>
                <a:buFontTx/>
                <a:buNone/>
                <a:tabLst/>
                <a:defRPr/>
              </a:pPr>
              <a:t>35</a:t>
            </a:fld>
            <a:endParaRPr kumimoji="0" lang="en-US" sz="1200" b="1" i="0" u="none" strike="noStrike" kern="0" cap="none" spc="-50" normalizeH="0" baseline="0" noProof="0">
              <a:ln>
                <a:noFill/>
              </a:ln>
              <a:solidFill>
                <a:srgbClr val="182857"/>
              </a:solidFill>
              <a:effectLst/>
              <a:uLnTx/>
              <a:uFillTx/>
              <a:latin typeface="Open Sans"/>
              <a:ea typeface="+mn-ea"/>
              <a:cs typeface="Open Sans"/>
            </a:endParaRPr>
          </a:p>
        </p:txBody>
      </p:sp>
      <p:pic>
        <p:nvPicPr>
          <p:cNvPr id="21" name="Picture 20">
            <a:extLst>
              <a:ext uri="{FF2B5EF4-FFF2-40B4-BE49-F238E27FC236}">
                <a16:creationId xmlns:a16="http://schemas.microsoft.com/office/drawing/2014/main" id="{C31BBF4E-32FB-A255-8108-C930D10F5EB4}"/>
              </a:ext>
            </a:extLst>
          </p:cNvPr>
          <p:cNvPicPr>
            <a:picLocks noChangeAspect="1"/>
          </p:cNvPicPr>
          <p:nvPr/>
        </p:nvPicPr>
        <p:blipFill>
          <a:blip r:embed="rId3"/>
          <a:stretch>
            <a:fillRect/>
          </a:stretch>
        </p:blipFill>
        <p:spPr>
          <a:xfrm>
            <a:off x="5086422" y="1619737"/>
            <a:ext cx="3867321" cy="2036789"/>
          </a:xfrm>
          <a:prstGeom prst="rect">
            <a:avLst/>
          </a:prstGeom>
        </p:spPr>
      </p:pic>
      <p:pic>
        <p:nvPicPr>
          <p:cNvPr id="22" name="Picture 21">
            <a:extLst>
              <a:ext uri="{FF2B5EF4-FFF2-40B4-BE49-F238E27FC236}">
                <a16:creationId xmlns:a16="http://schemas.microsoft.com/office/drawing/2014/main" id="{A1D45151-9539-BACC-2644-95EB2F47CFCC}"/>
              </a:ext>
            </a:extLst>
          </p:cNvPr>
          <p:cNvPicPr>
            <a:picLocks noChangeAspect="1"/>
          </p:cNvPicPr>
          <p:nvPr/>
        </p:nvPicPr>
        <p:blipFill>
          <a:blip r:embed="rId4"/>
          <a:stretch>
            <a:fillRect/>
          </a:stretch>
        </p:blipFill>
        <p:spPr>
          <a:xfrm>
            <a:off x="3941608" y="3995312"/>
            <a:ext cx="4308463" cy="1661938"/>
          </a:xfrm>
          <a:prstGeom prst="rect">
            <a:avLst/>
          </a:prstGeom>
        </p:spPr>
      </p:pic>
      <p:pic>
        <p:nvPicPr>
          <p:cNvPr id="25" name="Picture 24">
            <a:extLst>
              <a:ext uri="{FF2B5EF4-FFF2-40B4-BE49-F238E27FC236}">
                <a16:creationId xmlns:a16="http://schemas.microsoft.com/office/drawing/2014/main" id="{34F07A5F-8515-C72A-5E7A-5EE0C34B5219}"/>
              </a:ext>
            </a:extLst>
          </p:cNvPr>
          <p:cNvPicPr>
            <a:picLocks noChangeAspect="1"/>
          </p:cNvPicPr>
          <p:nvPr/>
        </p:nvPicPr>
        <p:blipFill>
          <a:blip r:embed="rId5"/>
          <a:stretch>
            <a:fillRect/>
          </a:stretch>
        </p:blipFill>
        <p:spPr>
          <a:xfrm>
            <a:off x="564892" y="4512264"/>
            <a:ext cx="2144067" cy="1458928"/>
          </a:xfrm>
          <a:prstGeom prst="rect">
            <a:avLst/>
          </a:prstGeom>
        </p:spPr>
      </p:pic>
      <p:sp>
        <p:nvSpPr>
          <p:cNvPr id="31" name="Content Placeholder 3">
            <a:extLst>
              <a:ext uri="{FF2B5EF4-FFF2-40B4-BE49-F238E27FC236}">
                <a16:creationId xmlns:a16="http://schemas.microsoft.com/office/drawing/2014/main" id="{35D00FD8-F001-725F-9644-C0717247D73C}"/>
              </a:ext>
            </a:extLst>
          </p:cNvPr>
          <p:cNvSpPr txBox="1">
            <a:spLocks/>
          </p:cNvSpPr>
          <p:nvPr/>
        </p:nvSpPr>
        <p:spPr>
          <a:xfrm>
            <a:off x="9224435" y="1902339"/>
            <a:ext cx="2725052" cy="3231648"/>
          </a:xfrm>
          <a:prstGeom prst="rect">
            <a:avLst/>
          </a:prstGeom>
        </p:spPr>
        <p:txBody>
          <a:bodyPr wrap="square" lIns="91434" tIns="45717" rIns="91434" bIns="45717" anchor="t">
            <a:spAutoFit/>
          </a:bodyPr>
          <a:lstStyle>
            <a:lvl1pPr algn="l" defTabSz="609585" rtl="0" eaLnBrk="1" fontAlgn="base" hangingPunct="1">
              <a:spcBef>
                <a:spcPct val="20000"/>
              </a:spcBef>
              <a:spcAft>
                <a:spcPct val="0"/>
              </a:spcAft>
              <a:buFont typeface="Arial" panose="020B0604020202020204" pitchFamily="34" charset="0"/>
              <a:defRPr sz="2133" kern="1200">
                <a:solidFill>
                  <a:srgbClr val="454E60"/>
                </a:solidFill>
                <a:latin typeface="Arial" panose="020B0604020202020204" pitchFamily="34" charset="0"/>
                <a:ea typeface="Arial" panose="020B0604020202020204" pitchFamily="34" charset="0"/>
                <a:cs typeface="Arial" panose="020B0604020202020204" pitchFamily="34" charset="0"/>
              </a:defRPr>
            </a:lvl1pPr>
            <a:lvl2pPr marL="609585" algn="l" defTabSz="609585" rtl="0" eaLnBrk="1" fontAlgn="base" hangingPunct="1">
              <a:spcBef>
                <a:spcPct val="20000"/>
              </a:spcBef>
              <a:spcAft>
                <a:spcPct val="0"/>
              </a:spcAft>
              <a:buFont typeface="Arial" panose="020B0604020202020204" pitchFamily="34" charset="0"/>
              <a:defRPr sz="2133" kern="1200">
                <a:solidFill>
                  <a:srgbClr val="454E60"/>
                </a:solidFill>
                <a:latin typeface="Arial" panose="020B0604020202020204" pitchFamily="34" charset="0"/>
                <a:ea typeface="Arial" panose="020B0604020202020204" pitchFamily="34" charset="0"/>
                <a:cs typeface="Arial" panose="020B0604020202020204" pitchFamily="34" charset="0"/>
              </a:defRPr>
            </a:lvl2pPr>
            <a:lvl3pPr marL="1219170" algn="l" defTabSz="609585" rtl="0" eaLnBrk="1" fontAlgn="base" hangingPunct="1">
              <a:spcBef>
                <a:spcPct val="0"/>
              </a:spcBef>
              <a:spcAft>
                <a:spcPct val="0"/>
              </a:spcAft>
              <a:buFont typeface="Arial" panose="020B0604020202020204" pitchFamily="34" charset="0"/>
              <a:defRPr sz="2133" kern="1200">
                <a:solidFill>
                  <a:srgbClr val="454E60"/>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ct val="0"/>
              </a:spcAft>
              <a:buFont typeface="Arial" panose="020B0604020202020204" pitchFamily="34" charset="0"/>
              <a:defRPr sz="2133" kern="1200">
                <a:solidFill>
                  <a:srgbClr val="454E60"/>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ct val="0"/>
              </a:spcAft>
              <a:buFont typeface="Arial" panose="020B0604020202020204" pitchFamily="34" charset="0"/>
              <a:defRPr sz="2133" kern="1200">
                <a:solidFill>
                  <a:srgbClr val="454E60"/>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85737" marR="0" lvl="0" indent="-285737" algn="l" defTabSz="609557" rtl="0" eaLnBrk="1" fontAlgn="base" latinLnBrk="0" hangingPunct="1">
              <a:lnSpc>
                <a:spcPct val="100000"/>
              </a:lnSpc>
              <a:spcBef>
                <a:spcPts val="1200"/>
              </a:spcBef>
              <a:spcAft>
                <a:spcPct val="0"/>
              </a:spcAft>
              <a:buClrTx/>
              <a:buSzTx/>
              <a:buFont typeface="Arial" panose="020B0604020202020204" pitchFamily="34" charset="0"/>
              <a:buChar char="•"/>
              <a:tabLst/>
              <a:defRPr/>
            </a:pPr>
            <a:r>
              <a:rPr kumimoji="0" lang="en-US" sz="1940" b="0" i="0" u="none" strike="noStrike" kern="1200" cap="none" spc="0" normalizeH="0" baseline="0" noProof="0">
                <a:ln>
                  <a:noFill/>
                </a:ln>
                <a:solidFill>
                  <a:srgbClr val="000000"/>
                </a:solidFill>
                <a:effectLst/>
                <a:uLnTx/>
                <a:uFillTx/>
                <a:latin typeface="Calibri" panose="020F0502020204030204"/>
                <a:cs typeface="Arial"/>
              </a:rPr>
              <a:t>Lines connecting 2 vaccines represent novel combinations</a:t>
            </a:r>
          </a:p>
          <a:p>
            <a:pPr marL="285737" marR="0" lvl="0" indent="-285737" algn="l" defTabSz="609557" rtl="0" eaLnBrk="1" fontAlgn="base" latinLnBrk="0" hangingPunct="1">
              <a:lnSpc>
                <a:spcPct val="100000"/>
              </a:lnSpc>
              <a:spcBef>
                <a:spcPts val="1200"/>
              </a:spcBef>
              <a:spcAft>
                <a:spcPct val="0"/>
              </a:spcAft>
              <a:buClrTx/>
              <a:buSzTx/>
              <a:buFont typeface="Arial" panose="020B0604020202020204" pitchFamily="34" charset="0"/>
              <a:buChar char="•"/>
              <a:tabLst/>
              <a:defRPr/>
            </a:pPr>
            <a:r>
              <a:rPr kumimoji="0" lang="en-US" sz="1940" b="0" i="0" u="none" strike="noStrike" kern="1200" cap="none" spc="0" normalizeH="0" baseline="0" noProof="0">
                <a:ln>
                  <a:noFill/>
                </a:ln>
                <a:solidFill>
                  <a:srgbClr val="000000"/>
                </a:solidFill>
                <a:effectLst/>
                <a:uLnTx/>
                <a:uFillTx/>
                <a:latin typeface="Calibri" panose="020F0502020204030204"/>
                <a:cs typeface="Arial"/>
              </a:rPr>
              <a:t>35 combinations remain. Of them, </a:t>
            </a:r>
            <a:br>
              <a:rPr kumimoji="0" lang="en-US" sz="1940" b="0" i="0" u="none" strike="noStrike" kern="1200" cap="none" spc="0" normalizeH="0" baseline="0" noProof="0">
                <a:ln>
                  <a:noFill/>
                </a:ln>
                <a:solidFill>
                  <a:srgbClr val="454E60"/>
                </a:solidFill>
                <a:effectLst/>
                <a:uLnTx/>
                <a:uFillTx/>
                <a:latin typeface="Calibri" panose="020F0502020204030204"/>
                <a:cs typeface="Arial"/>
              </a:rPr>
            </a:br>
            <a:r>
              <a:rPr kumimoji="0" lang="en-US" sz="1940" b="0" i="0" u="none" strike="noStrike" kern="1200" cap="none" spc="0" normalizeH="0" baseline="0" noProof="0">
                <a:ln>
                  <a:noFill/>
                </a:ln>
                <a:solidFill>
                  <a:srgbClr val="000000"/>
                </a:solidFill>
                <a:effectLst/>
                <a:uLnTx/>
                <a:uFillTx/>
                <a:latin typeface="Calibri" panose="020F0502020204030204"/>
                <a:cs typeface="Arial"/>
              </a:rPr>
              <a:t>31% (11/35) are of </a:t>
            </a:r>
            <a:br>
              <a:rPr kumimoji="0" lang="en-US" sz="1940" b="0" i="0" u="none" strike="noStrike" kern="1200" cap="none" spc="0" normalizeH="0" baseline="0" noProof="0">
                <a:ln>
                  <a:noFill/>
                </a:ln>
                <a:solidFill>
                  <a:srgbClr val="000000"/>
                </a:solidFill>
                <a:effectLst/>
                <a:uLnTx/>
                <a:uFillTx/>
                <a:latin typeface="Calibri" panose="020F0502020204030204"/>
                <a:cs typeface="Arial"/>
              </a:rPr>
            </a:br>
            <a:r>
              <a:rPr kumimoji="0" lang="en-US" sz="1940" b="0" i="0" u="none" strike="noStrike" kern="1200" cap="none" spc="0" normalizeH="0" baseline="0" noProof="0">
                <a:ln>
                  <a:noFill/>
                </a:ln>
                <a:solidFill>
                  <a:srgbClr val="000000"/>
                </a:solidFill>
                <a:effectLst/>
                <a:uLnTx/>
                <a:uFillTx/>
                <a:latin typeface="Calibri" panose="020F0502020204030204"/>
                <a:cs typeface="Arial"/>
              </a:rPr>
              <a:t>2 licensed vaccines, and 69% (24/35) are regional rather than global.</a:t>
            </a:r>
          </a:p>
        </p:txBody>
      </p:sp>
      <p:pic>
        <p:nvPicPr>
          <p:cNvPr id="3" name="Picture 2">
            <a:extLst>
              <a:ext uri="{FF2B5EF4-FFF2-40B4-BE49-F238E27FC236}">
                <a16:creationId xmlns:a16="http://schemas.microsoft.com/office/drawing/2014/main" id="{E8E520A6-564A-FBD8-68FF-06C88C537856}"/>
              </a:ext>
            </a:extLst>
          </p:cNvPr>
          <p:cNvPicPr>
            <a:picLocks noChangeAspect="1"/>
          </p:cNvPicPr>
          <p:nvPr/>
        </p:nvPicPr>
        <p:blipFill>
          <a:blip r:embed="rId6"/>
          <a:stretch>
            <a:fillRect/>
          </a:stretch>
        </p:blipFill>
        <p:spPr>
          <a:xfrm>
            <a:off x="559327" y="1616273"/>
            <a:ext cx="3954925" cy="2389117"/>
          </a:xfrm>
          <a:prstGeom prst="rect">
            <a:avLst/>
          </a:prstGeom>
        </p:spPr>
      </p:pic>
      <p:pic>
        <p:nvPicPr>
          <p:cNvPr id="5" name="Graphic 4" descr="Needle outline">
            <a:extLst>
              <a:ext uri="{FF2B5EF4-FFF2-40B4-BE49-F238E27FC236}">
                <a16:creationId xmlns:a16="http://schemas.microsoft.com/office/drawing/2014/main" id="{B3C745E0-DC02-847B-95D6-749942215E9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14257" y="483314"/>
            <a:ext cx="554493" cy="554493"/>
          </a:xfrm>
          <a:prstGeom prst="rect">
            <a:avLst/>
          </a:prstGeom>
        </p:spPr>
      </p:pic>
    </p:spTree>
    <p:extLst>
      <p:ext uri="{BB962C8B-B14F-4D97-AF65-F5344CB8AC3E}">
        <p14:creationId xmlns:p14="http://schemas.microsoft.com/office/powerpoint/2010/main" val="3039418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8454C-89D9-7E0D-985B-69E1F9ECF421}"/>
            </a:ext>
          </a:extLst>
        </p:cNvPr>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FBBA94D4-4D22-18C5-B57C-811CB11E0283}"/>
              </a:ext>
            </a:extLst>
          </p:cNvPr>
          <p:cNvSpPr>
            <a:spLocks noGrp="1"/>
          </p:cNvSpPr>
          <p:nvPr>
            <p:ph type="sldNum" sz="quarter" idx="12"/>
          </p:nvPr>
        </p:nvSpPr>
        <p:spPr>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36</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2CB590EE-EA96-59F0-B281-B22F68CF38A6}"/>
              </a:ext>
            </a:extLst>
          </p:cNvPr>
          <p:cNvSpPr>
            <a:spLocks noGrp="1"/>
          </p:cNvSpPr>
          <p:nvPr>
            <p:ph type="title"/>
          </p:nvPr>
        </p:nvSpPr>
        <p:spPr>
          <a:xfrm>
            <a:off x="487683" y="662088"/>
            <a:ext cx="10883492" cy="339067"/>
          </a:xfrm>
        </p:spPr>
        <p:txBody>
          <a:bodyPr/>
          <a:lstStyle/>
          <a:p>
            <a:r>
              <a:rPr lang="fr-CH" sz="2426">
                <a:latin typeface="Poppins SemiBold"/>
                <a:ea typeface="Roboto"/>
                <a:cs typeface="Poppins SemiBold"/>
              </a:rPr>
              <a:t>COMBINATION VACCINES - CONCLUSIONS</a:t>
            </a:r>
            <a:endParaRPr lang="en-US" sz="2426">
              <a:latin typeface="Poppins SemiBold"/>
              <a:ea typeface="Roboto"/>
              <a:cs typeface="Poppins SemiBold"/>
            </a:endParaRPr>
          </a:p>
        </p:txBody>
      </p:sp>
      <p:sp>
        <p:nvSpPr>
          <p:cNvPr id="7" name="Rectangle: Rounded Corners 6">
            <a:extLst>
              <a:ext uri="{FF2B5EF4-FFF2-40B4-BE49-F238E27FC236}">
                <a16:creationId xmlns:a16="http://schemas.microsoft.com/office/drawing/2014/main" id="{F665A107-9EBF-8F0D-5DEA-62FD84ED5D1A}"/>
              </a:ext>
            </a:extLst>
          </p:cNvPr>
          <p:cNvSpPr/>
          <p:nvPr/>
        </p:nvSpPr>
        <p:spPr>
          <a:xfrm>
            <a:off x="469278" y="1551067"/>
            <a:ext cx="10892403" cy="998861"/>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34" tIns="45717" rIns="91434" bIns="45717" rtlCol="0" anchor="ctr"/>
          <a:lstStyle/>
          <a:p>
            <a:pPr marL="1198189" marR="0" lvl="0" indent="0" algn="l" defTabSz="277233" rtl="0" eaLnBrk="1" fontAlgn="auto" latinLnBrk="0" hangingPunct="1">
              <a:lnSpc>
                <a:spcPct val="100000"/>
              </a:lnSpc>
              <a:spcBef>
                <a:spcPts val="0"/>
              </a:spcBef>
              <a:spcAft>
                <a:spcPts val="0"/>
              </a:spcAft>
              <a:buClrTx/>
              <a:buSzTx/>
              <a:buFontTx/>
              <a:buNone/>
              <a:tabLst/>
              <a:defRPr/>
            </a:pPr>
            <a:r>
              <a:rPr kumimoji="0" lang="en-US" sz="1698" b="0" i="0" u="none" strike="noStrike" kern="1200" cap="none" spc="0" normalizeH="0" baseline="0" noProof="0">
                <a:ln>
                  <a:noFill/>
                </a:ln>
                <a:solidFill>
                  <a:srgbClr val="000000"/>
                </a:solidFill>
                <a:effectLst/>
                <a:uLnTx/>
                <a:uFillTx/>
                <a:latin typeface="Poppins"/>
                <a:ea typeface="+mn-ea"/>
                <a:cs typeface="Poppins"/>
              </a:rPr>
              <a:t>Combination vaccines could help countries to ease delivery of existing vaccines and introduce new ones by reducing the number of injections to be administered at a single visit, thereby improving acceptance and uptake, and reducing health worker workload. </a:t>
            </a:r>
          </a:p>
        </p:txBody>
      </p:sp>
      <p:sp>
        <p:nvSpPr>
          <p:cNvPr id="14" name="Rectangle: Rounded Corners 13">
            <a:extLst>
              <a:ext uri="{FF2B5EF4-FFF2-40B4-BE49-F238E27FC236}">
                <a16:creationId xmlns:a16="http://schemas.microsoft.com/office/drawing/2014/main" id="{A9F2FD0E-C2BF-BF16-B512-F1E7F86C31C3}"/>
              </a:ext>
            </a:extLst>
          </p:cNvPr>
          <p:cNvSpPr/>
          <p:nvPr/>
        </p:nvSpPr>
        <p:spPr>
          <a:xfrm>
            <a:off x="459784" y="2926198"/>
            <a:ext cx="10883492" cy="1224359"/>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98" b="0" i="0" u="none" strike="noStrike" kern="1200" cap="none" spc="0" normalizeH="0" baseline="0" noProof="0">
                <a:ln>
                  <a:noFill/>
                </a:ln>
                <a:solidFill>
                  <a:srgbClr val="000000"/>
                </a:solidFill>
                <a:effectLst/>
                <a:uLnTx/>
                <a:uFillTx/>
                <a:latin typeface="Poppins"/>
                <a:ea typeface="Source Sans Pro"/>
                <a:cs typeface="Poppins"/>
              </a:rPr>
              <a:t>SAGE supported the development of a framework to identify, analyze and prioritize novel combination vaccines, along with a rigorous process aimed at optimizing public health impact. </a:t>
            </a:r>
          </a:p>
        </p:txBody>
      </p:sp>
      <p:sp>
        <p:nvSpPr>
          <p:cNvPr id="15" name="Rectangle: Rounded Corners 14">
            <a:extLst>
              <a:ext uri="{FF2B5EF4-FFF2-40B4-BE49-F238E27FC236}">
                <a16:creationId xmlns:a16="http://schemas.microsoft.com/office/drawing/2014/main" id="{59DD8ADF-121A-A6E9-EE8F-4F9B7D6998B7}"/>
              </a:ext>
            </a:extLst>
          </p:cNvPr>
          <p:cNvSpPr/>
          <p:nvPr/>
        </p:nvSpPr>
        <p:spPr>
          <a:xfrm>
            <a:off x="459784" y="4595047"/>
            <a:ext cx="10911391" cy="998861"/>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98" b="0" i="0" u="none" strike="noStrike" kern="1200" cap="none" spc="0" normalizeH="0" baseline="0" noProof="0">
                <a:ln>
                  <a:noFill/>
                </a:ln>
                <a:solidFill>
                  <a:srgbClr val="000000"/>
                </a:solidFill>
                <a:effectLst/>
                <a:uLnTx/>
                <a:uFillTx/>
                <a:latin typeface="Poppins"/>
                <a:ea typeface="Source Sans Pro"/>
                <a:cs typeface="Poppins"/>
              </a:rPr>
              <a:t>SAGE highlighted the importance of engaging with national and regional immunization technical advisory groups to identify regional priorities for combination vaccines. </a:t>
            </a:r>
          </a:p>
        </p:txBody>
      </p:sp>
      <p:pic>
        <p:nvPicPr>
          <p:cNvPr id="5" name="Graphic 4" descr="Needle outline">
            <a:extLst>
              <a:ext uri="{FF2B5EF4-FFF2-40B4-BE49-F238E27FC236}">
                <a16:creationId xmlns:a16="http://schemas.microsoft.com/office/drawing/2014/main" id="{6E53D8C1-00B4-5ABE-AE6E-295A2A52EF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2012" y="1765522"/>
            <a:ext cx="554493" cy="554493"/>
          </a:xfrm>
          <a:prstGeom prst="rect">
            <a:avLst/>
          </a:prstGeom>
        </p:spPr>
      </p:pic>
      <p:pic>
        <p:nvPicPr>
          <p:cNvPr id="8" name="Graphic 7" descr="Connected outline">
            <a:extLst>
              <a:ext uri="{FF2B5EF4-FFF2-40B4-BE49-F238E27FC236}">
                <a16:creationId xmlns:a16="http://schemas.microsoft.com/office/drawing/2014/main" id="{937B3DDE-BEA4-FD9D-97C2-E469C8026E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8322" y="3265913"/>
            <a:ext cx="554493" cy="554493"/>
          </a:xfrm>
          <a:prstGeom prst="rect">
            <a:avLst/>
          </a:prstGeom>
        </p:spPr>
      </p:pic>
      <p:pic>
        <p:nvPicPr>
          <p:cNvPr id="10" name="Graphic 9" descr="Users outline">
            <a:extLst>
              <a:ext uri="{FF2B5EF4-FFF2-40B4-BE49-F238E27FC236}">
                <a16:creationId xmlns:a16="http://schemas.microsoft.com/office/drawing/2014/main" id="{75CBA0DB-5F61-E9E0-D42E-A2F3CF0B14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3554" y="4815235"/>
            <a:ext cx="554493" cy="554493"/>
          </a:xfrm>
          <a:prstGeom prst="rect">
            <a:avLst/>
          </a:prstGeom>
        </p:spPr>
      </p:pic>
      <p:pic>
        <p:nvPicPr>
          <p:cNvPr id="6" name="Graphic 5" descr="Needle outline">
            <a:extLst>
              <a:ext uri="{FF2B5EF4-FFF2-40B4-BE49-F238E27FC236}">
                <a16:creationId xmlns:a16="http://schemas.microsoft.com/office/drawing/2014/main" id="{F682F8E1-1B7E-F4D4-95EA-44A5B05EA4C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14257" y="483314"/>
            <a:ext cx="554493" cy="554493"/>
          </a:xfrm>
          <a:prstGeom prst="rect">
            <a:avLst/>
          </a:prstGeom>
        </p:spPr>
      </p:pic>
    </p:spTree>
    <p:extLst>
      <p:ext uri="{BB962C8B-B14F-4D97-AF65-F5344CB8AC3E}">
        <p14:creationId xmlns:p14="http://schemas.microsoft.com/office/powerpoint/2010/main" val="2386533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oter Placeholder 1">
            <a:extLst>
              <a:ext uri="{FF2B5EF4-FFF2-40B4-BE49-F238E27FC236}">
                <a16:creationId xmlns:a16="http://schemas.microsoft.com/office/drawing/2014/main" id="{F1266A52-6900-161A-89CD-9BE1400C1D08}"/>
              </a:ext>
            </a:extLst>
          </p:cNvPr>
          <p:cNvSpPr>
            <a:spLocks noGrp="1"/>
          </p:cNvSpPr>
          <p:nvPr>
            <p:ph type="ftr" sz="quarter" idx="4294967295"/>
          </p:nvPr>
        </p:nvSpPr>
        <p:spPr>
          <a:xfrm>
            <a:off x="578025" y="6482886"/>
            <a:ext cx="7575183" cy="111982"/>
          </a:xfrm>
          <a:prstGeom prst="rect">
            <a:avLst/>
          </a:prstGeom>
        </p:spPr>
        <p:txBody>
          <a:bodyPr/>
          <a:lstStyle/>
          <a:p>
            <a:pPr marL="0" marR="0" lvl="0" indent="0" algn="l" defTabSz="554492" rtl="0" eaLnBrk="1" fontAlgn="auto" latinLnBrk="0" hangingPunct="1">
              <a:lnSpc>
                <a:spcPct val="100000"/>
              </a:lnSpc>
              <a:spcBef>
                <a:spcPts val="0"/>
              </a:spcBef>
              <a:spcAft>
                <a:spcPts val="364"/>
              </a:spcAft>
              <a:buClrTx/>
              <a:buSzTx/>
              <a:buFontTx/>
              <a:buNone/>
              <a:tabLst/>
              <a:defRPr/>
            </a:pPr>
            <a:r>
              <a:rPr kumimoji="0" lang="en-GB" sz="1092" b="0" i="0" u="none" strike="noStrike" kern="1200" cap="none" spc="0" normalizeH="0" baseline="0" noProof="0">
                <a:ln>
                  <a:noFill/>
                </a:ln>
                <a:solidFill>
                  <a:srgbClr val="000000"/>
                </a:solidFill>
                <a:effectLst/>
                <a:uLnTx/>
                <a:uFillTx/>
                <a:latin typeface="Poppins"/>
                <a:ea typeface="+mn-ea"/>
                <a:cs typeface="+mn-cs"/>
              </a:rPr>
              <a:t>Immunization, Vaccines and Biologicals</a:t>
            </a:r>
          </a:p>
        </p:txBody>
      </p:sp>
      <p:sp>
        <p:nvSpPr>
          <p:cNvPr id="5" name="Title 4">
            <a:extLst>
              <a:ext uri="{FF2B5EF4-FFF2-40B4-BE49-F238E27FC236}">
                <a16:creationId xmlns:a16="http://schemas.microsoft.com/office/drawing/2014/main" id="{64C83FF4-B801-9B76-2868-41BE90236769}"/>
              </a:ext>
            </a:extLst>
          </p:cNvPr>
          <p:cNvSpPr>
            <a:spLocks noGrp="1"/>
          </p:cNvSpPr>
          <p:nvPr>
            <p:ph type="body" sz="quarter" idx="13"/>
          </p:nvPr>
        </p:nvSpPr>
        <p:spPr>
          <a:xfrm>
            <a:off x="1498330" y="2863649"/>
            <a:ext cx="9195342" cy="1130703"/>
          </a:xfrm>
        </p:spPr>
        <p:txBody>
          <a:bodyPr wrap="square" anchor="ctr">
            <a:normAutofit/>
          </a:bodyPr>
          <a:lstStyle/>
          <a:p>
            <a:r>
              <a:rPr lang="en-GB"/>
              <a:t>POLIOMYELITIS</a:t>
            </a:r>
          </a:p>
        </p:txBody>
      </p:sp>
      <p:sp>
        <p:nvSpPr>
          <p:cNvPr id="2" name="Slide Number Placeholder 5">
            <a:extLst>
              <a:ext uri="{FF2B5EF4-FFF2-40B4-BE49-F238E27FC236}">
                <a16:creationId xmlns:a16="http://schemas.microsoft.com/office/drawing/2014/main" id="{64EDCC5D-FFE7-9139-59BE-D6F39FD02695}"/>
              </a:ext>
            </a:extLst>
          </p:cNvPr>
          <p:cNvSpPr txBox="1">
            <a:spLocks/>
          </p:cNvSpPr>
          <p:nvPr/>
        </p:nvSpPr>
        <p:spPr>
          <a:xfrm>
            <a:off x="10693671" y="6482886"/>
            <a:ext cx="897133" cy="112018"/>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37</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pic>
        <p:nvPicPr>
          <p:cNvPr id="3" name="Graphic 2">
            <a:extLst>
              <a:ext uri="{FF2B5EF4-FFF2-40B4-BE49-F238E27FC236}">
                <a16:creationId xmlns:a16="http://schemas.microsoft.com/office/drawing/2014/main" id="{EA87374B-C3A2-BA69-E846-48F79FACD0D7}"/>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5037" t="982"/>
          <a:stretch/>
        </p:blipFill>
        <p:spPr>
          <a:xfrm>
            <a:off x="10693671" y="198700"/>
            <a:ext cx="1109989" cy="1323354"/>
          </a:xfrm>
          <a:prstGeom prst="rect">
            <a:avLst/>
          </a:prstGeom>
        </p:spPr>
      </p:pic>
    </p:spTree>
    <p:extLst>
      <p:ext uri="{BB962C8B-B14F-4D97-AF65-F5344CB8AC3E}">
        <p14:creationId xmlns:p14="http://schemas.microsoft.com/office/powerpoint/2010/main" val="30251191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5322A7-0AE8-1CF7-A07A-7869C270DF6D}"/>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914358" rtl="0" eaLnBrk="1" fontAlgn="auto" latinLnBrk="0" hangingPunct="1">
                <a:lnSpc>
                  <a:spcPct val="100000"/>
                </a:lnSpc>
                <a:spcBef>
                  <a:spcPts val="0"/>
                </a:spcBef>
                <a:spcAft>
                  <a:spcPts val="0"/>
                </a:spcAft>
                <a:buClrTx/>
                <a:buSzTx/>
                <a:buFontTx/>
                <a:buNone/>
                <a:tabLst/>
                <a:defRPr/>
              </a:pPr>
              <a:t>38</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3BE5C4E5-5D21-D800-77BC-A7279E661FDF}"/>
              </a:ext>
            </a:extLst>
          </p:cNvPr>
          <p:cNvSpPr>
            <a:spLocks noGrp="1"/>
          </p:cNvSpPr>
          <p:nvPr>
            <p:ph type="title"/>
          </p:nvPr>
        </p:nvSpPr>
        <p:spPr>
          <a:xfrm>
            <a:off x="578027" y="537402"/>
            <a:ext cx="7246251" cy="414252"/>
          </a:xfrm>
        </p:spPr>
        <p:txBody>
          <a:bodyPr/>
          <a:lstStyle/>
          <a:p>
            <a:r>
              <a:rPr lang="en-GB" dirty="0"/>
              <a:t>Poliomyelitis - agenda</a:t>
            </a:r>
          </a:p>
        </p:txBody>
      </p:sp>
      <p:sp>
        <p:nvSpPr>
          <p:cNvPr id="13" name="Text Placeholder 12">
            <a:extLst>
              <a:ext uri="{FF2B5EF4-FFF2-40B4-BE49-F238E27FC236}">
                <a16:creationId xmlns:a16="http://schemas.microsoft.com/office/drawing/2014/main" id="{64E1ACFB-1384-65DC-FCFD-963304A96E89}"/>
              </a:ext>
            </a:extLst>
          </p:cNvPr>
          <p:cNvSpPr>
            <a:spLocks noGrp="1"/>
          </p:cNvSpPr>
          <p:nvPr>
            <p:ph type="body" sz="quarter" idx="13"/>
          </p:nvPr>
        </p:nvSpPr>
        <p:spPr>
          <a:xfrm>
            <a:off x="601198" y="1707051"/>
            <a:ext cx="3456312" cy="3132011"/>
          </a:xfrm>
        </p:spPr>
        <p:txBody>
          <a:bodyPr/>
          <a:lstStyle/>
          <a:p>
            <a:r>
              <a:rPr lang="en-GB" sz="1940" b="1" u="sng" dirty="0">
                <a:solidFill>
                  <a:schemeClr val="accent1"/>
                </a:solidFill>
              </a:rPr>
              <a:t>Update</a:t>
            </a:r>
            <a:r>
              <a:rPr lang="en-GB" sz="1940" dirty="0"/>
              <a:t> on the </a:t>
            </a:r>
            <a:r>
              <a:rPr lang="en-GB" sz="1940" b="1" dirty="0"/>
              <a:t>status</a:t>
            </a:r>
            <a:r>
              <a:rPr lang="en-GB" sz="1940" dirty="0"/>
              <a:t> of polio </a:t>
            </a:r>
            <a:r>
              <a:rPr lang="en-GB" sz="1940" b="1" dirty="0"/>
              <a:t>eradication</a:t>
            </a:r>
          </a:p>
          <a:p>
            <a:pPr lvl="1"/>
            <a:r>
              <a:rPr lang="en-GB" sz="1819" b="1" dirty="0"/>
              <a:t>Goal 1: </a:t>
            </a:r>
            <a:r>
              <a:rPr lang="en-GB" sz="1819" dirty="0"/>
              <a:t>eradication of WPV1</a:t>
            </a:r>
          </a:p>
          <a:p>
            <a:pPr lvl="1"/>
            <a:r>
              <a:rPr lang="en-GB" sz="1819" b="1" dirty="0"/>
              <a:t>Goal 2: </a:t>
            </a:r>
            <a:r>
              <a:rPr lang="en-GB" sz="1819" dirty="0"/>
              <a:t>elimination of cVDPV2</a:t>
            </a:r>
          </a:p>
          <a:p>
            <a:pPr marL="305612" lvl="1" indent="0">
              <a:buNone/>
            </a:pPr>
            <a:endParaRPr lang="en-GB" sz="1819" b="1" dirty="0"/>
          </a:p>
          <a:p>
            <a:endParaRPr lang="en-GB" sz="1940" b="1" dirty="0"/>
          </a:p>
        </p:txBody>
      </p:sp>
      <p:sp>
        <p:nvSpPr>
          <p:cNvPr id="17" name="Text Placeholder 16">
            <a:extLst>
              <a:ext uri="{FF2B5EF4-FFF2-40B4-BE49-F238E27FC236}">
                <a16:creationId xmlns:a16="http://schemas.microsoft.com/office/drawing/2014/main" id="{4B886797-EF5C-50F8-E003-8BD97098880D}"/>
              </a:ext>
            </a:extLst>
          </p:cNvPr>
          <p:cNvSpPr>
            <a:spLocks noGrp="1"/>
          </p:cNvSpPr>
          <p:nvPr>
            <p:ph type="body" sz="quarter" idx="19"/>
          </p:nvPr>
        </p:nvSpPr>
        <p:spPr>
          <a:xfrm>
            <a:off x="4367966" y="1707051"/>
            <a:ext cx="3456312" cy="4517327"/>
          </a:xfrm>
        </p:spPr>
        <p:txBody>
          <a:bodyPr/>
          <a:lstStyle/>
          <a:p>
            <a:pPr marL="305612" lvl="1" indent="0">
              <a:buNone/>
            </a:pPr>
            <a:r>
              <a:rPr lang="en-GB" sz="1819" b="1" dirty="0">
                <a:solidFill>
                  <a:schemeClr val="accent1"/>
                </a:solidFill>
              </a:rPr>
              <a:t>4 items for recommendation:</a:t>
            </a:r>
            <a:endParaRPr lang="en-GB" sz="1940" b="1" dirty="0">
              <a:solidFill>
                <a:schemeClr val="accent1"/>
              </a:solidFill>
            </a:endParaRPr>
          </a:p>
          <a:p>
            <a:r>
              <a:rPr lang="en-GB" sz="1940" b="1" dirty="0"/>
              <a:t>1-</a:t>
            </a:r>
            <a:r>
              <a:rPr lang="en-GB" sz="1940" dirty="0"/>
              <a:t>Update on </a:t>
            </a:r>
            <a:r>
              <a:rPr lang="en-GB" sz="1940" b="1" dirty="0"/>
              <a:t>bOPV Cessation Planning </a:t>
            </a:r>
            <a:r>
              <a:rPr lang="en-GB" sz="1940" dirty="0"/>
              <a:t>and resource mobilization</a:t>
            </a:r>
            <a:endParaRPr lang="en-GB" sz="1940" b="1" dirty="0"/>
          </a:p>
          <a:p>
            <a:endParaRPr lang="en-GB" sz="1940" b="1" dirty="0"/>
          </a:p>
          <a:p>
            <a:r>
              <a:rPr lang="en-GB" sz="1940" b="1" dirty="0"/>
              <a:t>2-bOPV </a:t>
            </a:r>
            <a:r>
              <a:rPr lang="en-GB" sz="1940" dirty="0"/>
              <a:t>in RI with wP-Hexavalent vaccine introduction</a:t>
            </a:r>
          </a:p>
          <a:p>
            <a:pPr marL="0" indent="0">
              <a:buNone/>
            </a:pPr>
            <a:endParaRPr lang="en-GB" sz="1940" b="1" dirty="0"/>
          </a:p>
          <a:p>
            <a:endParaRPr lang="en-GB" sz="1940" b="1" dirty="0"/>
          </a:p>
        </p:txBody>
      </p:sp>
      <p:sp>
        <p:nvSpPr>
          <p:cNvPr id="18" name="Text Placeholder 17">
            <a:extLst>
              <a:ext uri="{FF2B5EF4-FFF2-40B4-BE49-F238E27FC236}">
                <a16:creationId xmlns:a16="http://schemas.microsoft.com/office/drawing/2014/main" id="{B7BA584E-7175-F11F-9AB5-0CD719322BCF}"/>
              </a:ext>
            </a:extLst>
          </p:cNvPr>
          <p:cNvSpPr>
            <a:spLocks noGrp="1"/>
          </p:cNvSpPr>
          <p:nvPr>
            <p:ph type="body" sz="quarter" idx="20"/>
          </p:nvPr>
        </p:nvSpPr>
        <p:spPr>
          <a:xfrm>
            <a:off x="8031727" y="1996661"/>
            <a:ext cx="3456312" cy="3102516"/>
          </a:xfrm>
        </p:spPr>
        <p:txBody>
          <a:bodyPr/>
          <a:lstStyle/>
          <a:p>
            <a:r>
              <a:rPr lang="en-GB" sz="1940" b="1" dirty="0"/>
              <a:t>3-Immunogenicity</a:t>
            </a:r>
            <a:r>
              <a:rPr lang="en-GB" sz="1940" dirty="0"/>
              <a:t> of the </a:t>
            </a:r>
            <a:r>
              <a:rPr lang="en-GB" sz="1940" b="1" dirty="0"/>
              <a:t>fractional Sabin IPV </a:t>
            </a:r>
            <a:r>
              <a:rPr lang="en-GB" sz="1940" dirty="0"/>
              <a:t>and the programmatic implications</a:t>
            </a:r>
          </a:p>
          <a:p>
            <a:endParaRPr lang="en-GB" sz="1940" b="1" dirty="0"/>
          </a:p>
          <a:p>
            <a:r>
              <a:rPr lang="en-GB" sz="1940" b="1" dirty="0"/>
              <a:t>4-nOPV2 expanded use </a:t>
            </a:r>
            <a:r>
              <a:rPr lang="en-GB" sz="1940" dirty="0"/>
              <a:t>in areas with persistent transmission</a:t>
            </a:r>
          </a:p>
        </p:txBody>
      </p:sp>
    </p:spTree>
    <p:extLst>
      <p:ext uri="{BB962C8B-B14F-4D97-AF65-F5344CB8AC3E}">
        <p14:creationId xmlns:p14="http://schemas.microsoft.com/office/powerpoint/2010/main" val="1327817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3A6E274-4067-CB88-211F-EBD6D75D3446}"/>
              </a:ext>
            </a:extLst>
          </p:cNvPr>
          <p:cNvSpPr>
            <a:spLocks noGrp="1"/>
          </p:cNvSpPr>
          <p:nvPr>
            <p:ph type="ftr" sz="quarter" idx="4294967295"/>
          </p:nvPr>
        </p:nvSpPr>
        <p:spPr>
          <a:xfrm>
            <a:off x="428" y="6482562"/>
            <a:ext cx="7575183" cy="112018"/>
          </a:xfrm>
        </p:spPr>
        <p: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mmunization, Vaccines and Biologicals</a:t>
            </a:r>
          </a:p>
        </p:txBody>
      </p:sp>
      <p:sp>
        <p:nvSpPr>
          <p:cNvPr id="3" name="Slide Number Placeholder 2">
            <a:extLst>
              <a:ext uri="{FF2B5EF4-FFF2-40B4-BE49-F238E27FC236}">
                <a16:creationId xmlns:a16="http://schemas.microsoft.com/office/drawing/2014/main" id="{477B3E27-3632-9F11-ECE7-71CF5D8612DA}"/>
              </a:ext>
            </a:extLst>
          </p:cNvPr>
          <p:cNvSpPr>
            <a:spLocks noGrp="1"/>
          </p:cNvSpPr>
          <p:nvPr>
            <p:ph type="sldNum" sz="quarter" idx="4294967295"/>
          </p:nvPr>
        </p:nvSpPr>
        <p:spPr>
          <a:xfrm>
            <a:off x="11294372" y="6482562"/>
            <a:ext cx="897200" cy="112018"/>
          </a:xfrm>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39</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pic>
        <p:nvPicPr>
          <p:cNvPr id="14" name="Picture 13">
            <a:extLst>
              <a:ext uri="{FF2B5EF4-FFF2-40B4-BE49-F238E27FC236}">
                <a16:creationId xmlns:a16="http://schemas.microsoft.com/office/drawing/2014/main" id="{06BE0294-4DFB-FF43-8959-2B6928CBB0E0}"/>
              </a:ext>
            </a:extLst>
          </p:cNvPr>
          <p:cNvPicPr>
            <a:picLocks noChangeAspect="1"/>
          </p:cNvPicPr>
          <p:nvPr/>
        </p:nvPicPr>
        <p:blipFill>
          <a:blip r:embed="rId2"/>
          <a:stretch>
            <a:fillRect/>
          </a:stretch>
        </p:blipFill>
        <p:spPr>
          <a:xfrm>
            <a:off x="842876" y="475751"/>
            <a:ext cx="10657254" cy="5991391"/>
          </a:xfrm>
          <a:prstGeom prst="rect">
            <a:avLst/>
          </a:prstGeom>
        </p:spPr>
      </p:pic>
      <p:pic>
        <p:nvPicPr>
          <p:cNvPr id="4" name="Graphic 3">
            <a:extLst>
              <a:ext uri="{FF2B5EF4-FFF2-40B4-BE49-F238E27FC236}">
                <a16:creationId xmlns:a16="http://schemas.microsoft.com/office/drawing/2014/main" id="{0657F294-A8FB-8DB9-98EF-238532B642B7}"/>
              </a:ext>
            </a:extLst>
          </p:cNvPr>
          <p:cNvPicPr>
            <a:picLocks noChangeAspect="1"/>
          </p:cNvPicPr>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5037" t="982"/>
          <a:stretch/>
        </p:blipFill>
        <p:spPr>
          <a:xfrm>
            <a:off x="11547698" y="198700"/>
            <a:ext cx="519347" cy="619177"/>
          </a:xfrm>
          <a:prstGeom prst="rect">
            <a:avLst/>
          </a:prstGeom>
        </p:spPr>
      </p:pic>
    </p:spTree>
    <p:extLst>
      <p:ext uri="{BB962C8B-B14F-4D97-AF65-F5344CB8AC3E}">
        <p14:creationId xmlns:p14="http://schemas.microsoft.com/office/powerpoint/2010/main" val="304215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541213B-353B-1ECB-2C29-C703887092E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mmunization, Vaccines and Biologicals</a:t>
            </a:r>
          </a:p>
        </p:txBody>
      </p:sp>
      <p:sp>
        <p:nvSpPr>
          <p:cNvPr id="3" name="Slide Number Placeholder 2">
            <a:extLst>
              <a:ext uri="{FF2B5EF4-FFF2-40B4-BE49-F238E27FC236}">
                <a16:creationId xmlns:a16="http://schemas.microsoft.com/office/drawing/2014/main" id="{B9A6BD0B-3777-8E84-6724-8C6536FA55B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20A679F4-6825-6241-CAA6-C3A9ED6D9D9D}"/>
              </a:ext>
            </a:extLst>
          </p:cNvPr>
          <p:cNvSpPr>
            <a:spLocks noGrp="1"/>
          </p:cNvSpPr>
          <p:nvPr>
            <p:ph type="title"/>
          </p:nvPr>
        </p:nvSpPr>
        <p:spPr>
          <a:xfrm>
            <a:off x="578027" y="537199"/>
            <a:ext cx="11013162" cy="1113766"/>
          </a:xfrm>
        </p:spPr>
        <p:txBody>
          <a:bodyPr/>
          <a:lstStyle/>
          <a:p>
            <a:r>
              <a:rPr lang="en-US" sz="4002" dirty="0"/>
              <a:t>Welcome to the new SAGE executive secretary </a:t>
            </a:r>
          </a:p>
        </p:txBody>
      </p:sp>
      <p:pic>
        <p:nvPicPr>
          <p:cNvPr id="6" name="Picture 5" descr="A close-up of a person smiling&#10;&#10;AI-generated content may be incorrect.">
            <a:extLst>
              <a:ext uri="{FF2B5EF4-FFF2-40B4-BE49-F238E27FC236}">
                <a16:creationId xmlns:a16="http://schemas.microsoft.com/office/drawing/2014/main" id="{64AFFA84-E62A-DFCD-C093-B5FD57BAB043}"/>
              </a:ext>
            </a:extLst>
          </p:cNvPr>
          <p:cNvPicPr>
            <a:picLocks noChangeAspect="1"/>
          </p:cNvPicPr>
          <p:nvPr/>
        </p:nvPicPr>
        <p:blipFill>
          <a:blip r:embed="rId2"/>
          <a:stretch>
            <a:fillRect/>
          </a:stretch>
        </p:blipFill>
        <p:spPr>
          <a:xfrm>
            <a:off x="7511753" y="1788053"/>
            <a:ext cx="3182240" cy="4199240"/>
          </a:xfrm>
          <a:prstGeom prst="rect">
            <a:avLst/>
          </a:prstGeom>
        </p:spPr>
      </p:pic>
      <p:sp>
        <p:nvSpPr>
          <p:cNvPr id="7" name="TextBox 6">
            <a:extLst>
              <a:ext uri="{FF2B5EF4-FFF2-40B4-BE49-F238E27FC236}">
                <a16:creationId xmlns:a16="http://schemas.microsoft.com/office/drawing/2014/main" id="{9B9401EB-D2D8-9BEB-5F6A-AA381299B344}"/>
              </a:ext>
            </a:extLst>
          </p:cNvPr>
          <p:cNvSpPr txBox="1"/>
          <p:nvPr/>
        </p:nvSpPr>
        <p:spPr>
          <a:xfrm>
            <a:off x="577638" y="2048265"/>
            <a:ext cx="5791200" cy="40626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Aptos" panose="020B0004020202020204" pitchFamily="34" charset="0"/>
              </a:rPr>
              <a:t>Dr. Annelies Wilder-Smith was recently appointed Executive Secretary of the SAGE Secretariat at WHO. Prior to this appointment, she led the development of WHO interim recommendations on the use of </a:t>
            </a:r>
            <a:r>
              <a:rPr kumimoji="0" lang="en-US" sz="1600" b="1" i="0"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Aptos" panose="020B0004020202020204" pitchFamily="34" charset="0"/>
              </a:rPr>
              <a:t>COVID-19 vaccines </a:t>
            </a: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Aptos" panose="020B0004020202020204" pitchFamily="34" charset="0"/>
              </a:rPr>
              <a:t>during the pandemic and coordinated two position papers on </a:t>
            </a:r>
            <a:r>
              <a:rPr kumimoji="0" lang="en-US" sz="1600" b="1" i="0"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Aptos" panose="020B0004020202020204" pitchFamily="34" charset="0"/>
              </a:rPr>
              <a:t>dengue</a:t>
            </a: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Aptos" panose="020B0004020202020204" pitchFamily="34" charset="0"/>
              </a:rPr>
              <a:t> vaccines. From 2022 to 2025, she served as </a:t>
            </a:r>
            <a:r>
              <a:rPr kumimoji="0" lang="en-US" sz="1600" b="1" i="0"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Aptos" panose="020B0004020202020204" pitchFamily="34" charset="0"/>
              </a:rPr>
              <a:t>Team Lead for Vaccine Development</a:t>
            </a: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Aptos" panose="020B0004020202020204" pitchFamily="34" charset="0"/>
              </a:rPr>
              <a:t>, where she managed the portfolio on novel vaccines against enteric pathogens and Group B </a:t>
            </a:r>
            <a:r>
              <a:rPr kumimoji="0" lang="en-US" sz="1600" b="0" i="1"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Aptos" panose="020B0004020202020204" pitchFamily="34" charset="0"/>
              </a:rPr>
              <a:t>Streptococcus</a:t>
            </a: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Aptos" panose="020B0004020202020204" pitchFamily="34" charset="0"/>
              </a:rPr>
              <a:t>, contributing to the publication of preferred product characteristics, strategic roadmaps, and the guidance document </a:t>
            </a:r>
            <a:r>
              <a:rPr kumimoji="0" lang="en-US" sz="1600" b="0" i="1"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Aptos" panose="020B0004020202020204" pitchFamily="34" charset="0"/>
              </a:rPr>
              <a:t>Evidence Considerations for Vaccine Policy</a:t>
            </a: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Aptos" panose="020B00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Aptos" panose="020B0004020202020204" pitchFamily="34" charset="0"/>
              </a:rPr>
              <a:t>She is also Honorary Professor of Emerging Infectious Diseases at the London School of Hygiene &amp; Tropical Medicine and a Past President of the International Society of Travel Medicine (ISTM).</a:t>
            </a:r>
            <a:endParaRPr kumimoji="0" lang="en-US" sz="1600" b="0" i="0" u="none" strike="noStrike" kern="12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Poppins"/>
              <a:ea typeface="+mn-ea"/>
              <a:cs typeface="+mn-cs"/>
            </a:endParaRPr>
          </a:p>
        </p:txBody>
      </p:sp>
    </p:spTree>
    <p:extLst>
      <p:ext uri="{BB962C8B-B14F-4D97-AF65-F5344CB8AC3E}">
        <p14:creationId xmlns:p14="http://schemas.microsoft.com/office/powerpoint/2010/main" val="457271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C7FE8BE-D94E-877E-755A-13CE491522F5}"/>
              </a:ext>
            </a:extLst>
          </p:cNvPr>
          <p:cNvPicPr>
            <a:picLocks noChangeAspect="1"/>
          </p:cNvPicPr>
          <p:nvPr/>
        </p:nvPicPr>
        <p:blipFill>
          <a:blip r:embed="rId2"/>
          <a:stretch>
            <a:fillRect/>
          </a:stretch>
        </p:blipFill>
        <p:spPr>
          <a:xfrm>
            <a:off x="5916590" y="3933770"/>
            <a:ext cx="6250921" cy="2550338"/>
          </a:xfrm>
          <a:prstGeom prst="rect">
            <a:avLst/>
          </a:prstGeom>
          <a:ln>
            <a:solidFill>
              <a:srgbClr val="215F9A"/>
            </a:solidFill>
          </a:ln>
        </p:spPr>
      </p:pic>
      <p:pic>
        <p:nvPicPr>
          <p:cNvPr id="12" name="Picture 11" descr="A map of the world&#10;&#10;AI-generated content may be incorrect.">
            <a:extLst>
              <a:ext uri="{FF2B5EF4-FFF2-40B4-BE49-F238E27FC236}">
                <a16:creationId xmlns:a16="http://schemas.microsoft.com/office/drawing/2014/main" id="{0733BB53-B07A-A70B-9691-6A55597FA77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29" y="1279864"/>
            <a:ext cx="4176718" cy="2486133"/>
          </a:xfrm>
          <a:prstGeom prst="rect">
            <a:avLst/>
          </a:prstGeom>
        </p:spPr>
      </p:pic>
      <p:pic>
        <p:nvPicPr>
          <p:cNvPr id="8" name="Picture 7" descr="A map of the world&#10;&#10;AI-generated content may be incorrect.">
            <a:extLst>
              <a:ext uri="{FF2B5EF4-FFF2-40B4-BE49-F238E27FC236}">
                <a16:creationId xmlns:a16="http://schemas.microsoft.com/office/drawing/2014/main" id="{AC0461AA-6D6A-B7FB-097C-F81290CFEF77}"/>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181936" y="1279864"/>
            <a:ext cx="4153168" cy="2448542"/>
          </a:xfrm>
          <a:prstGeom prst="rect">
            <a:avLst/>
          </a:prstGeom>
        </p:spPr>
      </p:pic>
      <p:pic>
        <p:nvPicPr>
          <p:cNvPr id="5" name="Picture 4" descr="A map of the world&#10;&#10;AI-generated content may be incorrect.">
            <a:extLst>
              <a:ext uri="{FF2B5EF4-FFF2-40B4-BE49-F238E27FC236}">
                <a16:creationId xmlns:a16="http://schemas.microsoft.com/office/drawing/2014/main" id="{2F8EABCD-9965-1EFD-9C81-DC93FFAF4B80}"/>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337499" y="1236214"/>
            <a:ext cx="3840518" cy="2497887"/>
          </a:xfrm>
          <a:prstGeom prst="rect">
            <a:avLst/>
          </a:prstGeom>
        </p:spPr>
      </p:pic>
      <p:sp>
        <p:nvSpPr>
          <p:cNvPr id="20" name="Title 1">
            <a:extLst>
              <a:ext uri="{FF2B5EF4-FFF2-40B4-BE49-F238E27FC236}">
                <a16:creationId xmlns:a16="http://schemas.microsoft.com/office/drawing/2014/main" id="{8F1F41AA-CF34-C97A-87E7-0F63B9AB1AEF}"/>
              </a:ext>
            </a:extLst>
          </p:cNvPr>
          <p:cNvSpPr>
            <a:spLocks noGrp="1"/>
          </p:cNvSpPr>
          <p:nvPr>
            <p:ph type="title"/>
          </p:nvPr>
        </p:nvSpPr>
        <p:spPr>
          <a:xfrm>
            <a:off x="269658" y="190728"/>
            <a:ext cx="11618752" cy="897861"/>
          </a:xfrm>
          <a:solidFill>
            <a:schemeClr val="bg2"/>
          </a:solidFill>
        </p:spPr>
        <p:txBody>
          <a:bodyPr>
            <a:noAutofit/>
          </a:bodyPr>
          <a:lstStyle/>
          <a:p>
            <a:r>
              <a:rPr lang="en-US" b="1" dirty="0">
                <a:ea typeface="Calibri"/>
                <a:cs typeface="Calibri"/>
              </a:rPr>
              <a:t>Goal 2 Update (cVDPV2): Progress in Southern AFR &amp; DRC;</a:t>
            </a:r>
            <a:br>
              <a:rPr lang="en-US" b="1" dirty="0">
                <a:ea typeface="Calibri"/>
                <a:cs typeface="Calibri"/>
              </a:rPr>
            </a:br>
            <a:r>
              <a:rPr lang="en-US" b="1" dirty="0">
                <a:ea typeface="Calibri"/>
                <a:cs typeface="Calibri"/>
              </a:rPr>
              <a:t>Lake Chad Basin &amp; Horn of Africa driving cVDPV2 transmission</a:t>
            </a:r>
          </a:p>
        </p:txBody>
      </p:sp>
      <p:sp>
        <p:nvSpPr>
          <p:cNvPr id="21" name="Rectangle 20">
            <a:extLst>
              <a:ext uri="{FF2B5EF4-FFF2-40B4-BE49-F238E27FC236}">
                <a16:creationId xmlns:a16="http://schemas.microsoft.com/office/drawing/2014/main" id="{A85B1CFF-583F-76D7-EB33-77EDFC4A1314}"/>
              </a:ext>
            </a:extLst>
          </p:cNvPr>
          <p:cNvSpPr/>
          <p:nvPr/>
        </p:nvSpPr>
        <p:spPr>
          <a:xfrm>
            <a:off x="10991708" y="3802150"/>
            <a:ext cx="477385" cy="699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0FFDA383-D69A-1C0D-1D61-DD5AFD250300}"/>
              </a:ext>
            </a:extLst>
          </p:cNvPr>
          <p:cNvGrpSpPr/>
          <p:nvPr/>
        </p:nvGrpSpPr>
        <p:grpSpPr>
          <a:xfrm>
            <a:off x="428" y="1268113"/>
            <a:ext cx="12191144" cy="2486133"/>
            <a:chOff x="18104" y="1034035"/>
            <a:chExt cx="12173896" cy="2486308"/>
          </a:xfrm>
        </p:grpSpPr>
        <p:grpSp>
          <p:nvGrpSpPr>
            <p:cNvPr id="23" name="Group 22">
              <a:extLst>
                <a:ext uri="{FF2B5EF4-FFF2-40B4-BE49-F238E27FC236}">
                  <a16:creationId xmlns:a16="http://schemas.microsoft.com/office/drawing/2014/main" id="{851772B3-2E2A-DEB0-2DC6-624DD38ED134}"/>
                </a:ext>
              </a:extLst>
            </p:cNvPr>
            <p:cNvGrpSpPr/>
            <p:nvPr/>
          </p:nvGrpSpPr>
          <p:grpSpPr>
            <a:xfrm>
              <a:off x="18104" y="1034035"/>
              <a:ext cx="12173896" cy="2486308"/>
              <a:chOff x="838200" y="1419747"/>
              <a:chExt cx="10515598" cy="2057744"/>
            </a:xfrm>
          </p:grpSpPr>
          <p:sp>
            <p:nvSpPr>
              <p:cNvPr id="27" name="Rectangle 26">
                <a:extLst>
                  <a:ext uri="{FF2B5EF4-FFF2-40B4-BE49-F238E27FC236}">
                    <a16:creationId xmlns:a16="http://schemas.microsoft.com/office/drawing/2014/main" id="{01779ACA-EB87-51A3-5E51-DBFE4519B4F1}"/>
                  </a:ext>
                </a:extLst>
              </p:cNvPr>
              <p:cNvSpPr/>
              <p:nvPr/>
            </p:nvSpPr>
            <p:spPr>
              <a:xfrm>
                <a:off x="838200" y="1419747"/>
                <a:ext cx="10515598" cy="2057744"/>
              </a:xfrm>
              <a:prstGeom prst="rect">
                <a:avLst/>
              </a:prstGeom>
              <a:no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16AC7C89-A031-284C-A555-ECD38866FA1B}"/>
                  </a:ext>
                </a:extLst>
              </p:cNvPr>
              <p:cNvSpPr/>
              <p:nvPr/>
            </p:nvSpPr>
            <p:spPr>
              <a:xfrm>
                <a:off x="838200" y="1437240"/>
                <a:ext cx="1500006" cy="202506"/>
              </a:xfrm>
              <a:prstGeom prst="rect">
                <a:avLst/>
              </a:prstGeom>
              <a:solidFill>
                <a:schemeClr val="accent6">
                  <a:lumMod val="75000"/>
                </a:schemeClr>
              </a:solidFill>
              <a:ln w="9525">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0D63FDEC-731F-ABA1-171B-FCA8775C8BF3}"/>
                  </a:ext>
                </a:extLst>
              </p:cNvPr>
              <p:cNvSpPr txBox="1"/>
              <p:nvPr/>
            </p:nvSpPr>
            <p:spPr>
              <a:xfrm>
                <a:off x="893452" y="1452858"/>
                <a:ext cx="1665341" cy="202521"/>
              </a:xfrm>
              <a:prstGeom prst="rect">
                <a:avLst/>
              </a:prstGeom>
              <a:noFill/>
            </p:spPr>
            <p:txBody>
              <a:bodyPr wrap="square">
                <a:spAutoFit/>
              </a:bodyPr>
              <a:lstStyle/>
              <a:p>
                <a:pPr marL="0" marR="0" lvl="0" indent="0" algn="l" defTabSz="914358" rtl="0" eaLnBrk="1" fontAlgn="auto" latinLnBrk="0" hangingPunct="1">
                  <a:lnSpc>
                    <a:spcPct val="9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rgbClr val="FFFFFF"/>
                    </a:solidFill>
                    <a:effectLst/>
                    <a:uLnTx/>
                    <a:uFillTx/>
                    <a:latin typeface="Calibri"/>
                    <a:ea typeface="+mn-ea"/>
                    <a:cs typeface="+mn-cs"/>
                  </a:rPr>
                  <a:t>Global cVDPV2 isolates</a:t>
                </a:r>
                <a:r>
                  <a:rPr kumimoji="0" lang="en-GB" altLang="en-US" sz="1100" b="1" i="0" u="none" strike="noStrike" kern="1200" cap="none" spc="0" normalizeH="0" baseline="30000" noProof="0" dirty="0">
                    <a:ln>
                      <a:noFill/>
                    </a:ln>
                    <a:solidFill>
                      <a:srgbClr val="FFFFFF"/>
                    </a:solidFill>
                    <a:effectLst/>
                    <a:uLnTx/>
                    <a:uFillTx/>
                    <a:latin typeface="Calibri"/>
                    <a:ea typeface="+mn-ea"/>
                    <a:cs typeface="+mn-cs"/>
                  </a:rPr>
                  <a:t>1</a:t>
                </a:r>
              </a:p>
            </p:txBody>
          </p:sp>
        </p:grpSp>
        <p:sp>
          <p:nvSpPr>
            <p:cNvPr id="24" name="Rectangle 3">
              <a:extLst>
                <a:ext uri="{FF2B5EF4-FFF2-40B4-BE49-F238E27FC236}">
                  <a16:creationId xmlns:a16="http://schemas.microsoft.com/office/drawing/2014/main" id="{0D93D632-CA81-2A49-DC35-17F722AEBB2E}"/>
                </a:ext>
              </a:extLst>
            </p:cNvPr>
            <p:cNvSpPr txBox="1">
              <a:spLocks noChangeArrowheads="1"/>
            </p:cNvSpPr>
            <p:nvPr/>
          </p:nvSpPr>
          <p:spPr>
            <a:xfrm>
              <a:off x="2290119" y="1045787"/>
              <a:ext cx="1651129" cy="230682"/>
            </a:xfrm>
            <a:prstGeom prst="rect">
              <a:avLst/>
            </a:prstGeom>
            <a:solidFill>
              <a:schemeClr val="bg1"/>
            </a:solidFill>
            <a:ln>
              <a:noFill/>
            </a:ln>
          </p:spPr>
          <p:txBody>
            <a:bodyPr vert="horz" lIns="91434" tIns="45717" rIns="91434" bIns="45717"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358" rtl="0" eaLnBrk="1" fontAlgn="auto" latinLnBrk="0" hangingPunct="1">
                <a:lnSpc>
                  <a:spcPct val="90000"/>
                </a:lnSpc>
                <a:spcBef>
                  <a:spcPts val="0"/>
                </a:spcBef>
                <a:spcAft>
                  <a:spcPts val="0"/>
                </a:spcAft>
                <a:buClrTx/>
                <a:buSzTx/>
                <a:buFontTx/>
                <a:buNone/>
                <a:tabLst/>
                <a:defRPr/>
              </a:pPr>
              <a:r>
                <a:rPr kumimoji="0" lang="en-GB" altLang="en-US" sz="1100" b="0" i="0" u="none" strike="noStrike" kern="1200" cap="none" spc="0" normalizeH="0" baseline="0" noProof="0" dirty="0">
                  <a:ln>
                    <a:noFill/>
                  </a:ln>
                  <a:solidFill>
                    <a:srgbClr val="4472C4">
                      <a:lumMod val="75000"/>
                    </a:srgbClr>
                  </a:solidFill>
                  <a:effectLst/>
                  <a:uLnTx/>
                  <a:uFillTx/>
                  <a:latin typeface="Calibri"/>
                  <a:ea typeface="+mj-ea"/>
                  <a:cs typeface="+mj-cs"/>
                </a:rPr>
                <a:t>10-Mar to 09-Sep-24</a:t>
              </a:r>
              <a:endParaRPr kumimoji="0" lang="en-GB" altLang="en-US" sz="1100" b="0" i="0" u="none" strike="noStrike" kern="1200" cap="none" spc="0" normalizeH="0" baseline="30000" noProof="0" dirty="0">
                <a:ln>
                  <a:noFill/>
                </a:ln>
                <a:solidFill>
                  <a:srgbClr val="4472C4">
                    <a:lumMod val="75000"/>
                  </a:srgbClr>
                </a:solidFill>
                <a:effectLst/>
                <a:uLnTx/>
                <a:uFillTx/>
                <a:latin typeface="Calibri"/>
                <a:ea typeface="+mj-ea"/>
                <a:cs typeface="+mj-cs"/>
              </a:endParaRPr>
            </a:p>
          </p:txBody>
        </p:sp>
        <p:sp>
          <p:nvSpPr>
            <p:cNvPr id="25" name="Rectangle 3">
              <a:extLst>
                <a:ext uri="{FF2B5EF4-FFF2-40B4-BE49-F238E27FC236}">
                  <a16:creationId xmlns:a16="http://schemas.microsoft.com/office/drawing/2014/main" id="{A61E81AD-5DF5-BEA1-7B0C-FB4D153B4658}"/>
                </a:ext>
              </a:extLst>
            </p:cNvPr>
            <p:cNvSpPr txBox="1">
              <a:spLocks noChangeArrowheads="1"/>
            </p:cNvSpPr>
            <p:nvPr/>
          </p:nvSpPr>
          <p:spPr>
            <a:xfrm>
              <a:off x="6643135" y="1052288"/>
              <a:ext cx="1669161" cy="234547"/>
            </a:xfrm>
            <a:prstGeom prst="rect">
              <a:avLst/>
            </a:prstGeom>
            <a:solidFill>
              <a:schemeClr val="bg1"/>
            </a:solidFill>
            <a:ln>
              <a:noFill/>
            </a:ln>
          </p:spPr>
          <p:txBody>
            <a:bodyPr vert="horz" lIns="91434" tIns="45717" rIns="91434" bIns="45717"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358" rtl="0" eaLnBrk="1" fontAlgn="auto" latinLnBrk="0" hangingPunct="1">
                <a:lnSpc>
                  <a:spcPct val="90000"/>
                </a:lnSpc>
                <a:spcBef>
                  <a:spcPts val="0"/>
                </a:spcBef>
                <a:spcAft>
                  <a:spcPts val="0"/>
                </a:spcAft>
                <a:buClrTx/>
                <a:buSzTx/>
                <a:buFontTx/>
                <a:buNone/>
                <a:tabLst/>
                <a:defRPr/>
              </a:pPr>
              <a:r>
                <a:rPr kumimoji="0" lang="en-GB" altLang="en-US" sz="1100" b="0" i="0" u="none" strike="noStrike" kern="1200" cap="none" spc="0" normalizeH="0" baseline="0" noProof="0" dirty="0">
                  <a:ln>
                    <a:noFill/>
                  </a:ln>
                  <a:solidFill>
                    <a:srgbClr val="4472C4">
                      <a:lumMod val="75000"/>
                    </a:srgbClr>
                  </a:solidFill>
                  <a:effectLst/>
                  <a:uLnTx/>
                  <a:uFillTx/>
                  <a:latin typeface="Calibri"/>
                  <a:ea typeface="+mj-ea"/>
                  <a:cs typeface="+mj-cs"/>
                </a:rPr>
                <a:t>10-Sep-24 to 09-Mar-25</a:t>
              </a:r>
              <a:endParaRPr kumimoji="0" lang="en-GB" altLang="en-US" sz="1100" b="0" i="0" u="none" strike="noStrike" kern="1200" cap="none" spc="0" normalizeH="0" baseline="30000" noProof="0" dirty="0">
                <a:ln>
                  <a:noFill/>
                </a:ln>
                <a:solidFill>
                  <a:srgbClr val="4472C4">
                    <a:lumMod val="75000"/>
                  </a:srgbClr>
                </a:solidFill>
                <a:effectLst/>
                <a:uLnTx/>
                <a:uFillTx/>
                <a:latin typeface="Calibri"/>
                <a:ea typeface="+mj-ea"/>
                <a:cs typeface="+mj-cs"/>
              </a:endParaRPr>
            </a:p>
          </p:txBody>
        </p:sp>
        <p:sp>
          <p:nvSpPr>
            <p:cNvPr id="26" name="Rectangle 3">
              <a:extLst>
                <a:ext uri="{FF2B5EF4-FFF2-40B4-BE49-F238E27FC236}">
                  <a16:creationId xmlns:a16="http://schemas.microsoft.com/office/drawing/2014/main" id="{80B08000-7E44-CC72-CCDE-EE7EC42AB9A5}"/>
                </a:ext>
              </a:extLst>
            </p:cNvPr>
            <p:cNvSpPr txBox="1">
              <a:spLocks noChangeArrowheads="1"/>
            </p:cNvSpPr>
            <p:nvPr/>
          </p:nvSpPr>
          <p:spPr>
            <a:xfrm>
              <a:off x="10507777" y="1057169"/>
              <a:ext cx="1679440" cy="234547"/>
            </a:xfrm>
            <a:prstGeom prst="rect">
              <a:avLst/>
            </a:prstGeom>
            <a:solidFill>
              <a:schemeClr val="bg1"/>
            </a:solidFill>
            <a:ln>
              <a:noFill/>
            </a:ln>
          </p:spPr>
          <p:txBody>
            <a:bodyPr vert="horz" lIns="91434" tIns="45717" rIns="91434" bIns="45717"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358" rtl="0" eaLnBrk="1" fontAlgn="auto" latinLnBrk="0" hangingPunct="1">
                <a:lnSpc>
                  <a:spcPct val="90000"/>
                </a:lnSpc>
                <a:spcBef>
                  <a:spcPts val="0"/>
                </a:spcBef>
                <a:spcAft>
                  <a:spcPts val="0"/>
                </a:spcAft>
                <a:buClrTx/>
                <a:buSzTx/>
                <a:buFontTx/>
                <a:buNone/>
                <a:tabLst/>
                <a:defRPr/>
              </a:pPr>
              <a:r>
                <a:rPr kumimoji="0" lang="en-GB" altLang="en-US" sz="1100" b="0" i="0" u="none" strike="noStrike" kern="1200" cap="none" spc="0" normalizeH="0" baseline="0" noProof="0" dirty="0">
                  <a:ln>
                    <a:noFill/>
                  </a:ln>
                  <a:solidFill>
                    <a:srgbClr val="4472C4">
                      <a:lumMod val="75000"/>
                    </a:srgbClr>
                  </a:solidFill>
                  <a:effectLst/>
                  <a:uLnTx/>
                  <a:uFillTx/>
                  <a:latin typeface="Calibri"/>
                  <a:ea typeface="+mj-ea"/>
                  <a:cs typeface="+mj-cs"/>
                </a:rPr>
                <a:t>10-Mar to 09-Sep-25</a:t>
              </a:r>
              <a:endParaRPr kumimoji="0" lang="en-GB" altLang="en-US" sz="1100" b="0" i="0" u="none" strike="noStrike" kern="1200" cap="none" spc="0" normalizeH="0" baseline="30000" noProof="0" dirty="0">
                <a:ln>
                  <a:noFill/>
                </a:ln>
                <a:solidFill>
                  <a:srgbClr val="4472C4">
                    <a:lumMod val="75000"/>
                  </a:srgbClr>
                </a:solidFill>
                <a:effectLst/>
                <a:uLnTx/>
                <a:uFillTx/>
                <a:latin typeface="Calibri"/>
                <a:ea typeface="+mj-ea"/>
                <a:cs typeface="+mj-cs"/>
              </a:endParaRPr>
            </a:p>
          </p:txBody>
        </p:sp>
      </p:grpSp>
      <p:sp>
        <p:nvSpPr>
          <p:cNvPr id="30" name="TextBox 29">
            <a:extLst>
              <a:ext uri="{FF2B5EF4-FFF2-40B4-BE49-F238E27FC236}">
                <a16:creationId xmlns:a16="http://schemas.microsoft.com/office/drawing/2014/main" id="{102A3CD9-3E62-6BBD-DC92-F4D459B6FB9E}"/>
              </a:ext>
            </a:extLst>
          </p:cNvPr>
          <p:cNvSpPr txBox="1"/>
          <p:nvPr/>
        </p:nvSpPr>
        <p:spPr>
          <a:xfrm>
            <a:off x="2807499" y="6651285"/>
            <a:ext cx="5165071" cy="246221"/>
          </a:xfrm>
          <a:prstGeom prst="rect">
            <a:avLst/>
          </a:prstGeom>
          <a:noFill/>
        </p:spPr>
        <p:txBody>
          <a:bodyPr wrap="square">
            <a:spAutoFit/>
          </a:bodyPr>
          <a:lstStyle/>
          <a:p>
            <a:pPr marL="0" marR="0" lvl="0" indent="0" algn="l" defTabSz="914358" rtl="0" eaLnBrk="0" fontAlgn="base" latinLnBrk="0" hangingPunct="0">
              <a:lnSpc>
                <a:spcPct val="100000"/>
              </a:lnSpc>
              <a:spcBef>
                <a:spcPct val="0"/>
              </a:spcBef>
              <a:spcAft>
                <a:spcPct val="0"/>
              </a:spcAft>
              <a:buClrTx/>
              <a:buSzTx/>
              <a:buFontTx/>
              <a:buNone/>
              <a:tabLst>
                <a:tab pos="1076275" algn="l"/>
              </a:tabLst>
              <a:defRPr/>
            </a:pPr>
            <a:r>
              <a:rPr kumimoji="0" lang="en-GB" altLang="fr-FR" sz="1000" b="0" i="1" u="none" strike="noStrike" kern="1200" cap="none" spc="0" normalizeH="0" baseline="30000" noProof="0" dirty="0">
                <a:ln>
                  <a:noFill/>
                </a:ln>
                <a:solidFill>
                  <a:srgbClr val="FFFFFF"/>
                </a:solidFill>
                <a:effectLst/>
                <a:uLnTx/>
                <a:uFillTx/>
                <a:latin typeface="Calibri" pitchFamily="34" charset="0"/>
                <a:ea typeface="+mn-ea"/>
                <a:cs typeface="Arial" pitchFamily="34" charset="0"/>
              </a:rPr>
              <a:t>1</a:t>
            </a:r>
            <a:r>
              <a:rPr kumimoji="0" lang="en-GB" altLang="fr-FR" sz="1000" b="0" i="1" u="none" strike="noStrike" kern="1200" cap="none" spc="0" normalizeH="0" baseline="0" noProof="0" dirty="0">
                <a:ln>
                  <a:noFill/>
                </a:ln>
                <a:solidFill>
                  <a:srgbClr val="FFFFFF"/>
                </a:solidFill>
                <a:effectLst/>
                <a:uLnTx/>
                <a:uFillTx/>
                <a:latin typeface="Calibri" pitchFamily="34" charset="0"/>
                <a:ea typeface="+mn-ea"/>
                <a:cs typeface="Arial" pitchFamily="34" charset="0"/>
              </a:rPr>
              <a:t>includes viruses detected from AFP (onset date) and environmental surveillance (collection date)</a:t>
            </a:r>
          </a:p>
        </p:txBody>
      </p:sp>
      <p:pic>
        <p:nvPicPr>
          <p:cNvPr id="31" name="Picture 30">
            <a:extLst>
              <a:ext uri="{FF2B5EF4-FFF2-40B4-BE49-F238E27FC236}">
                <a16:creationId xmlns:a16="http://schemas.microsoft.com/office/drawing/2014/main" id="{5C194C86-E0D1-2A84-D9F4-0F3EEAA93D1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088962" y="2995171"/>
            <a:ext cx="1001806" cy="459269"/>
          </a:xfrm>
          <a:prstGeom prst="rect">
            <a:avLst/>
          </a:prstGeom>
        </p:spPr>
      </p:pic>
      <p:sp>
        <p:nvSpPr>
          <p:cNvPr id="32" name="Rectangle 31">
            <a:extLst>
              <a:ext uri="{FF2B5EF4-FFF2-40B4-BE49-F238E27FC236}">
                <a16:creationId xmlns:a16="http://schemas.microsoft.com/office/drawing/2014/main" id="{80024644-F16E-BBCF-C085-E506CA40D861}"/>
              </a:ext>
            </a:extLst>
          </p:cNvPr>
          <p:cNvSpPr/>
          <p:nvPr/>
        </p:nvSpPr>
        <p:spPr>
          <a:xfrm>
            <a:off x="5921381" y="3686258"/>
            <a:ext cx="4194311" cy="263772"/>
          </a:xfrm>
          <a:prstGeom prst="rect">
            <a:avLst/>
          </a:prstGeom>
          <a:solidFill>
            <a:schemeClr val="accent6">
              <a:lumMod val="75000"/>
            </a:schemeClr>
          </a:solidFill>
          <a:ln w="9525">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Global cVDPV2 AFP cases, environmental samples, and others</a:t>
            </a:r>
          </a:p>
        </p:txBody>
      </p:sp>
      <p:sp>
        <p:nvSpPr>
          <p:cNvPr id="3" name="TextBox 2">
            <a:extLst>
              <a:ext uri="{FF2B5EF4-FFF2-40B4-BE49-F238E27FC236}">
                <a16:creationId xmlns:a16="http://schemas.microsoft.com/office/drawing/2014/main" id="{00DC8CAF-CC83-6EF7-0098-47DFD0FE6E89}"/>
              </a:ext>
            </a:extLst>
          </p:cNvPr>
          <p:cNvSpPr txBox="1"/>
          <p:nvPr/>
        </p:nvSpPr>
        <p:spPr>
          <a:xfrm>
            <a:off x="82492" y="3728407"/>
            <a:ext cx="5727779" cy="2895593"/>
          </a:xfrm>
          <a:prstGeom prst="rect">
            <a:avLst/>
          </a:prstGeom>
          <a:noFill/>
        </p:spPr>
        <p:txBody>
          <a:bodyPr wrap="square" lIns="91434" tIns="45717" rIns="91434" bIns="45717" rtlCol="0" anchor="t">
            <a:normAutofit/>
          </a:bodyPr>
          <a:lstStyle/>
          <a:p>
            <a:pPr marL="285737" marR="0" lvl="0" indent="-285737" algn="l" defTabSz="914358"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Calibri"/>
                <a:ea typeface="+mn-ea"/>
                <a:cs typeface="Helvetica"/>
              </a:rPr>
              <a:t>Overall downward trend since 2022</a:t>
            </a:r>
          </a:p>
          <a:p>
            <a:pPr marL="285737" marR="0" lvl="0" indent="-285737" algn="l" defTabSz="914358"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Calibri"/>
                <a:ea typeface="+mn-ea"/>
                <a:cs typeface="Helvetica"/>
              </a:rPr>
              <a:t>In 2025: Total of 136 cVDPV2 cases</a:t>
            </a:r>
          </a:p>
          <a:p>
            <a:pPr marL="742916" marR="0" lvl="1" indent="-285737" algn="l" defTabSz="914358" rtl="0" eaLnBrk="1" fontAlgn="auto" latinLnBrk="0" hangingPunct="1">
              <a:lnSpc>
                <a:spcPct val="110000"/>
              </a:lnSpc>
              <a:spcBef>
                <a:spcPts val="0"/>
              </a:spcBef>
              <a:spcAft>
                <a:spcPts val="60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Calibri"/>
                <a:ea typeface="+mn-ea"/>
                <a:cs typeface="Helvetica"/>
              </a:rPr>
              <a:t>102 from the African Region (9 countries)</a:t>
            </a:r>
          </a:p>
          <a:p>
            <a:pPr marL="742916" marR="0" lvl="1" indent="-285737" algn="l" defTabSz="914358" rtl="0" eaLnBrk="1" fontAlgn="auto" latinLnBrk="0" hangingPunct="1">
              <a:lnSpc>
                <a:spcPct val="110000"/>
              </a:lnSpc>
              <a:spcBef>
                <a:spcPts val="0"/>
              </a:spcBef>
              <a:spcAft>
                <a:spcPts val="60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Calibri"/>
                <a:ea typeface="+mn-ea"/>
                <a:cs typeface="Helvetica"/>
              </a:rPr>
              <a:t>Rest from EMR; (1 Djibouti, 1 Somalia, 2 Sudan, 29 Yemen) and WPR; (1 Papua New Guinea)</a:t>
            </a:r>
            <a:endParaRPr kumimoji="0" lang="en-US" sz="1600" b="1" i="0" u="none" strike="noStrike" kern="1200" cap="none" spc="0" normalizeH="0" baseline="0" noProof="0" dirty="0">
              <a:ln>
                <a:noFill/>
              </a:ln>
              <a:solidFill>
                <a:prstClr val="black"/>
              </a:solidFill>
              <a:effectLst/>
              <a:uLnTx/>
              <a:uFillTx/>
              <a:latin typeface="Calibri"/>
              <a:ea typeface="+mn-ea"/>
              <a:cs typeface="Helvetica"/>
            </a:endParaRPr>
          </a:p>
          <a:p>
            <a:pPr marL="285737" marR="0" lvl="0" indent="-285737" algn="l" defTabSz="914358"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Calibri"/>
                <a:ea typeface="+mn-ea"/>
                <a:cs typeface="Helvetica"/>
              </a:rPr>
              <a:t>In 2024: 448 cVDPV2 cases</a:t>
            </a:r>
          </a:p>
          <a:p>
            <a:pPr marL="285737" marR="0" lvl="0" indent="-285737" algn="l" defTabSz="914358"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Calibri"/>
                <a:ea typeface="+mn-ea"/>
                <a:cs typeface="Helvetica"/>
              </a:rPr>
              <a:t>cVDPV2 detections from wastewater samples from multiple countries of European Region</a:t>
            </a:r>
          </a:p>
        </p:txBody>
      </p:sp>
    </p:spTree>
    <p:extLst>
      <p:ext uri="{BB962C8B-B14F-4D97-AF65-F5344CB8AC3E}">
        <p14:creationId xmlns:p14="http://schemas.microsoft.com/office/powerpoint/2010/main" val="41704767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1E45E04-3850-A062-F0E3-A979637F6A3A}"/>
              </a:ext>
            </a:extLst>
          </p:cNvPr>
          <p:cNvSpPr>
            <a:spLocks noGrp="1"/>
          </p:cNvSpPr>
          <p:nvPr>
            <p:ph type="ftr" sz="quarter" idx="11"/>
          </p:nvPr>
        </p:nvSpPr>
        <p:spPr/>
        <p:txBody>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VB Director’s Report to SAGE</a:t>
            </a:r>
          </a:p>
        </p:txBody>
      </p:sp>
      <p:sp>
        <p:nvSpPr>
          <p:cNvPr id="3" name="Slide Number Placeholder 2">
            <a:extLst>
              <a:ext uri="{FF2B5EF4-FFF2-40B4-BE49-F238E27FC236}">
                <a16:creationId xmlns:a16="http://schemas.microsoft.com/office/drawing/2014/main" id="{92FF026D-01C5-840F-9F9E-D60317ED6BCE}"/>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914358" rtl="0" eaLnBrk="1" fontAlgn="auto" latinLnBrk="0" hangingPunct="1">
                <a:lnSpc>
                  <a:spcPct val="100000"/>
                </a:lnSpc>
                <a:spcBef>
                  <a:spcPts val="0"/>
                </a:spcBef>
                <a:spcAft>
                  <a:spcPts val="0"/>
                </a:spcAft>
                <a:buClrTx/>
                <a:buSzTx/>
                <a:buFontTx/>
                <a:buNone/>
                <a:tabLst/>
                <a:defRPr/>
              </a:pPr>
              <a:t>41</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6A0EB25F-0807-6E91-E831-F08DAFBC04C6}"/>
              </a:ext>
            </a:extLst>
          </p:cNvPr>
          <p:cNvSpPr>
            <a:spLocks noGrp="1"/>
          </p:cNvSpPr>
          <p:nvPr>
            <p:ph type="title"/>
          </p:nvPr>
        </p:nvSpPr>
        <p:spPr>
          <a:xfrm>
            <a:off x="578027" y="537401"/>
            <a:ext cx="9514817" cy="406877"/>
          </a:xfrm>
        </p:spPr>
        <p:txBody>
          <a:bodyPr/>
          <a:lstStyle/>
          <a:p>
            <a:r>
              <a:rPr lang="en-GB" dirty="0">
                <a:solidFill>
                  <a:schemeClr val="accent1"/>
                </a:solidFill>
              </a:rPr>
              <a:t>Update on bOPV Cessation Planning to SAGE</a:t>
            </a:r>
          </a:p>
        </p:txBody>
      </p:sp>
      <p:sp>
        <p:nvSpPr>
          <p:cNvPr id="8" name="TextBox 7">
            <a:extLst>
              <a:ext uri="{FF2B5EF4-FFF2-40B4-BE49-F238E27FC236}">
                <a16:creationId xmlns:a16="http://schemas.microsoft.com/office/drawing/2014/main" id="{0EE7B468-A373-197B-0221-5BF2EF2E8716}"/>
              </a:ext>
            </a:extLst>
          </p:cNvPr>
          <p:cNvSpPr txBox="1"/>
          <p:nvPr/>
        </p:nvSpPr>
        <p:spPr>
          <a:xfrm>
            <a:off x="405514" y="1445307"/>
            <a:ext cx="11185290" cy="4819781"/>
          </a:xfrm>
          <a:prstGeom prst="rect">
            <a:avLst/>
          </a:prstGeom>
          <a:noFill/>
        </p:spPr>
        <p:txBody>
          <a:bodyPr wrap="square">
            <a:spAutoFit/>
          </a:bodyPr>
          <a:lstStyle/>
          <a:p>
            <a:pPr marL="342884" marR="0" lvl="0" indent="-342884" algn="just" defTabSz="422011"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GB" sz="2400" b="1" i="0" u="none" strike="noStrike" kern="1200" cap="none" spc="0" normalizeH="0" baseline="0" noProof="0" dirty="0">
                <a:ln>
                  <a:noFill/>
                </a:ln>
                <a:solidFill>
                  <a:prstClr val="black"/>
                </a:solidFill>
                <a:effectLst/>
                <a:uLnTx/>
                <a:uFillTx/>
                <a:latin typeface="Calibri"/>
                <a:ea typeface="+mn-ea"/>
                <a:cs typeface="+mn-cs"/>
              </a:rPr>
              <a:t>GPEI has completed several steps of bOPV cessation planning</a:t>
            </a:r>
          </a:p>
          <a:p>
            <a:pPr marL="657928" marR="0" lvl="1" indent="-342884" algn="just" defTabSz="422011" rtl="0" eaLnBrk="1" fontAlgn="base" latinLnBrk="0" hangingPunct="1">
              <a:lnSpc>
                <a:spcPct val="100000"/>
              </a:lnSpc>
              <a:spcBef>
                <a:spcPct val="20000"/>
              </a:spcBef>
              <a:spcAft>
                <a:spcPct val="0"/>
              </a:spcAft>
              <a:buClr>
                <a:srgbClr val="4472C4"/>
              </a:buClr>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Calibri"/>
                <a:ea typeface="+mn-ea"/>
                <a:cs typeface="+mn-cs"/>
              </a:rPr>
              <a:t>Developed policy framework (Guiding Principles, Triggers and Enablers) </a:t>
            </a:r>
          </a:p>
          <a:p>
            <a:pPr marL="657928" marR="0" lvl="1" indent="-342884" algn="just" defTabSz="422011" rtl="0" eaLnBrk="1" fontAlgn="base" latinLnBrk="0" hangingPunct="1">
              <a:lnSpc>
                <a:spcPct val="100000"/>
              </a:lnSpc>
              <a:spcBef>
                <a:spcPct val="20000"/>
              </a:spcBef>
              <a:spcAft>
                <a:spcPct val="0"/>
              </a:spcAft>
              <a:buClr>
                <a:srgbClr val="4472C4"/>
              </a:buClr>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Calibri"/>
                <a:ea typeface="+mn-ea"/>
                <a:cs typeface="+mn-cs"/>
              </a:rPr>
              <a:t>Estimated doses, budget, and timeline for pre-cessation SIAs </a:t>
            </a:r>
          </a:p>
          <a:p>
            <a:pPr marL="657928" marR="0" lvl="1" indent="-342884" algn="just" defTabSz="422011" rtl="0" eaLnBrk="1" fontAlgn="base" latinLnBrk="0" hangingPunct="1">
              <a:lnSpc>
                <a:spcPct val="100000"/>
              </a:lnSpc>
              <a:spcBef>
                <a:spcPct val="20000"/>
              </a:spcBef>
              <a:spcAft>
                <a:spcPct val="0"/>
              </a:spcAft>
              <a:buClr>
                <a:srgbClr val="4472C4"/>
              </a:buClr>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Calibri"/>
                <a:ea typeface="+mn-ea"/>
                <a:cs typeface="+mn-cs"/>
              </a:rPr>
              <a:t>Provided signal to manufacturers on bOPV needs for pre-cessation SIA </a:t>
            </a:r>
          </a:p>
          <a:p>
            <a:pPr marL="342884" marR="0" lvl="0" indent="-342884" algn="just" defTabSz="422011"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GB" sz="2400" b="1" i="0" u="none" strike="noStrike" kern="1200" cap="none" spc="0" normalizeH="0" baseline="0" noProof="0" dirty="0">
                <a:ln>
                  <a:noFill/>
                </a:ln>
                <a:solidFill>
                  <a:prstClr val="black"/>
                </a:solidFill>
                <a:effectLst/>
                <a:uLnTx/>
                <a:uFillTx/>
                <a:latin typeface="Calibri"/>
                <a:ea typeface="+mn-ea"/>
                <a:cs typeface="+mn-cs"/>
              </a:rPr>
              <a:t>Next steps</a:t>
            </a:r>
          </a:p>
          <a:p>
            <a:pPr marL="657928" marR="0" lvl="1" indent="-342884" algn="just" defTabSz="422011" rtl="0" eaLnBrk="1" fontAlgn="base" latinLnBrk="0" hangingPunct="1">
              <a:lnSpc>
                <a:spcPct val="100000"/>
              </a:lnSpc>
              <a:spcBef>
                <a:spcPct val="20000"/>
              </a:spcBef>
              <a:spcAft>
                <a:spcPct val="0"/>
              </a:spcAft>
              <a:buClr>
                <a:srgbClr val="4472C4"/>
              </a:buClr>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Calibri"/>
                <a:ea typeface="+mn-ea"/>
                <a:cs typeface="+mn-cs"/>
              </a:rPr>
              <a:t>Monitor achievement of triggers and preparation of enablers</a:t>
            </a:r>
          </a:p>
          <a:p>
            <a:pPr marL="657928" marR="0" lvl="1" indent="-342884" algn="just" defTabSz="422011" rtl="0" eaLnBrk="1" fontAlgn="base" latinLnBrk="0" hangingPunct="1">
              <a:lnSpc>
                <a:spcPct val="100000"/>
              </a:lnSpc>
              <a:spcBef>
                <a:spcPct val="20000"/>
              </a:spcBef>
              <a:spcAft>
                <a:spcPct val="0"/>
              </a:spcAft>
              <a:buClr>
                <a:srgbClr val="4472C4"/>
              </a:buClr>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Calibri"/>
                <a:ea typeface="+mn-ea"/>
                <a:cs typeface="+mn-cs"/>
              </a:rPr>
              <a:t>Support planning at regional and country level for achieving bOPV cessation</a:t>
            </a:r>
          </a:p>
          <a:p>
            <a:pPr marL="657928" marR="0" lvl="1" indent="-342884" algn="just" defTabSz="422011" rtl="0" eaLnBrk="1" fontAlgn="base" latinLnBrk="0" hangingPunct="1">
              <a:lnSpc>
                <a:spcPct val="100000"/>
              </a:lnSpc>
              <a:spcBef>
                <a:spcPct val="20000"/>
              </a:spcBef>
              <a:spcAft>
                <a:spcPct val="0"/>
              </a:spcAft>
              <a:buClr>
                <a:srgbClr val="4472C4"/>
              </a:buClr>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Calibri"/>
                <a:ea typeface="+mn-ea"/>
                <a:cs typeface="+mn-cs"/>
              </a:rPr>
              <a:t>Consideration of contingency plans</a:t>
            </a:r>
          </a:p>
          <a:p>
            <a:pPr marL="200750" marR="0" lvl="0" indent="-342884" algn="just" defTabSz="422011" rtl="0" eaLnBrk="1" fontAlgn="base" latinLnBrk="0" hangingPunct="1">
              <a:lnSpc>
                <a:spcPct val="100000"/>
              </a:lnSpc>
              <a:spcBef>
                <a:spcPct val="20000"/>
              </a:spcBef>
              <a:spcAft>
                <a:spcPct val="0"/>
              </a:spcAft>
              <a:buClr>
                <a:srgbClr val="4472C4"/>
              </a:buClr>
              <a:buSzTx/>
              <a:buFont typeface="Arial" panose="020B0604020202020204" pitchFamily="34" charset="0"/>
              <a:buChar char="•"/>
              <a:tabLst/>
              <a:defRPr/>
            </a:pPr>
            <a:r>
              <a:rPr kumimoji="0" lang="en-GB" sz="2400" b="1" i="0" u="none" strike="noStrike" kern="1200" cap="none" spc="0" normalizeH="0" baseline="0" noProof="0" dirty="0">
                <a:ln>
                  <a:noFill/>
                </a:ln>
                <a:solidFill>
                  <a:prstClr val="black"/>
                </a:solidFill>
                <a:effectLst/>
                <a:uLnTx/>
                <a:uFillTx/>
                <a:latin typeface="Calibri"/>
                <a:ea typeface="+mn-ea"/>
                <a:cs typeface="+mn-cs"/>
              </a:rPr>
              <a:t>SAGE deliberation</a:t>
            </a:r>
          </a:p>
          <a:p>
            <a:pPr marL="657928" marR="0" lvl="1" indent="-342884" algn="just" defTabSz="422011" rtl="0" eaLnBrk="1" fontAlgn="base" latinLnBrk="0" hangingPunct="1">
              <a:lnSpc>
                <a:spcPct val="100000"/>
              </a:lnSpc>
              <a:spcBef>
                <a:spcPct val="20000"/>
              </a:spcBef>
              <a:spcAft>
                <a:spcPct val="0"/>
              </a:spcAft>
              <a:buClr>
                <a:srgbClr val="4472C4"/>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SAGE reiterated its support for safe cessation of bOPV and strongly recommends commitment of necessary resources for proper coordination, and implementation. </a:t>
            </a:r>
            <a:endParaRPr kumimoji="0" lang="en-GB" sz="2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1668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0333C70-5AF1-AA2A-E910-7A2755263CEA}"/>
              </a:ext>
            </a:extLst>
          </p:cNvPr>
          <p:cNvSpPr>
            <a:spLocks noGrp="1"/>
          </p:cNvSpPr>
          <p:nvPr>
            <p:ph type="ftr" sz="quarter" idx="11"/>
          </p:nvPr>
        </p:nvSpPr>
        <p:spPr/>
        <p:txBody>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VB Director’s Report to SAGE</a:t>
            </a:r>
          </a:p>
        </p:txBody>
      </p:sp>
      <p:sp>
        <p:nvSpPr>
          <p:cNvPr id="3" name="Slide Number Placeholder 2">
            <a:extLst>
              <a:ext uri="{FF2B5EF4-FFF2-40B4-BE49-F238E27FC236}">
                <a16:creationId xmlns:a16="http://schemas.microsoft.com/office/drawing/2014/main" id="{D76EB6CE-E015-0C01-51F0-08C91904860D}"/>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914358" rtl="0" eaLnBrk="1" fontAlgn="auto" latinLnBrk="0" hangingPunct="1">
                <a:lnSpc>
                  <a:spcPct val="100000"/>
                </a:lnSpc>
                <a:spcBef>
                  <a:spcPts val="0"/>
                </a:spcBef>
                <a:spcAft>
                  <a:spcPts val="0"/>
                </a:spcAft>
                <a:buClrTx/>
                <a:buSzTx/>
                <a:buFontTx/>
                <a:buNone/>
                <a:tabLst/>
                <a:defRPr/>
              </a:pPr>
              <a:t>42</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5C9D0BB0-D953-210D-79A9-B6BD1D1A810C}"/>
              </a:ext>
            </a:extLst>
          </p:cNvPr>
          <p:cNvSpPr>
            <a:spLocks noGrp="1"/>
          </p:cNvSpPr>
          <p:nvPr>
            <p:ph type="title"/>
          </p:nvPr>
        </p:nvSpPr>
        <p:spPr>
          <a:xfrm>
            <a:off x="578027" y="537401"/>
            <a:ext cx="8056510" cy="406877"/>
          </a:xfrm>
        </p:spPr>
        <p:txBody>
          <a:bodyPr/>
          <a:lstStyle/>
          <a:p>
            <a:r>
              <a:rPr lang="en-GB" dirty="0">
                <a:solidFill>
                  <a:schemeClr val="accent1"/>
                </a:solidFill>
              </a:rPr>
              <a:t>Sabin-based Fractional IPV (</a:t>
            </a:r>
            <a:r>
              <a:rPr lang="en-GB" dirty="0" err="1">
                <a:solidFill>
                  <a:schemeClr val="accent1"/>
                </a:solidFill>
              </a:rPr>
              <a:t>sfIPV</a:t>
            </a:r>
            <a:r>
              <a:rPr lang="en-GB" dirty="0">
                <a:solidFill>
                  <a:schemeClr val="accent1"/>
                </a:solidFill>
              </a:rPr>
              <a:t>)</a:t>
            </a:r>
          </a:p>
        </p:txBody>
      </p:sp>
      <p:sp>
        <p:nvSpPr>
          <p:cNvPr id="5" name="TextBox 4">
            <a:extLst>
              <a:ext uri="{FF2B5EF4-FFF2-40B4-BE49-F238E27FC236}">
                <a16:creationId xmlns:a16="http://schemas.microsoft.com/office/drawing/2014/main" id="{F293B806-B1BA-7848-697F-B4E3E9B4742B}"/>
              </a:ext>
            </a:extLst>
          </p:cNvPr>
          <p:cNvSpPr txBox="1"/>
          <p:nvPr/>
        </p:nvSpPr>
        <p:spPr>
          <a:xfrm>
            <a:off x="374875" y="1298074"/>
            <a:ext cx="11442251" cy="5755416"/>
          </a:xfrm>
          <a:prstGeom prst="rect">
            <a:avLst/>
          </a:prstGeom>
          <a:noFill/>
        </p:spPr>
        <p:txBody>
          <a:bodyPr wrap="square" lIns="91434" tIns="45717" rIns="91434" bIns="45717" anchor="t">
            <a:spAutoFit/>
          </a:bodyPr>
          <a:lstStyle/>
          <a:p>
            <a:pPr marL="342884" marR="0" lvl="0" indent="-342884" algn="l" defTabSz="914358" rtl="0" eaLnBrk="1" fontAlgn="auto" latinLnBrk="0" hangingPunct="1">
              <a:lnSpc>
                <a:spcPct val="100000"/>
              </a:lnSpc>
              <a:spcBef>
                <a:spcPts val="1800"/>
              </a:spcBef>
              <a:spcAft>
                <a:spcPts val="1800"/>
              </a:spcAft>
              <a:buClr>
                <a:srgbClr val="C5EDF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Calibri"/>
                <a:cs typeface="Calibri"/>
              </a:rPr>
              <a:t>Fractional-dose IPV with Salk-based IPV has been used in the program for &gt;10 years (with SAGE’s endorsement): In RI in 6 countries (</a:t>
            </a:r>
            <a:r>
              <a:rPr kumimoji="0" lang="en-US" sz="2400" b="0" i="0" u="none" strike="noStrike" kern="1200" cap="none" spc="0" normalizeH="0" baseline="0" noProof="0" dirty="0" err="1">
                <a:ln>
                  <a:noFill/>
                </a:ln>
                <a:solidFill>
                  <a:srgbClr val="000000"/>
                </a:solidFill>
                <a:effectLst/>
                <a:uLnTx/>
                <a:uFillTx/>
                <a:latin typeface="Calibri"/>
                <a:ea typeface="Calibri"/>
                <a:cs typeface="Calibri"/>
              </a:rPr>
              <a:t>i.d.</a:t>
            </a:r>
            <a:r>
              <a:rPr kumimoji="0" lang="en-US" sz="2400" b="0" i="0" u="none" strike="noStrike" kern="1200" cap="none" spc="0" normalizeH="0" baseline="0" noProof="0" dirty="0">
                <a:ln>
                  <a:noFill/>
                </a:ln>
                <a:solidFill>
                  <a:srgbClr val="000000"/>
                </a:solidFill>
                <a:effectLst/>
                <a:uLnTx/>
                <a:uFillTx/>
                <a:latin typeface="Calibri"/>
                <a:ea typeface="Calibri"/>
                <a:cs typeface="Calibri"/>
              </a:rPr>
              <a:t>); For outbreak response (in endemics and in cVDPV2 outbreak countries) </a:t>
            </a:r>
          </a:p>
          <a:p>
            <a:pPr marL="342884" marR="0" lvl="0" indent="-342884" algn="l" defTabSz="914358" rtl="0" eaLnBrk="1" fontAlgn="auto" latinLnBrk="0" hangingPunct="1">
              <a:lnSpc>
                <a:spcPct val="100000"/>
              </a:lnSpc>
              <a:spcBef>
                <a:spcPts val="1800"/>
              </a:spcBef>
              <a:spcAft>
                <a:spcPts val="1800"/>
              </a:spcAft>
              <a:buClr>
                <a:srgbClr val="C5EDF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Calibri"/>
                <a:cs typeface="Calibri"/>
              </a:rPr>
              <a:t>In 2021, SAGE recommended that WHO‑prequalified FULL DOSE Sabin‑based IPV may be used interchangeably with traditional Salk‑based IPV</a:t>
            </a:r>
          </a:p>
          <a:p>
            <a:pPr marL="342884" marR="0" lvl="0" indent="-342884" algn="l" defTabSz="914358" rtl="0" eaLnBrk="1" fontAlgn="auto" latinLnBrk="0" hangingPunct="1">
              <a:lnSpc>
                <a:spcPct val="100000"/>
              </a:lnSpc>
              <a:spcBef>
                <a:spcPts val="1800"/>
              </a:spcBef>
              <a:spcAft>
                <a:spcPts val="1800"/>
              </a:spcAft>
              <a:buClr>
                <a:srgbClr val="C5EDF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Calibri"/>
                <a:cs typeface="Calibri"/>
              </a:rPr>
              <a:t>Full-dose </a:t>
            </a:r>
            <a:r>
              <a:rPr kumimoji="0" lang="en-US" sz="2400" b="0" i="0" u="none" strike="noStrike" kern="1200" cap="none" spc="0" normalizeH="0" baseline="0" noProof="0" dirty="0" err="1">
                <a:ln>
                  <a:noFill/>
                </a:ln>
                <a:solidFill>
                  <a:srgbClr val="000000"/>
                </a:solidFill>
                <a:effectLst/>
                <a:uLnTx/>
                <a:uFillTx/>
                <a:latin typeface="Calibri"/>
                <a:ea typeface="Calibri"/>
                <a:cs typeface="Calibri"/>
              </a:rPr>
              <a:t>sIPV</a:t>
            </a:r>
            <a:r>
              <a:rPr kumimoji="0" lang="en-US" sz="2400" b="0" i="0" u="none" strike="noStrike" kern="1200" cap="none" spc="0" normalizeH="0" baseline="0" noProof="0" dirty="0">
                <a:ln>
                  <a:noFill/>
                </a:ln>
                <a:solidFill>
                  <a:srgbClr val="000000"/>
                </a:solidFill>
                <a:effectLst/>
                <a:uLnTx/>
                <a:uFillTx/>
                <a:latin typeface="Calibri"/>
                <a:ea typeface="Calibri"/>
                <a:cs typeface="Calibri"/>
              </a:rPr>
              <a:t> is currently used in RI in &gt;40 countries</a:t>
            </a:r>
          </a:p>
          <a:p>
            <a:pPr marL="342884" marR="0" lvl="0" indent="-342884" algn="l" defTabSz="914358" rtl="0" eaLnBrk="1" fontAlgn="auto" latinLnBrk="0" hangingPunct="1">
              <a:lnSpc>
                <a:spcPct val="100000"/>
              </a:lnSpc>
              <a:spcBef>
                <a:spcPts val="1800"/>
              </a:spcBef>
              <a:spcAft>
                <a:spcPts val="1800"/>
              </a:spcAft>
              <a:buClr>
                <a:srgbClr val="C5EDF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a:ea typeface="Calibri"/>
                <a:cs typeface="Calibri"/>
              </a:rPr>
              <a:t>SAGE reviewed new clinical data on fraction Sabin-based IPV (</a:t>
            </a:r>
            <a:r>
              <a:rPr kumimoji="0" lang="en-US" sz="2400" b="0" i="0" u="none" strike="noStrike" kern="1200" cap="none" spc="0" normalizeH="0" baseline="0" noProof="0" dirty="0" err="1">
                <a:ln>
                  <a:noFill/>
                </a:ln>
                <a:solidFill>
                  <a:srgbClr val="000000"/>
                </a:solidFill>
                <a:effectLst/>
                <a:uLnTx/>
                <a:uFillTx/>
                <a:latin typeface="Calibri"/>
                <a:ea typeface="Calibri"/>
                <a:cs typeface="Calibri"/>
              </a:rPr>
              <a:t>fsIPV</a:t>
            </a:r>
            <a:r>
              <a:rPr kumimoji="0" lang="en-US" sz="2400" b="0" i="0" u="none" strike="noStrike" kern="1200" cap="none" spc="0" normalizeH="0" baseline="0" noProof="0" dirty="0">
                <a:ln>
                  <a:noFill/>
                </a:ln>
                <a:solidFill>
                  <a:srgbClr val="000000"/>
                </a:solidFill>
                <a:effectLst/>
                <a:uLnTx/>
                <a:uFillTx/>
                <a:latin typeface="Calibri"/>
                <a:ea typeface="Calibri"/>
                <a:cs typeface="Calibri"/>
              </a:rPr>
              <a:t>) and concluded that </a:t>
            </a:r>
            <a:r>
              <a:rPr kumimoji="0" lang="en-US" sz="2400" b="0" i="0" u="none" strike="noStrike" kern="1200" cap="none" spc="0" normalizeH="0" baseline="0" noProof="0" dirty="0" err="1">
                <a:ln>
                  <a:noFill/>
                </a:ln>
                <a:solidFill>
                  <a:srgbClr val="000000"/>
                </a:solidFill>
                <a:effectLst/>
                <a:uLnTx/>
                <a:uFillTx/>
                <a:latin typeface="Calibri"/>
                <a:ea typeface="Calibri"/>
                <a:cs typeface="Calibri"/>
              </a:rPr>
              <a:t>fsIPV</a:t>
            </a:r>
            <a:r>
              <a:rPr kumimoji="0" lang="en-US" sz="2400" b="0" i="0" u="none" strike="noStrike" kern="1200" cap="none" spc="0" normalizeH="0" baseline="0" noProof="0" dirty="0">
                <a:ln>
                  <a:noFill/>
                </a:ln>
                <a:solidFill>
                  <a:srgbClr val="000000"/>
                </a:solidFill>
                <a:effectLst/>
                <a:uLnTx/>
                <a:uFillTx/>
                <a:latin typeface="Calibri"/>
                <a:ea typeface="Calibri"/>
                <a:cs typeface="Calibri"/>
              </a:rPr>
              <a:t> may be used in the same way as Salk based </a:t>
            </a:r>
            <a:r>
              <a:rPr kumimoji="0" lang="en-US" sz="2400" b="0" i="0" u="none" strike="noStrike" kern="1200" cap="none" spc="0" normalizeH="0" baseline="0" noProof="0" dirty="0" err="1">
                <a:ln>
                  <a:noFill/>
                </a:ln>
                <a:solidFill>
                  <a:srgbClr val="000000"/>
                </a:solidFill>
                <a:effectLst/>
                <a:uLnTx/>
                <a:uFillTx/>
                <a:latin typeface="Calibri"/>
                <a:ea typeface="Calibri"/>
                <a:cs typeface="Calibri"/>
              </a:rPr>
              <a:t>fIPV</a:t>
            </a:r>
            <a:r>
              <a:rPr kumimoji="0" lang="en-US" sz="2400" b="0" i="0" u="none" strike="noStrike" kern="1200" cap="none" spc="0" normalizeH="0" baseline="0" noProof="0" dirty="0">
                <a:ln>
                  <a:noFill/>
                </a:ln>
                <a:solidFill>
                  <a:srgbClr val="000000"/>
                </a:solidFill>
                <a:effectLst/>
                <a:uLnTx/>
                <a:uFillTx/>
                <a:latin typeface="Calibri"/>
                <a:ea typeface="Calibri"/>
                <a:cs typeface="Calibri"/>
              </a:rPr>
              <a:t> is currently used expanding programmatic options for RI and outbreak response</a:t>
            </a:r>
          </a:p>
          <a:p>
            <a:pPr marL="342884" marR="0" lvl="0" indent="-342884" algn="l" defTabSz="914358" rtl="0" eaLnBrk="1" fontAlgn="auto" latinLnBrk="0" hangingPunct="1">
              <a:lnSpc>
                <a:spcPct val="100000"/>
              </a:lnSpc>
              <a:spcBef>
                <a:spcPts val="1800"/>
              </a:spcBef>
              <a:spcAft>
                <a:spcPts val="1800"/>
              </a:spcAft>
              <a:buClr>
                <a:srgbClr val="C5EDFF"/>
              </a:buClr>
              <a:buSzTx/>
              <a:buFont typeface="Arial" panose="020B0604020202020204" pitchFamily="34" charset="0"/>
              <a:buChar char="•"/>
              <a:tabLst/>
              <a:defRPr/>
            </a:pPr>
            <a:endParaRPr kumimoji="0" lang="en-US" sz="3200" b="0" i="0" u="none" strike="noStrike" kern="1200" cap="none" spc="0" normalizeH="0" baseline="0" noProof="0" dirty="0">
              <a:ln>
                <a:noFill/>
              </a:ln>
              <a:solidFill>
                <a:srgbClr val="000000"/>
              </a:solidFill>
              <a:effectLst/>
              <a:uLnTx/>
              <a:uFillTx/>
              <a:latin typeface="Calibri"/>
              <a:ea typeface="Calibri"/>
              <a:cs typeface="Calibri"/>
            </a:endParaRPr>
          </a:p>
        </p:txBody>
      </p:sp>
    </p:spTree>
    <p:extLst>
      <p:ext uri="{BB962C8B-B14F-4D97-AF65-F5344CB8AC3E}">
        <p14:creationId xmlns:p14="http://schemas.microsoft.com/office/powerpoint/2010/main" val="28357902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9BB1E53-C041-366D-D234-D5D894D095E9}"/>
              </a:ext>
            </a:extLst>
          </p:cNvPr>
          <p:cNvSpPr>
            <a:spLocks noGrp="1"/>
          </p:cNvSpPr>
          <p:nvPr>
            <p:ph type="ftr" sz="quarter" idx="11"/>
          </p:nvPr>
        </p:nvSpPr>
        <p:spPr/>
        <p:txBody>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VB Director’s Report to SAGE</a:t>
            </a:r>
          </a:p>
        </p:txBody>
      </p:sp>
      <p:sp>
        <p:nvSpPr>
          <p:cNvPr id="3" name="Slide Number Placeholder 2">
            <a:extLst>
              <a:ext uri="{FF2B5EF4-FFF2-40B4-BE49-F238E27FC236}">
                <a16:creationId xmlns:a16="http://schemas.microsoft.com/office/drawing/2014/main" id="{DEDD422D-ECD2-3A96-AECB-933B2CDE2640}"/>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914358" rtl="0" eaLnBrk="1" fontAlgn="auto" latinLnBrk="0" hangingPunct="1">
                <a:lnSpc>
                  <a:spcPct val="100000"/>
                </a:lnSpc>
                <a:spcBef>
                  <a:spcPts val="0"/>
                </a:spcBef>
                <a:spcAft>
                  <a:spcPts val="0"/>
                </a:spcAft>
                <a:buClrTx/>
                <a:buSzTx/>
                <a:buFontTx/>
                <a:buNone/>
                <a:tabLst/>
                <a:defRPr/>
              </a:pPr>
              <a:t>43</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15A21FE2-DD96-895B-4F9C-730E701CD5FB}"/>
              </a:ext>
            </a:extLst>
          </p:cNvPr>
          <p:cNvSpPr>
            <a:spLocks noGrp="1"/>
          </p:cNvSpPr>
          <p:nvPr>
            <p:ph type="title"/>
          </p:nvPr>
        </p:nvSpPr>
        <p:spPr>
          <a:xfrm>
            <a:off x="578027" y="537401"/>
            <a:ext cx="9237045" cy="406877"/>
          </a:xfrm>
        </p:spPr>
        <p:txBody>
          <a:bodyPr/>
          <a:lstStyle/>
          <a:p>
            <a:r>
              <a:rPr lang="en-GB" dirty="0">
                <a:solidFill>
                  <a:schemeClr val="accent1"/>
                </a:solidFill>
              </a:rPr>
              <a:t>bOPV in RI after wP-Hexa Introduction</a:t>
            </a:r>
          </a:p>
        </p:txBody>
      </p:sp>
      <p:sp>
        <p:nvSpPr>
          <p:cNvPr id="6" name="TextBox 5">
            <a:extLst>
              <a:ext uri="{FF2B5EF4-FFF2-40B4-BE49-F238E27FC236}">
                <a16:creationId xmlns:a16="http://schemas.microsoft.com/office/drawing/2014/main" id="{8812852D-DFE3-17E8-833A-7271D4DD3A43}"/>
              </a:ext>
            </a:extLst>
          </p:cNvPr>
          <p:cNvSpPr txBox="1"/>
          <p:nvPr/>
        </p:nvSpPr>
        <p:spPr>
          <a:xfrm>
            <a:off x="528133" y="1557325"/>
            <a:ext cx="11442251" cy="4031867"/>
          </a:xfrm>
          <a:prstGeom prst="rect">
            <a:avLst/>
          </a:prstGeom>
          <a:noFill/>
        </p:spPr>
        <p:txBody>
          <a:bodyPr wrap="square" lIns="91434" tIns="45717" rIns="91434" bIns="45717" anchor="t">
            <a:spAutoFit/>
          </a:bodyPr>
          <a:lstStyle/>
          <a:p>
            <a:pPr marL="342884" marR="0" lvl="0" indent="-342884" algn="l" defTabSz="914358" rtl="0" eaLnBrk="1" fontAlgn="auto" latinLnBrk="0" hangingPunct="1">
              <a:lnSpc>
                <a:spcPct val="100000"/>
              </a:lnSpc>
              <a:spcBef>
                <a:spcPts val="600"/>
              </a:spcBef>
              <a:spcAft>
                <a:spcPts val="600"/>
              </a:spcAft>
              <a:buClr>
                <a:srgbClr val="5B9BD5"/>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Calibri"/>
                <a:cs typeface="Calibri"/>
              </a:rPr>
              <a:t>wP-Hexa is being progressively introduced to replace stand-alone IPV vaccines in OPV-using countries</a:t>
            </a:r>
          </a:p>
          <a:p>
            <a:pPr marL="342884" marR="0" lvl="0" indent="-342884" algn="l" defTabSz="914358" rtl="0" eaLnBrk="1" fontAlgn="auto" latinLnBrk="0" hangingPunct="1">
              <a:lnSpc>
                <a:spcPct val="100000"/>
              </a:lnSpc>
              <a:spcBef>
                <a:spcPts val="600"/>
              </a:spcBef>
              <a:spcAft>
                <a:spcPts val="600"/>
              </a:spcAft>
              <a:buClr>
                <a:srgbClr val="5B9BD5"/>
              </a:buClr>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a:ea typeface="Calibri"/>
              <a:cs typeface="Calibri"/>
            </a:endParaRPr>
          </a:p>
          <a:p>
            <a:pPr marL="342884" marR="0" lvl="0" indent="-342884" algn="l" defTabSz="914358" rtl="0" eaLnBrk="1" fontAlgn="auto" latinLnBrk="0" hangingPunct="1">
              <a:lnSpc>
                <a:spcPct val="100000"/>
              </a:lnSpc>
              <a:spcBef>
                <a:spcPts val="600"/>
              </a:spcBef>
              <a:spcAft>
                <a:spcPts val="600"/>
              </a:spcAft>
              <a:buClr>
                <a:srgbClr val="5B9BD5"/>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Calibri"/>
                <a:cs typeface="Calibri"/>
              </a:rPr>
              <a:t>Several countries have expressed uncertainty around whether the introduction of a 3-dose wP-Hexa schedule necessitates changes to the bOPV RI schedule</a:t>
            </a:r>
          </a:p>
          <a:p>
            <a:pPr marL="342884" marR="0" lvl="0" indent="-342884" algn="l" defTabSz="914358" rtl="0" eaLnBrk="1" fontAlgn="auto" latinLnBrk="0" hangingPunct="1">
              <a:lnSpc>
                <a:spcPct val="100000"/>
              </a:lnSpc>
              <a:spcBef>
                <a:spcPts val="600"/>
              </a:spcBef>
              <a:spcAft>
                <a:spcPts val="600"/>
              </a:spcAft>
              <a:buClr>
                <a:srgbClr val="5B9BD5"/>
              </a:buClr>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a:ea typeface="Calibri"/>
              <a:cs typeface="Calibri"/>
            </a:endParaRPr>
          </a:p>
          <a:p>
            <a:pPr marL="342884" marR="0" lvl="0" indent="-342884" algn="l" defTabSz="914358" rtl="0" eaLnBrk="1" fontAlgn="auto" latinLnBrk="0" hangingPunct="1">
              <a:lnSpc>
                <a:spcPct val="100000"/>
              </a:lnSpc>
              <a:spcBef>
                <a:spcPts val="600"/>
              </a:spcBef>
              <a:spcAft>
                <a:spcPts val="600"/>
              </a:spcAft>
              <a:buClr>
                <a:srgbClr val="5B9BD5"/>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Calibri"/>
                <a:cs typeface="Calibri"/>
              </a:rPr>
              <a:t>SAGE reiterated that bOPV-using countries introducing </a:t>
            </a:r>
            <a:r>
              <a:rPr kumimoji="0" lang="en-US" sz="2400" b="0" i="0" u="none" strike="noStrike" kern="1200" cap="none" spc="0" normalizeH="0" baseline="0" noProof="0" dirty="0" err="1">
                <a:ln>
                  <a:noFill/>
                </a:ln>
                <a:solidFill>
                  <a:prstClr val="black"/>
                </a:solidFill>
                <a:effectLst/>
                <a:uLnTx/>
                <a:uFillTx/>
                <a:latin typeface="Calibri"/>
                <a:ea typeface="Calibri"/>
                <a:cs typeface="Calibri"/>
              </a:rPr>
              <a:t>wP</a:t>
            </a:r>
            <a:r>
              <a:rPr kumimoji="0" lang="en-US" sz="2400" b="0" i="0" u="none" strike="noStrike" kern="1200" cap="none" spc="0" normalizeH="0" baseline="0" noProof="0" dirty="0">
                <a:ln>
                  <a:noFill/>
                </a:ln>
                <a:solidFill>
                  <a:prstClr val="black"/>
                </a:solidFill>
                <a:effectLst/>
                <a:uLnTx/>
                <a:uFillTx/>
                <a:latin typeface="Calibri"/>
                <a:ea typeface="Calibri"/>
                <a:cs typeface="Calibri"/>
              </a:rPr>
              <a:t>-Hexavalent vaccine into RI should continue using bOPV without change in the number of doses until further guidance is available</a:t>
            </a:r>
          </a:p>
        </p:txBody>
      </p:sp>
    </p:spTree>
    <p:extLst>
      <p:ext uri="{BB962C8B-B14F-4D97-AF65-F5344CB8AC3E}">
        <p14:creationId xmlns:p14="http://schemas.microsoft.com/office/powerpoint/2010/main" val="42369585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FCC0F19-14F3-A11A-92C2-2A49E533D6DC}"/>
              </a:ext>
            </a:extLst>
          </p:cNvPr>
          <p:cNvSpPr>
            <a:spLocks noGrp="1"/>
          </p:cNvSpPr>
          <p:nvPr>
            <p:ph type="ftr" sz="quarter" idx="11"/>
          </p:nvPr>
        </p:nvSpPr>
        <p:spPr/>
        <p:txBody>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VB Director’s Report to SAGE</a:t>
            </a:r>
          </a:p>
        </p:txBody>
      </p:sp>
      <p:sp>
        <p:nvSpPr>
          <p:cNvPr id="3" name="Slide Number Placeholder 2">
            <a:extLst>
              <a:ext uri="{FF2B5EF4-FFF2-40B4-BE49-F238E27FC236}">
                <a16:creationId xmlns:a16="http://schemas.microsoft.com/office/drawing/2014/main" id="{D9E3CD05-C2BA-6087-934E-DD3D81B67AF5}"/>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914358" rtl="0" eaLnBrk="1" fontAlgn="auto" latinLnBrk="0" hangingPunct="1">
                <a:lnSpc>
                  <a:spcPct val="100000"/>
                </a:lnSpc>
                <a:spcBef>
                  <a:spcPts val="0"/>
                </a:spcBef>
                <a:spcAft>
                  <a:spcPts val="0"/>
                </a:spcAft>
                <a:buClrTx/>
                <a:buSzTx/>
                <a:buFontTx/>
                <a:buNone/>
                <a:tabLst/>
                <a:defRPr/>
              </a:pPr>
              <a:t>44</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93D2CB8A-E8FF-1B75-0CD2-2F016BB8E7C5}"/>
              </a:ext>
            </a:extLst>
          </p:cNvPr>
          <p:cNvSpPr>
            <a:spLocks noGrp="1"/>
          </p:cNvSpPr>
          <p:nvPr>
            <p:ph type="title"/>
          </p:nvPr>
        </p:nvSpPr>
        <p:spPr>
          <a:xfrm>
            <a:off x="578026" y="352219"/>
            <a:ext cx="5080926" cy="414252"/>
          </a:xfrm>
        </p:spPr>
        <p:txBody>
          <a:bodyPr/>
          <a:lstStyle/>
          <a:p>
            <a:r>
              <a:rPr lang="en-GB" dirty="0">
                <a:solidFill>
                  <a:schemeClr val="accent1"/>
                </a:solidFill>
              </a:rPr>
              <a:t>Expanded use of nOPV2</a:t>
            </a:r>
          </a:p>
        </p:txBody>
      </p:sp>
      <p:sp>
        <p:nvSpPr>
          <p:cNvPr id="6" name="TextBox 5">
            <a:extLst>
              <a:ext uri="{FF2B5EF4-FFF2-40B4-BE49-F238E27FC236}">
                <a16:creationId xmlns:a16="http://schemas.microsoft.com/office/drawing/2014/main" id="{8205FFF4-A2B6-9C3B-C7D0-69FC47A9CAFA}"/>
              </a:ext>
            </a:extLst>
          </p:cNvPr>
          <p:cNvSpPr txBox="1"/>
          <p:nvPr/>
        </p:nvSpPr>
        <p:spPr>
          <a:xfrm>
            <a:off x="175966" y="884565"/>
            <a:ext cx="11840069" cy="6370975"/>
          </a:xfrm>
          <a:prstGeom prst="rect">
            <a:avLst/>
          </a:prstGeom>
          <a:noFill/>
        </p:spPr>
        <p:txBody>
          <a:bodyPr wrap="square">
            <a:spAutoFit/>
          </a:bodyPr>
          <a:lstStyle/>
          <a:p>
            <a:pPr marL="342884" marR="0" lvl="0" indent="-342884" algn="l" defTabSz="914358" rtl="0" eaLnBrk="1" fontAlgn="auto" latinLnBrk="0" hangingPunct="1">
              <a:lnSpc>
                <a:spcPct val="100000"/>
              </a:lnSpc>
              <a:spcBef>
                <a:spcPts val="1800"/>
              </a:spcBef>
              <a:spcAft>
                <a:spcPts val="1800"/>
              </a:spcAft>
              <a:buClr>
                <a:srgbClr val="5B9BD5"/>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Calibri"/>
                <a:cs typeface="Calibri"/>
              </a:rPr>
              <a:t>Current Standard Operating Procedures focus on outbreak response campaigns (SIAs) with nOPV2 and are effective in stopping the outbreaks in most geographies </a:t>
            </a:r>
          </a:p>
          <a:p>
            <a:pPr marL="342884" marR="0" lvl="0" indent="-342884" algn="l" defTabSz="914358" rtl="0" eaLnBrk="1" fontAlgn="auto" latinLnBrk="0" hangingPunct="1">
              <a:lnSpc>
                <a:spcPct val="100000"/>
              </a:lnSpc>
              <a:spcBef>
                <a:spcPts val="1800"/>
              </a:spcBef>
              <a:spcAft>
                <a:spcPts val="1800"/>
              </a:spcAft>
              <a:buClr>
                <a:srgbClr val="5B9BD5"/>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Calibri"/>
                <a:cs typeface="Calibri"/>
              </a:rPr>
              <a:t>D</a:t>
            </a:r>
            <a:r>
              <a:rPr kumimoji="0" lang="en-US" sz="2400" b="0" i="0" u="none" strike="noStrike" kern="1200" cap="none" spc="0" normalizeH="0" baseline="0" noProof="0" dirty="0" err="1">
                <a:ln>
                  <a:noFill/>
                </a:ln>
                <a:solidFill>
                  <a:prstClr val="black"/>
                </a:solidFill>
                <a:effectLst/>
                <a:uLnTx/>
                <a:uFillTx/>
                <a:latin typeface="Calibri"/>
                <a:ea typeface="Calibri"/>
                <a:cs typeface="Calibri"/>
              </a:rPr>
              <a:t>eclining</a:t>
            </a:r>
            <a:r>
              <a:rPr kumimoji="0" lang="en-US" sz="2400" b="0" i="0" u="none" strike="noStrike" kern="1200" cap="none" spc="0" normalizeH="0" baseline="0" noProof="0" dirty="0">
                <a:ln>
                  <a:noFill/>
                </a:ln>
                <a:solidFill>
                  <a:prstClr val="black"/>
                </a:solidFill>
                <a:effectLst/>
                <a:uLnTx/>
                <a:uFillTx/>
                <a:latin typeface="Calibri"/>
                <a:ea typeface="Calibri"/>
                <a:cs typeface="Calibri"/>
              </a:rPr>
              <a:t> population mucosal immunity against polio type 2 necessitates use of nOPV2 beyond the conventional mode of SIA delivery in areas of persistent cVDPV2 transmission</a:t>
            </a:r>
          </a:p>
          <a:p>
            <a:pPr marL="342884" marR="0" lvl="0" indent="-342884" algn="l" defTabSz="914358" rtl="0" eaLnBrk="1" fontAlgn="auto" latinLnBrk="0" hangingPunct="1">
              <a:lnSpc>
                <a:spcPct val="100000"/>
              </a:lnSpc>
              <a:spcBef>
                <a:spcPts val="1800"/>
              </a:spcBef>
              <a:spcAft>
                <a:spcPts val="1800"/>
              </a:spcAft>
              <a:buClr>
                <a:srgbClr val="5B9BD5"/>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Calibri"/>
                <a:cs typeface="Calibri"/>
              </a:rPr>
              <a:t>SAGE supports countries to expand nOPV2 use to interrupt cVDPV2s in select geographies with persistent transmission (defined as uninterrupted transmission for &gt;6 months) with administration of the vaccine through all possible opportunities outside of traditional and time-limited modalities of polio SIAs This approach will provide countries an outbreak response tool to be implemented alongside existing strategies such as SIAs. </a:t>
            </a:r>
          </a:p>
          <a:p>
            <a:pPr marL="342884" marR="0" lvl="0" indent="-342884" algn="l" defTabSz="914358" rtl="0" eaLnBrk="1" fontAlgn="auto" latinLnBrk="0" hangingPunct="1">
              <a:lnSpc>
                <a:spcPct val="100000"/>
              </a:lnSpc>
              <a:spcBef>
                <a:spcPts val="1800"/>
              </a:spcBef>
              <a:spcAft>
                <a:spcPts val="1800"/>
              </a:spcAft>
              <a:buClr>
                <a:srgbClr val="5B9BD5"/>
              </a:buClr>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Calibri"/>
                <a:cs typeface="Calibri"/>
              </a:rPr>
              <a:t>Specific and contextualized guidance will be provided by WHO technical teams in the affected geographies</a:t>
            </a:r>
            <a:r>
              <a:rPr kumimoji="0" lang="en-US" sz="2400" b="0" i="0" u="none" strike="noStrike" kern="1200" cap="none" spc="0" normalizeH="0" baseline="0" noProof="0" dirty="0">
                <a:ln>
                  <a:noFill/>
                </a:ln>
                <a:solidFill>
                  <a:srgbClr val="000000"/>
                </a:solidFill>
                <a:effectLst/>
                <a:uLnTx/>
                <a:uFillTx/>
                <a:latin typeface="Poppins"/>
                <a:ea typeface="+mn-ea"/>
                <a:cs typeface="+mn-cs"/>
              </a:rPr>
              <a:t>. </a:t>
            </a:r>
          </a:p>
          <a:p>
            <a:pPr marL="342884" marR="0" lvl="0" indent="-342884" algn="l" defTabSz="914358" rtl="0" eaLnBrk="1" fontAlgn="auto" latinLnBrk="0" hangingPunct="1">
              <a:lnSpc>
                <a:spcPct val="100000"/>
              </a:lnSpc>
              <a:spcBef>
                <a:spcPts val="1800"/>
              </a:spcBef>
              <a:spcAft>
                <a:spcPts val="1800"/>
              </a:spcAft>
              <a:buClr>
                <a:srgbClr val="5B9BD5"/>
              </a:buClr>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Poppins"/>
              <a:ea typeface="+mn-ea"/>
              <a:cs typeface="+mn-cs"/>
            </a:endParaRPr>
          </a:p>
        </p:txBody>
      </p:sp>
    </p:spTree>
    <p:extLst>
      <p:ext uri="{BB962C8B-B14F-4D97-AF65-F5344CB8AC3E}">
        <p14:creationId xmlns:p14="http://schemas.microsoft.com/office/powerpoint/2010/main" val="525854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49E90-6959-7C5D-FA57-925C867F2211}"/>
            </a:ext>
          </a:extLst>
        </p:cNvPr>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8A246802-A8E3-518A-E50D-A52EA4AD2F46}"/>
              </a:ext>
            </a:extLst>
          </p:cNvPr>
          <p:cNvSpPr>
            <a:spLocks noGrp="1"/>
          </p:cNvSpPr>
          <p:nvPr>
            <p:ph type="sldNum" sz="quarter" idx="12"/>
          </p:nvPr>
        </p:nvSpPr>
        <p:spPr>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45</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279194FD-8370-DF7D-9E71-DD461C579BE3}"/>
              </a:ext>
            </a:extLst>
          </p:cNvPr>
          <p:cNvSpPr>
            <a:spLocks noGrp="1"/>
          </p:cNvSpPr>
          <p:nvPr>
            <p:ph type="title"/>
          </p:nvPr>
        </p:nvSpPr>
        <p:spPr>
          <a:xfrm>
            <a:off x="441378" y="212931"/>
            <a:ext cx="10883492" cy="339067"/>
          </a:xfrm>
        </p:spPr>
        <p:txBody>
          <a:bodyPr/>
          <a:lstStyle/>
          <a:p>
            <a:r>
              <a:rPr lang="fr-CH" sz="2426">
                <a:latin typeface="Poppins SemiBold"/>
                <a:ea typeface="Roboto"/>
                <a:cs typeface="Poppins SemiBold"/>
              </a:rPr>
              <a:t>POLIOMYELITIS – OBSERVATIONS AND RECOMMENDATIONS (1/2)</a:t>
            </a:r>
            <a:endParaRPr lang="en-US" sz="2426">
              <a:latin typeface="Poppins SemiBold"/>
              <a:ea typeface="Roboto"/>
              <a:cs typeface="Poppins SemiBold"/>
            </a:endParaRPr>
          </a:p>
        </p:txBody>
      </p:sp>
      <p:sp>
        <p:nvSpPr>
          <p:cNvPr id="5" name="Text Placeholder 4">
            <a:extLst>
              <a:ext uri="{FF2B5EF4-FFF2-40B4-BE49-F238E27FC236}">
                <a16:creationId xmlns:a16="http://schemas.microsoft.com/office/drawing/2014/main" id="{F847CB14-BCB3-9117-18BF-F574586730FC}"/>
              </a:ext>
            </a:extLst>
          </p:cNvPr>
          <p:cNvSpPr>
            <a:spLocks noGrp="1"/>
          </p:cNvSpPr>
          <p:nvPr>
            <p:ph type="body" sz="quarter" idx="13"/>
          </p:nvPr>
        </p:nvSpPr>
        <p:spPr>
          <a:xfrm>
            <a:off x="578025" y="1338046"/>
            <a:ext cx="5080927" cy="261290"/>
          </a:xfrm>
        </p:spPr>
        <p:txBody>
          <a:bodyPr/>
          <a:lstStyle/>
          <a:p>
            <a:endParaRPr lang="en-GB"/>
          </a:p>
        </p:txBody>
      </p:sp>
      <p:sp>
        <p:nvSpPr>
          <p:cNvPr id="7" name="Rectangle: Rounded Corners 6">
            <a:extLst>
              <a:ext uri="{FF2B5EF4-FFF2-40B4-BE49-F238E27FC236}">
                <a16:creationId xmlns:a16="http://schemas.microsoft.com/office/drawing/2014/main" id="{FF4EC5F6-A66B-BDBD-5324-69701160B5F1}"/>
              </a:ext>
            </a:extLst>
          </p:cNvPr>
          <p:cNvSpPr/>
          <p:nvPr/>
        </p:nvSpPr>
        <p:spPr>
          <a:xfrm>
            <a:off x="459784" y="928106"/>
            <a:ext cx="11010644" cy="998861"/>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34" tIns="45717" rIns="91434" bIns="45717" rtlCol="0" anchor="ctr"/>
          <a:lstStyle/>
          <a:p>
            <a:pPr marL="1198189"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oppins"/>
                <a:ea typeface="+mn-ea"/>
                <a:cs typeface="Poppins"/>
              </a:rPr>
              <a:t>SAGE was concerned about continued transmission of wild poliovirus in Pakistan and Afghanistan, the persistent transmission of circulating vaccine-derived poliovirus type 2 (cVDPV2) in many African countries, and continued detections of cVDPV2 in wastewater samples in Europe. </a:t>
            </a:r>
          </a:p>
        </p:txBody>
      </p:sp>
      <p:sp>
        <p:nvSpPr>
          <p:cNvPr id="14" name="Rectangle: Rounded Corners 13">
            <a:extLst>
              <a:ext uri="{FF2B5EF4-FFF2-40B4-BE49-F238E27FC236}">
                <a16:creationId xmlns:a16="http://schemas.microsoft.com/office/drawing/2014/main" id="{2894D764-1872-76F6-A2B6-98A13DE5E0CC}"/>
              </a:ext>
            </a:extLst>
          </p:cNvPr>
          <p:cNvSpPr/>
          <p:nvPr/>
        </p:nvSpPr>
        <p:spPr>
          <a:xfrm>
            <a:off x="523360" y="2009276"/>
            <a:ext cx="10883492" cy="1224359"/>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oppins"/>
                <a:ea typeface="Source Sans Pro"/>
                <a:cs typeface="Poppins"/>
              </a:rPr>
              <a:t>SAGE reaffirmed its support for the safe cessation of bivalent oral poliovirus vaccines (bOPV) from routine immunization and urged that necessary resources to achieve safe bOPV cessation be mobilized.</a:t>
            </a:r>
          </a:p>
        </p:txBody>
      </p:sp>
      <p:sp>
        <p:nvSpPr>
          <p:cNvPr id="15" name="Rectangle: Rounded Corners 14">
            <a:extLst>
              <a:ext uri="{FF2B5EF4-FFF2-40B4-BE49-F238E27FC236}">
                <a16:creationId xmlns:a16="http://schemas.microsoft.com/office/drawing/2014/main" id="{63D853AA-22CF-96B9-9CE2-99FAE4F098E5}"/>
              </a:ext>
            </a:extLst>
          </p:cNvPr>
          <p:cNvSpPr/>
          <p:nvPr/>
        </p:nvSpPr>
        <p:spPr>
          <a:xfrm>
            <a:off x="559037" y="3315945"/>
            <a:ext cx="10911391" cy="678974"/>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oppins"/>
                <a:ea typeface="Source Sans Pro"/>
                <a:cs typeface="Poppins"/>
              </a:rPr>
              <a:t>SAGE recommended the use of fractional doses, including intradermal doses, of Sabin-based inactivated poliovirus vaccines (IPV) in a similar way to the use of fractional doses of Salk-based IPV.</a:t>
            </a:r>
          </a:p>
        </p:txBody>
      </p:sp>
      <p:sp>
        <p:nvSpPr>
          <p:cNvPr id="10" name="Rectangle: Rounded Corners 9">
            <a:extLst>
              <a:ext uri="{FF2B5EF4-FFF2-40B4-BE49-F238E27FC236}">
                <a16:creationId xmlns:a16="http://schemas.microsoft.com/office/drawing/2014/main" id="{270FAEB1-BB1B-5E64-0A36-162E4134F4CE}"/>
              </a:ext>
            </a:extLst>
          </p:cNvPr>
          <p:cNvSpPr/>
          <p:nvPr/>
        </p:nvSpPr>
        <p:spPr>
          <a:xfrm>
            <a:off x="523360" y="4087304"/>
            <a:ext cx="10883492" cy="1074389"/>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oppins"/>
                <a:ea typeface="Source Sans Pro"/>
                <a:cs typeface="Poppins"/>
              </a:rPr>
              <a:t>SAGE reiterated that bOPV-using countries introducing the whole-cell pertussis hexavalent vaccines  should continue administering bOPV without change in the number of bOPV doses in routine immunization schedule, until further guidance on bOPV cessation is provided.</a:t>
            </a:r>
          </a:p>
        </p:txBody>
      </p:sp>
      <p:sp>
        <p:nvSpPr>
          <p:cNvPr id="2" name="Rectangle: Rounded Corners 1">
            <a:extLst>
              <a:ext uri="{FF2B5EF4-FFF2-40B4-BE49-F238E27FC236}">
                <a16:creationId xmlns:a16="http://schemas.microsoft.com/office/drawing/2014/main" id="{C55C49FF-7E44-2E3F-8BBA-4E10C887B2B0}"/>
              </a:ext>
            </a:extLst>
          </p:cNvPr>
          <p:cNvSpPr/>
          <p:nvPr/>
        </p:nvSpPr>
        <p:spPr>
          <a:xfrm>
            <a:off x="578025" y="5254078"/>
            <a:ext cx="10911391" cy="678974"/>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oppins"/>
                <a:ea typeface="Source Sans Pro"/>
                <a:cs typeface="Poppins"/>
              </a:rPr>
              <a:t>SAGE expressed its support for the expanded use of the novel type 2 oral poliovirus vaccine (nOPV2) as part of the response to reduce cVDPV2 transmission in select geographies with persistent transmission of cVDPV2. </a:t>
            </a:r>
          </a:p>
        </p:txBody>
      </p:sp>
      <p:pic>
        <p:nvPicPr>
          <p:cNvPr id="8" name="Graphic 7" descr="Germ outline">
            <a:extLst>
              <a:ext uri="{FF2B5EF4-FFF2-40B4-BE49-F238E27FC236}">
                <a16:creationId xmlns:a16="http://schemas.microsoft.com/office/drawing/2014/main" id="{60585461-CCB2-605C-EB02-96CDFEC05B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2109" y="1057002"/>
            <a:ext cx="554493" cy="554493"/>
          </a:xfrm>
          <a:prstGeom prst="rect">
            <a:avLst/>
          </a:prstGeom>
        </p:spPr>
      </p:pic>
      <p:pic>
        <p:nvPicPr>
          <p:cNvPr id="11" name="Graphic 10" descr="Immunity outline">
            <a:extLst>
              <a:ext uri="{FF2B5EF4-FFF2-40B4-BE49-F238E27FC236}">
                <a16:creationId xmlns:a16="http://schemas.microsoft.com/office/drawing/2014/main" id="{79B9B7C1-A6DB-440B-1890-83F4A45AD80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3719" y="2258404"/>
            <a:ext cx="554493" cy="554493"/>
          </a:xfrm>
          <a:prstGeom prst="rect">
            <a:avLst/>
          </a:prstGeom>
        </p:spPr>
      </p:pic>
      <p:pic>
        <p:nvPicPr>
          <p:cNvPr id="13" name="Graphic 12" descr="Disconnected outline">
            <a:extLst>
              <a:ext uri="{FF2B5EF4-FFF2-40B4-BE49-F238E27FC236}">
                <a16:creationId xmlns:a16="http://schemas.microsoft.com/office/drawing/2014/main" id="{45F29203-CBAE-DD8D-4CDC-AC66AF8BEB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9122" y="3336584"/>
            <a:ext cx="554493" cy="554493"/>
          </a:xfrm>
          <a:prstGeom prst="rect">
            <a:avLst/>
          </a:prstGeom>
        </p:spPr>
      </p:pic>
      <p:pic>
        <p:nvPicPr>
          <p:cNvPr id="17" name="Graphic 16" descr="Needle outline">
            <a:extLst>
              <a:ext uri="{FF2B5EF4-FFF2-40B4-BE49-F238E27FC236}">
                <a16:creationId xmlns:a16="http://schemas.microsoft.com/office/drawing/2014/main" id="{165E78A2-C966-23F3-91B9-B7021FC4792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4524" y="4337752"/>
            <a:ext cx="554493" cy="554493"/>
          </a:xfrm>
          <a:prstGeom prst="rect">
            <a:avLst/>
          </a:prstGeom>
        </p:spPr>
      </p:pic>
      <p:pic>
        <p:nvPicPr>
          <p:cNvPr id="19" name="Graphic 18" descr="Maximize outline">
            <a:extLst>
              <a:ext uri="{FF2B5EF4-FFF2-40B4-BE49-F238E27FC236}">
                <a16:creationId xmlns:a16="http://schemas.microsoft.com/office/drawing/2014/main" id="{BAB92151-1E3C-C626-D161-5B1FD028E87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3719" y="5277310"/>
            <a:ext cx="554493" cy="554493"/>
          </a:xfrm>
          <a:prstGeom prst="rect">
            <a:avLst/>
          </a:prstGeom>
        </p:spPr>
      </p:pic>
      <p:pic>
        <p:nvPicPr>
          <p:cNvPr id="6" name="Graphic 5">
            <a:extLst>
              <a:ext uri="{FF2B5EF4-FFF2-40B4-BE49-F238E27FC236}">
                <a16:creationId xmlns:a16="http://schemas.microsoft.com/office/drawing/2014/main" id="{072E6CC8-6847-0691-45F2-6AC46178D15C}"/>
              </a:ext>
            </a:extLst>
          </p:cNvPr>
          <p:cNvPicPr>
            <a:picLocks noChangeAspect="1"/>
          </p:cNvPicPr>
          <p:nvPr/>
        </p:nvPicPr>
        <p:blipFill rotWithShape="1">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rcRect l="5037" t="982"/>
          <a:stretch/>
        </p:blipFill>
        <p:spPr>
          <a:xfrm>
            <a:off x="11492248" y="198700"/>
            <a:ext cx="519347" cy="619177"/>
          </a:xfrm>
          <a:prstGeom prst="rect">
            <a:avLst/>
          </a:prstGeom>
        </p:spPr>
      </p:pic>
    </p:spTree>
    <p:extLst>
      <p:ext uri="{BB962C8B-B14F-4D97-AF65-F5344CB8AC3E}">
        <p14:creationId xmlns:p14="http://schemas.microsoft.com/office/powerpoint/2010/main" val="118999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260D36-68DF-510E-FE46-883889DF1296}"/>
            </a:ext>
          </a:extLst>
        </p:cNvPr>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C839C10-6267-0B74-E59C-B87CAD876C39}"/>
              </a:ext>
            </a:extLst>
          </p:cNvPr>
          <p:cNvSpPr>
            <a:spLocks noGrp="1"/>
          </p:cNvSpPr>
          <p:nvPr>
            <p:ph type="sldNum" sz="quarter" idx="12"/>
          </p:nvPr>
        </p:nvSpPr>
        <p:spPr>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46</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51F2957D-7218-D501-7AB1-D33B1B111117}"/>
              </a:ext>
            </a:extLst>
          </p:cNvPr>
          <p:cNvSpPr>
            <a:spLocks noGrp="1"/>
          </p:cNvSpPr>
          <p:nvPr>
            <p:ph type="title"/>
          </p:nvPr>
        </p:nvSpPr>
        <p:spPr>
          <a:xfrm>
            <a:off x="441378" y="212931"/>
            <a:ext cx="10883492" cy="339067"/>
          </a:xfrm>
        </p:spPr>
        <p:txBody>
          <a:bodyPr/>
          <a:lstStyle/>
          <a:p>
            <a:r>
              <a:rPr lang="fr-CH" sz="2426">
                <a:latin typeface="Poppins SemiBold"/>
                <a:ea typeface="Roboto"/>
                <a:cs typeface="Poppins SemiBold"/>
              </a:rPr>
              <a:t>POLIOMYELITIS – OBSERVATIONS AND RECOMMENDATIONS (2/2)</a:t>
            </a:r>
            <a:endParaRPr lang="en-US" sz="2426">
              <a:latin typeface="Poppins SemiBold"/>
              <a:ea typeface="Roboto"/>
              <a:cs typeface="Poppins SemiBold"/>
            </a:endParaRPr>
          </a:p>
        </p:txBody>
      </p:sp>
      <p:sp>
        <p:nvSpPr>
          <p:cNvPr id="7" name="Rectangle: Rounded Corners 6">
            <a:extLst>
              <a:ext uri="{FF2B5EF4-FFF2-40B4-BE49-F238E27FC236}">
                <a16:creationId xmlns:a16="http://schemas.microsoft.com/office/drawing/2014/main" id="{B77A667C-9C56-9B1D-51B8-1192B9136C4B}"/>
              </a:ext>
            </a:extLst>
          </p:cNvPr>
          <p:cNvSpPr/>
          <p:nvPr/>
        </p:nvSpPr>
        <p:spPr>
          <a:xfrm>
            <a:off x="459784" y="1797652"/>
            <a:ext cx="11010644" cy="998861"/>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34" tIns="45717" rIns="91434" bIns="45717" rtlCol="0" anchor="ctr"/>
          <a:lstStyle/>
          <a:p>
            <a:pPr marL="1198189"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oppins"/>
                <a:ea typeface="+mn-ea"/>
                <a:cs typeface="Poppins"/>
              </a:rPr>
              <a:t>SAGE noted that polio eradication cannot be achieved by technical interventions alone and strongly underscored the importance of sustained political leadership and accountability at every level to achieve polio eradication. </a:t>
            </a:r>
          </a:p>
        </p:txBody>
      </p:sp>
      <p:sp>
        <p:nvSpPr>
          <p:cNvPr id="14" name="Rectangle: Rounded Corners 13">
            <a:extLst>
              <a:ext uri="{FF2B5EF4-FFF2-40B4-BE49-F238E27FC236}">
                <a16:creationId xmlns:a16="http://schemas.microsoft.com/office/drawing/2014/main" id="{D98BFAEB-E9A7-4B01-1FB8-54D8D2F2BAAF}"/>
              </a:ext>
            </a:extLst>
          </p:cNvPr>
          <p:cNvSpPr/>
          <p:nvPr/>
        </p:nvSpPr>
        <p:spPr>
          <a:xfrm>
            <a:off x="459784" y="3143468"/>
            <a:ext cx="10883492" cy="1224359"/>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oppins"/>
                <a:ea typeface="Source Sans Pro"/>
                <a:cs typeface="Poppins"/>
              </a:rPr>
              <a:t>SAGE called for a broader discussion on the overall achievability of eradication plans and for a discussion on contingency plans at future SAGE meetings and sought clarifications on its responsibility and accountability within the GPEI ecosystem, relative to those of other GPEI advisory bodies.  </a:t>
            </a:r>
          </a:p>
        </p:txBody>
      </p:sp>
      <p:pic>
        <p:nvPicPr>
          <p:cNvPr id="9" name="Graphic 8" descr="Meeting outline">
            <a:extLst>
              <a:ext uri="{FF2B5EF4-FFF2-40B4-BE49-F238E27FC236}">
                <a16:creationId xmlns:a16="http://schemas.microsoft.com/office/drawing/2014/main" id="{CA72A189-870A-BE6D-E5F9-14610F95E5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7501" y="3466808"/>
            <a:ext cx="554493" cy="554493"/>
          </a:xfrm>
          <a:prstGeom prst="rect">
            <a:avLst/>
          </a:prstGeom>
        </p:spPr>
      </p:pic>
      <p:pic>
        <p:nvPicPr>
          <p:cNvPr id="16" name="Graphic 15" descr="Lecturer outline">
            <a:extLst>
              <a:ext uri="{FF2B5EF4-FFF2-40B4-BE49-F238E27FC236}">
                <a16:creationId xmlns:a16="http://schemas.microsoft.com/office/drawing/2014/main" id="{F94232EC-BEAC-7CA1-0D89-D30289542D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2299" y="2004960"/>
            <a:ext cx="554493" cy="554493"/>
          </a:xfrm>
          <a:prstGeom prst="rect">
            <a:avLst/>
          </a:prstGeom>
        </p:spPr>
      </p:pic>
      <p:pic>
        <p:nvPicPr>
          <p:cNvPr id="2" name="Graphic 1">
            <a:extLst>
              <a:ext uri="{FF2B5EF4-FFF2-40B4-BE49-F238E27FC236}">
                <a16:creationId xmlns:a16="http://schemas.microsoft.com/office/drawing/2014/main" id="{C9172413-0DE6-1D9A-D784-2AF38EC0B5BC}"/>
              </a:ext>
            </a:extLst>
          </p:cNvPr>
          <p:cNvPicPr>
            <a:picLocks noChangeAspect="1"/>
          </p:cNvPicPr>
          <p:nvPr/>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5037" t="982"/>
          <a:stretch/>
        </p:blipFill>
        <p:spPr>
          <a:xfrm>
            <a:off x="11492248" y="198700"/>
            <a:ext cx="519347" cy="619177"/>
          </a:xfrm>
          <a:prstGeom prst="rect">
            <a:avLst/>
          </a:prstGeom>
        </p:spPr>
      </p:pic>
    </p:spTree>
    <p:extLst>
      <p:ext uri="{BB962C8B-B14F-4D97-AF65-F5344CB8AC3E}">
        <p14:creationId xmlns:p14="http://schemas.microsoft.com/office/powerpoint/2010/main" val="1454710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BA1D0-7C72-2B39-3E45-4DBA3EE422BC}"/>
            </a:ext>
          </a:extLst>
        </p:cNvPr>
        <p:cNvGrpSpPr/>
        <p:nvPr/>
      </p:nvGrpSpPr>
      <p:grpSpPr>
        <a:xfrm>
          <a:off x="0" y="0"/>
          <a:ext cx="0" cy="0"/>
          <a:chOff x="0" y="0"/>
          <a:chExt cx="0" cy="0"/>
        </a:xfrm>
      </p:grpSpPr>
      <p:sp>
        <p:nvSpPr>
          <p:cNvPr id="12" name="Footer Placeholder 1">
            <a:extLst>
              <a:ext uri="{FF2B5EF4-FFF2-40B4-BE49-F238E27FC236}">
                <a16:creationId xmlns:a16="http://schemas.microsoft.com/office/drawing/2014/main" id="{407F2F3C-A2B3-3C11-8C22-3DCF198461DD}"/>
              </a:ext>
            </a:extLst>
          </p:cNvPr>
          <p:cNvSpPr>
            <a:spLocks noGrp="1"/>
          </p:cNvSpPr>
          <p:nvPr>
            <p:ph type="ftr" sz="quarter" idx="4294967295"/>
          </p:nvPr>
        </p:nvSpPr>
        <p:spPr>
          <a:xfrm>
            <a:off x="578025" y="6482886"/>
            <a:ext cx="7575183" cy="111982"/>
          </a:xfrm>
          <a:prstGeom prst="rect">
            <a:avLst/>
          </a:prstGeom>
        </p:spPr>
        <p:txBody>
          <a:bodyPr/>
          <a:lstStyle/>
          <a:p>
            <a:pPr marL="0" marR="0" lvl="0" indent="0" algn="l" defTabSz="554492" rtl="0" eaLnBrk="1" fontAlgn="auto" latinLnBrk="0" hangingPunct="1">
              <a:lnSpc>
                <a:spcPct val="100000"/>
              </a:lnSpc>
              <a:spcBef>
                <a:spcPts val="0"/>
              </a:spcBef>
              <a:spcAft>
                <a:spcPts val="364"/>
              </a:spcAft>
              <a:buClrTx/>
              <a:buSzTx/>
              <a:buFontTx/>
              <a:buNone/>
              <a:tabLst/>
              <a:defRPr/>
            </a:pPr>
            <a:r>
              <a:rPr kumimoji="0" lang="en-GB" sz="1092" b="0" i="0" u="none" strike="noStrike" kern="1200" cap="none" spc="0" normalizeH="0" baseline="0" noProof="0">
                <a:ln>
                  <a:noFill/>
                </a:ln>
                <a:solidFill>
                  <a:srgbClr val="000000"/>
                </a:solidFill>
                <a:effectLst/>
                <a:uLnTx/>
                <a:uFillTx/>
                <a:latin typeface="Poppins"/>
                <a:ea typeface="+mn-ea"/>
                <a:cs typeface="+mn-cs"/>
              </a:rPr>
              <a:t>Immunization, Vaccines and Biologicals</a:t>
            </a:r>
          </a:p>
        </p:txBody>
      </p:sp>
      <p:sp>
        <p:nvSpPr>
          <p:cNvPr id="5" name="Title 4">
            <a:extLst>
              <a:ext uri="{FF2B5EF4-FFF2-40B4-BE49-F238E27FC236}">
                <a16:creationId xmlns:a16="http://schemas.microsoft.com/office/drawing/2014/main" id="{4A00323E-1E1C-FEC4-F6E6-2770CE408214}"/>
              </a:ext>
            </a:extLst>
          </p:cNvPr>
          <p:cNvSpPr>
            <a:spLocks noGrp="1"/>
          </p:cNvSpPr>
          <p:nvPr>
            <p:ph type="body" sz="quarter" idx="13"/>
          </p:nvPr>
        </p:nvSpPr>
        <p:spPr>
          <a:xfrm>
            <a:off x="1498330" y="2863649"/>
            <a:ext cx="9195342" cy="1130703"/>
          </a:xfrm>
        </p:spPr>
        <p:txBody>
          <a:bodyPr wrap="square" anchor="ctr">
            <a:normAutofit/>
          </a:bodyPr>
          <a:lstStyle/>
          <a:p>
            <a:r>
              <a:rPr lang="en-GB"/>
              <a:t>MALARIA</a:t>
            </a:r>
          </a:p>
        </p:txBody>
      </p:sp>
      <p:sp>
        <p:nvSpPr>
          <p:cNvPr id="2" name="Slide Number Placeholder 5">
            <a:extLst>
              <a:ext uri="{FF2B5EF4-FFF2-40B4-BE49-F238E27FC236}">
                <a16:creationId xmlns:a16="http://schemas.microsoft.com/office/drawing/2014/main" id="{F99F9FA9-311B-F835-5BF8-D407C54B1CB9}"/>
              </a:ext>
            </a:extLst>
          </p:cNvPr>
          <p:cNvSpPr txBox="1">
            <a:spLocks/>
          </p:cNvSpPr>
          <p:nvPr/>
        </p:nvSpPr>
        <p:spPr>
          <a:xfrm>
            <a:off x="10693671" y="6482886"/>
            <a:ext cx="897133" cy="112018"/>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47</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pic>
        <p:nvPicPr>
          <p:cNvPr id="4" name="Graphic 3">
            <a:extLst>
              <a:ext uri="{FF2B5EF4-FFF2-40B4-BE49-F238E27FC236}">
                <a16:creationId xmlns:a16="http://schemas.microsoft.com/office/drawing/2014/main" id="{785BF7F6-CEB6-0931-0CD0-615A4BE0E986}"/>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t="-5395" b="-1"/>
          <a:stretch>
            <a:fillRect/>
          </a:stretch>
        </p:blipFill>
        <p:spPr>
          <a:xfrm>
            <a:off x="10294711" y="375115"/>
            <a:ext cx="1377640" cy="1461547"/>
          </a:xfrm>
          <a:prstGeom prst="rect">
            <a:avLst/>
          </a:prstGeom>
        </p:spPr>
      </p:pic>
    </p:spTree>
    <p:extLst>
      <p:ext uri="{BB962C8B-B14F-4D97-AF65-F5344CB8AC3E}">
        <p14:creationId xmlns:p14="http://schemas.microsoft.com/office/powerpoint/2010/main" val="9742105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BD4473CD-86C3-ADA3-F844-18138D0EEF12}"/>
            </a:ext>
          </a:extLst>
        </p:cNvPr>
        <p:cNvGrpSpPr/>
        <p:nvPr/>
      </p:nvGrpSpPr>
      <p:grpSpPr>
        <a:xfrm>
          <a:off x="0" y="0"/>
          <a:ext cx="0" cy="0"/>
          <a:chOff x="0" y="0"/>
          <a:chExt cx="0" cy="0"/>
        </a:xfrm>
      </p:grpSpPr>
      <p:sp>
        <p:nvSpPr>
          <p:cNvPr id="217" name="Rectangle 216">
            <a:extLst>
              <a:ext uri="{FF2B5EF4-FFF2-40B4-BE49-F238E27FC236}">
                <a16:creationId xmlns:a16="http://schemas.microsoft.com/office/drawing/2014/main" id="{B7114792-ABAA-5072-6028-2F9965F8C9DE}"/>
              </a:ext>
            </a:extLst>
          </p:cNvPr>
          <p:cNvSpPr/>
          <p:nvPr/>
        </p:nvSpPr>
        <p:spPr>
          <a:xfrm>
            <a:off x="6632775" y="-18980"/>
            <a:ext cx="5558799" cy="687674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01950BF-B5F3-7630-DE93-EDA9198E1046}"/>
              </a:ext>
            </a:extLst>
          </p:cNvPr>
          <p:cNvSpPr>
            <a:spLocks noGrp="1"/>
          </p:cNvSpPr>
          <p:nvPr>
            <p:ph type="title"/>
          </p:nvPr>
        </p:nvSpPr>
        <p:spPr>
          <a:xfrm>
            <a:off x="431363" y="630904"/>
            <a:ext cx="5716018" cy="527511"/>
          </a:xfrm>
        </p:spPr>
        <p:txBody>
          <a:bodyPr>
            <a:noAutofit/>
          </a:bodyPr>
          <a:lstStyle/>
          <a:p>
            <a:r>
              <a:rPr lang="en-US"/>
              <a:t>Status of malaria vaccine roll-out </a:t>
            </a:r>
            <a:br>
              <a:rPr lang="en-US"/>
            </a:br>
            <a:r>
              <a:rPr lang="en-US" sz="1200"/>
              <a:t>As of 24 Sept 2025</a:t>
            </a:r>
            <a:endParaRPr lang="en-US" sz="1800">
              <a:ea typeface="Calibri"/>
              <a:cs typeface="Calibri"/>
            </a:endParaRPr>
          </a:p>
        </p:txBody>
      </p:sp>
      <p:sp>
        <p:nvSpPr>
          <p:cNvPr id="6" name="Google Shape;2191;p277">
            <a:extLst>
              <a:ext uri="{FF2B5EF4-FFF2-40B4-BE49-F238E27FC236}">
                <a16:creationId xmlns:a16="http://schemas.microsoft.com/office/drawing/2014/main" id="{B3ECCF21-D7D7-BB6C-AE50-8EF8C00A9E22}"/>
              </a:ext>
            </a:extLst>
          </p:cNvPr>
          <p:cNvSpPr txBox="1"/>
          <p:nvPr/>
        </p:nvSpPr>
        <p:spPr>
          <a:xfrm>
            <a:off x="281401" y="1523067"/>
            <a:ext cx="5861263" cy="3733414"/>
          </a:xfrm>
          <a:prstGeom prst="rect">
            <a:avLst/>
          </a:prstGeom>
          <a:noFill/>
          <a:ln>
            <a:noFill/>
          </a:ln>
        </p:spPr>
        <p:txBody>
          <a:bodyPr spcFirstLastPara="1" wrap="square" lIns="0" tIns="0" rIns="0" bIns="0" anchor="t" anchorCtr="0">
            <a:noAutofit/>
          </a:bodyPr>
          <a:lstStyle/>
          <a:p>
            <a:pPr marL="175887" marR="0" lvl="0" indent="-166362" algn="l" defTabSz="1219113" rtl="0" eaLnBrk="1" fontAlgn="auto" latinLnBrk="0" hangingPunct="1">
              <a:lnSpc>
                <a:spcPct val="100000"/>
              </a:lnSpc>
              <a:spcBef>
                <a:spcPts val="1200"/>
              </a:spcBef>
              <a:spcAft>
                <a:spcPts val="0"/>
              </a:spcAft>
              <a:buClr>
                <a:srgbClr val="000000"/>
              </a:buClr>
              <a:buSzPts val="1500"/>
              <a:buFont typeface="Arial"/>
              <a:buChar char="•"/>
              <a:tabLst/>
              <a:defRPr/>
            </a:pPr>
            <a:r>
              <a:rPr kumimoji="0" lang="en" sz="1819" b="1" i="0" u="none" strike="noStrike" kern="1200" cap="none" spc="0" normalizeH="0" baseline="0" noProof="0">
                <a:ln>
                  <a:noFill/>
                </a:ln>
                <a:solidFill>
                  <a:srgbClr val="000000"/>
                </a:solidFill>
                <a:effectLst/>
                <a:uLnTx/>
                <a:uFillTx/>
                <a:latin typeface="Calibri" panose="020F0502020204030204"/>
                <a:ea typeface="+mn-ea"/>
                <a:cs typeface="Poppins"/>
                <a:sym typeface="Calibri"/>
              </a:rPr>
              <a:t>23 countries introduced</a:t>
            </a:r>
            <a:r>
              <a:rPr kumimoji="0" lang="en" sz="1819" b="1" i="0" u="none" strike="noStrike" kern="1200" cap="none" spc="0" normalizeH="0" baseline="30000" noProof="0">
                <a:ln>
                  <a:noFill/>
                </a:ln>
                <a:solidFill>
                  <a:srgbClr val="000000"/>
                </a:solidFill>
                <a:effectLst/>
                <a:uLnTx/>
                <a:uFillTx/>
                <a:latin typeface="Calibri" panose="020F0502020204030204"/>
                <a:ea typeface="+mn-ea"/>
                <a:cs typeface="Poppins"/>
                <a:sym typeface="Calibri"/>
              </a:rPr>
              <a:t>1 </a:t>
            </a:r>
            <a:r>
              <a:rPr kumimoji="0" lang="en" sz="1819" b="0" i="0" u="none" strike="noStrike" kern="1200" cap="none" spc="0" normalizeH="0" baseline="0" noProof="0">
                <a:ln>
                  <a:noFill/>
                </a:ln>
                <a:solidFill>
                  <a:srgbClr val="000000"/>
                </a:solidFill>
                <a:effectLst/>
                <a:uLnTx/>
                <a:uFillTx/>
                <a:latin typeface="Calibri" panose="020F0502020204030204"/>
                <a:ea typeface="+mn-ea"/>
                <a:cs typeface="Poppins"/>
                <a:sym typeface="Calibri"/>
              </a:rPr>
              <a:t>(4 nationally, 19 sub-nationally)</a:t>
            </a:r>
            <a:endParaRPr kumimoji="0" lang="en-US" sz="1819" b="0" i="0" u="none" strike="noStrike" kern="1200" cap="none" spc="0" normalizeH="0" baseline="0" noProof="0">
              <a:ln>
                <a:noFill/>
              </a:ln>
              <a:solidFill>
                <a:srgbClr val="000000"/>
              </a:solidFill>
              <a:effectLst/>
              <a:uLnTx/>
              <a:uFillTx/>
              <a:latin typeface="Calibri" panose="020F0502020204030204"/>
              <a:ea typeface="+mn-ea"/>
              <a:cs typeface="Poppins"/>
            </a:endParaRPr>
          </a:p>
          <a:p>
            <a:pPr marL="175887" marR="0" lvl="0" indent="-166362" algn="l" defTabSz="1219113" rtl="0" eaLnBrk="1" fontAlgn="auto" latinLnBrk="0" hangingPunct="1">
              <a:lnSpc>
                <a:spcPct val="100000"/>
              </a:lnSpc>
              <a:spcBef>
                <a:spcPts val="1200"/>
              </a:spcBef>
              <a:spcAft>
                <a:spcPts val="0"/>
              </a:spcAft>
              <a:buClr>
                <a:srgbClr val="000000"/>
              </a:buClr>
              <a:buSzPts val="1500"/>
              <a:buFont typeface="Arial"/>
              <a:buChar char="•"/>
              <a:tabLst/>
              <a:defRPr/>
            </a:pPr>
            <a:r>
              <a:rPr kumimoji="0" lang="en" sz="1819" b="0" i="0" u="none" strike="noStrike" kern="1200" cap="none" spc="0" normalizeH="0" baseline="0" noProof="0">
                <a:ln>
                  <a:noFill/>
                </a:ln>
                <a:solidFill>
                  <a:srgbClr val="000000"/>
                </a:solidFill>
                <a:effectLst/>
                <a:uLnTx/>
                <a:uFillTx/>
                <a:latin typeface="Calibri" panose="020F0502020204030204"/>
                <a:ea typeface="+mn-ea"/>
                <a:cs typeface="Poppins"/>
              </a:rPr>
              <a:t>Current cumulative annual target population of </a:t>
            </a:r>
            <a:r>
              <a:rPr kumimoji="0" lang="en" sz="1819" b="1" i="0" u="none" strike="noStrike" kern="1200" cap="none" spc="0" normalizeH="0" baseline="0" noProof="0">
                <a:ln>
                  <a:noFill/>
                </a:ln>
                <a:solidFill>
                  <a:srgbClr val="000000"/>
                </a:solidFill>
                <a:effectLst/>
                <a:uLnTx/>
                <a:uFillTx/>
                <a:latin typeface="Calibri" panose="020F0502020204030204"/>
                <a:ea typeface="+mn-ea"/>
                <a:cs typeface="Poppins"/>
              </a:rPr>
              <a:t>&gt;10 million children </a:t>
            </a:r>
            <a:r>
              <a:rPr kumimoji="0" lang="en" sz="1819" b="0" i="0" u="none" strike="noStrike" kern="1200" cap="none" spc="0" normalizeH="0" baseline="0" noProof="0">
                <a:ln>
                  <a:noFill/>
                </a:ln>
                <a:solidFill>
                  <a:srgbClr val="000000"/>
                </a:solidFill>
                <a:effectLst/>
                <a:uLnTx/>
                <a:uFillTx/>
                <a:latin typeface="Calibri" panose="020F0502020204030204"/>
                <a:ea typeface="+mn-ea"/>
                <a:cs typeface="Poppins"/>
              </a:rPr>
              <a:t>…rapidly increasing. </a:t>
            </a:r>
            <a:r>
              <a:rPr kumimoji="0" lang="en" sz="1819" b="1" i="0" u="none" strike="noStrike" kern="1200" cap="none" spc="0" normalizeH="0" baseline="0" noProof="0">
                <a:ln>
                  <a:noFill/>
                </a:ln>
                <a:solidFill>
                  <a:srgbClr val="000000"/>
                </a:solidFill>
                <a:effectLst/>
                <a:uLnTx/>
                <a:uFillTx/>
                <a:latin typeface="Calibri" panose="020F0502020204030204"/>
                <a:ea typeface="+mn-ea"/>
                <a:cs typeface="Poppins"/>
              </a:rPr>
              <a:t>Supply sufficient to meet demand.</a:t>
            </a:r>
            <a:endParaRPr kumimoji="0" lang="en" sz="1819" b="1" i="0" u="none" strike="noStrike" kern="1200" cap="none" spc="0" normalizeH="0" baseline="0" noProof="0">
              <a:ln>
                <a:noFill/>
              </a:ln>
              <a:solidFill>
                <a:srgbClr val="000000"/>
              </a:solidFill>
              <a:effectLst/>
              <a:uLnTx/>
              <a:uFillTx/>
              <a:latin typeface="Calibri" panose="020F0502020204030204"/>
              <a:ea typeface="+mn-ea"/>
              <a:cs typeface="Poppins"/>
              <a:sym typeface="Arial"/>
            </a:endParaRPr>
          </a:p>
          <a:p>
            <a:pPr marL="175887" marR="0" lvl="0" indent="-166362" algn="l" defTabSz="1219113" rtl="0" eaLnBrk="1" fontAlgn="auto" latinLnBrk="0" hangingPunct="1">
              <a:lnSpc>
                <a:spcPct val="100000"/>
              </a:lnSpc>
              <a:spcBef>
                <a:spcPts val="1200"/>
              </a:spcBef>
              <a:spcAft>
                <a:spcPts val="0"/>
              </a:spcAft>
              <a:buClr>
                <a:srgbClr val="000000"/>
              </a:buClr>
              <a:buSzPts val="1500"/>
              <a:buFont typeface="Arial"/>
              <a:buChar char="•"/>
              <a:tabLst/>
              <a:defRPr/>
            </a:pPr>
            <a:r>
              <a:rPr kumimoji="0" lang="en-GB" sz="1819" b="1" i="0" u="none" strike="noStrike" kern="1200" cap="none" spc="0" normalizeH="0" baseline="0" noProof="0">
                <a:ln>
                  <a:noFill/>
                </a:ln>
                <a:solidFill>
                  <a:srgbClr val="000000"/>
                </a:solidFill>
                <a:effectLst/>
                <a:uLnTx/>
                <a:uFillTx/>
                <a:latin typeface="Calibri" panose="020F0502020204030204"/>
                <a:ea typeface="+mn-ea"/>
                <a:cs typeface="Poppins"/>
                <a:sym typeface="Arial"/>
              </a:rPr>
              <a:t>But, limited geographic reach due to funding constraints: </a:t>
            </a:r>
            <a:r>
              <a:rPr kumimoji="0" lang="en-GB" sz="1819" b="0" i="0" u="none" strike="noStrike" kern="1200" cap="none" spc="0" normalizeH="0" baseline="0" noProof="0">
                <a:ln>
                  <a:noFill/>
                </a:ln>
                <a:solidFill>
                  <a:srgbClr val="000000"/>
                </a:solidFill>
                <a:effectLst/>
                <a:uLnTx/>
                <a:uFillTx/>
                <a:latin typeface="Calibri" panose="020F0502020204030204"/>
                <a:ea typeface="+mn-ea"/>
                <a:cs typeface="Poppins"/>
                <a:sym typeface="Arial"/>
              </a:rPr>
              <a:t>Gavi support limited to a maximum of </a:t>
            </a:r>
            <a:r>
              <a:rPr kumimoji="0" lang="en-GB" sz="1819" b="1" i="0" u="none" strike="noStrike" kern="1200" cap="none" spc="0" normalizeH="0" baseline="0" noProof="0">
                <a:ln>
                  <a:noFill/>
                </a:ln>
                <a:solidFill>
                  <a:srgbClr val="000000"/>
                </a:solidFill>
                <a:effectLst/>
                <a:uLnTx/>
                <a:uFillTx/>
                <a:latin typeface="Calibri" panose="020F0502020204030204"/>
                <a:ea typeface="+mn-ea"/>
                <a:cs typeface="Poppins"/>
                <a:sym typeface="Arial"/>
              </a:rPr>
              <a:t>85% vaccine volume for target population </a:t>
            </a:r>
            <a:r>
              <a:rPr kumimoji="0" lang="en-GB" sz="1819" b="0" i="0" u="none" strike="noStrike" kern="1200" cap="none" spc="0" normalizeH="0" baseline="0" noProof="0">
                <a:ln>
                  <a:noFill/>
                </a:ln>
                <a:solidFill>
                  <a:srgbClr val="000000"/>
                </a:solidFill>
                <a:effectLst/>
                <a:uLnTx/>
                <a:uFillTx/>
                <a:latin typeface="Calibri" panose="020F0502020204030204"/>
                <a:ea typeface="+mn-ea"/>
                <a:cs typeface="Poppins"/>
                <a:sym typeface="Arial"/>
              </a:rPr>
              <a:t>in moderate and high transmission areas. </a:t>
            </a:r>
            <a:r>
              <a:rPr kumimoji="0" lang="en-US" sz="1819" b="0" i="0" u="none" strike="noStrike" kern="1200" cap="none" spc="0" normalizeH="0" baseline="0" noProof="0">
                <a:ln>
                  <a:noFill/>
                </a:ln>
                <a:solidFill>
                  <a:srgbClr val="000000"/>
                </a:solidFill>
                <a:effectLst/>
                <a:uLnTx/>
                <a:uFillTx/>
                <a:latin typeface="Calibri" panose="020F0502020204030204"/>
                <a:ea typeface="+mn-ea"/>
                <a:cs typeface="Poppins"/>
                <a:sym typeface="Arial"/>
              </a:rPr>
              <a:t>Risk of further cuts due to funding gap for 2026-2030 strategy period</a:t>
            </a:r>
          </a:p>
          <a:p>
            <a:pPr marL="175887" marR="0" lvl="0" indent="-166362" algn="l" defTabSz="1219113" rtl="0" eaLnBrk="1" fontAlgn="auto" latinLnBrk="0" hangingPunct="1">
              <a:lnSpc>
                <a:spcPct val="100000"/>
              </a:lnSpc>
              <a:spcBef>
                <a:spcPts val="1200"/>
              </a:spcBef>
              <a:spcAft>
                <a:spcPts val="0"/>
              </a:spcAft>
              <a:buClr>
                <a:srgbClr val="000000"/>
              </a:buClr>
              <a:buSzPts val="1500"/>
              <a:buFont typeface="Arial"/>
              <a:buChar char="•"/>
              <a:tabLst/>
              <a:defRPr/>
            </a:pPr>
            <a:r>
              <a:rPr kumimoji="0" lang="en-US" sz="1819" b="1" i="0" u="none" strike="noStrike" kern="1200" cap="none" spc="0" normalizeH="0" baseline="0" noProof="0">
                <a:ln>
                  <a:noFill/>
                </a:ln>
                <a:solidFill>
                  <a:srgbClr val="000000"/>
                </a:solidFill>
                <a:effectLst/>
                <a:uLnTx/>
                <a:uFillTx/>
                <a:latin typeface="Calibri" panose="020F0502020204030204"/>
                <a:ea typeface="+mn-ea"/>
                <a:cs typeface="Poppins"/>
                <a:sym typeface="Arial"/>
              </a:rPr>
              <a:t>Market shaping ongoing: </a:t>
            </a:r>
            <a:r>
              <a:rPr kumimoji="0" lang="en-US" sz="1819" b="0" i="0" u="none" strike="noStrike" kern="1200" cap="none" spc="0" normalizeH="0" baseline="0" noProof="0">
                <a:ln>
                  <a:noFill/>
                </a:ln>
                <a:solidFill>
                  <a:srgbClr val="000000"/>
                </a:solidFill>
                <a:effectLst/>
                <a:uLnTx/>
                <a:uFillTx/>
                <a:latin typeface="Calibri" panose="020F0502020204030204"/>
                <a:ea typeface="+mn-ea"/>
                <a:cs typeface="Poppins"/>
                <a:sym typeface="Arial"/>
              </a:rPr>
              <a:t>GSK and Bharat Biotech commit to progressive RTS,S/AS01 price reductions to &lt; US$5/dose by 2028.</a:t>
            </a:r>
            <a:r>
              <a:rPr kumimoji="0" lang="en-US" sz="1819" b="0" i="0" u="none" strike="noStrike" kern="1200" cap="none" spc="0" normalizeH="0" baseline="30000" noProof="0">
                <a:ln>
                  <a:noFill/>
                </a:ln>
                <a:solidFill>
                  <a:srgbClr val="000000"/>
                </a:solidFill>
                <a:effectLst/>
                <a:uLnTx/>
                <a:uFillTx/>
                <a:latin typeface="Calibri" panose="020F0502020204030204"/>
                <a:ea typeface="+mn-ea"/>
                <a:cs typeface="Poppins"/>
                <a:sym typeface="Arial"/>
              </a:rPr>
              <a:t>3</a:t>
            </a:r>
            <a:r>
              <a:rPr kumimoji="0" lang="en-US" sz="1819" b="0" i="0" u="none" strike="noStrike" kern="1200" cap="none" spc="0" normalizeH="0" baseline="0" noProof="0">
                <a:ln>
                  <a:noFill/>
                </a:ln>
                <a:solidFill>
                  <a:srgbClr val="000000"/>
                </a:solidFill>
                <a:effectLst/>
                <a:uLnTx/>
                <a:uFillTx/>
                <a:latin typeface="Calibri" panose="020F0502020204030204"/>
                <a:ea typeface="+mn-ea"/>
                <a:cs typeface="Poppins"/>
                <a:sym typeface="Arial"/>
              </a:rPr>
              <a:t> SII to reduce R21/Matrix-M price (depending on volumes procured)</a:t>
            </a:r>
            <a:endParaRPr kumimoji="0" lang="en-GB" sz="1819" b="1" i="0" u="none" strike="noStrike" kern="1200" cap="none" spc="0" normalizeH="0" baseline="0" noProof="0">
              <a:ln>
                <a:noFill/>
              </a:ln>
              <a:solidFill>
                <a:srgbClr val="0099DD"/>
              </a:solidFill>
              <a:effectLst/>
              <a:uLnTx/>
              <a:uFillTx/>
              <a:latin typeface="Calibri" panose="020F0502020204030204"/>
              <a:ea typeface="+mn-ea"/>
              <a:cs typeface="Poppins"/>
            </a:endParaRPr>
          </a:p>
        </p:txBody>
      </p:sp>
      <p:sp>
        <p:nvSpPr>
          <p:cNvPr id="113" name="Freeform: Shape 112">
            <a:extLst>
              <a:ext uri="{FF2B5EF4-FFF2-40B4-BE49-F238E27FC236}">
                <a16:creationId xmlns:a16="http://schemas.microsoft.com/office/drawing/2014/main" id="{06294EFE-BD18-A3BE-F2FA-1534F3360942}"/>
              </a:ext>
            </a:extLst>
          </p:cNvPr>
          <p:cNvSpPr/>
          <p:nvPr/>
        </p:nvSpPr>
        <p:spPr>
          <a:xfrm>
            <a:off x="6959893" y="1379392"/>
            <a:ext cx="541470" cy="501937"/>
          </a:xfrm>
          <a:custGeom>
            <a:avLst/>
            <a:gdLst>
              <a:gd name="connsiteX0" fmla="*/ 257829 w 541508"/>
              <a:gd name="connsiteY0" fmla="*/ 0 h 501972"/>
              <a:gd name="connsiteX1" fmla="*/ 541508 w 541508"/>
              <a:gd name="connsiteY1" fmla="*/ 22809 h 501972"/>
              <a:gd name="connsiteX2" fmla="*/ 541508 w 541508"/>
              <a:gd name="connsiteY2" fmla="*/ 136855 h 501972"/>
              <a:gd name="connsiteX3" fmla="*/ 386912 w 541508"/>
              <a:gd name="connsiteY3" fmla="*/ 136855 h 501972"/>
              <a:gd name="connsiteX4" fmla="*/ 361062 w 541508"/>
              <a:gd name="connsiteY4" fmla="*/ 182474 h 501972"/>
              <a:gd name="connsiteX5" fmla="*/ 335211 w 541508"/>
              <a:gd name="connsiteY5" fmla="*/ 319498 h 501972"/>
              <a:gd name="connsiteX6" fmla="*/ 257829 w 541508"/>
              <a:gd name="connsiteY6" fmla="*/ 387926 h 501972"/>
              <a:gd name="connsiteX7" fmla="*/ 257829 w 541508"/>
              <a:gd name="connsiteY7" fmla="*/ 501972 h 501972"/>
              <a:gd name="connsiteX8" fmla="*/ 0 w 541508"/>
              <a:gd name="connsiteY8" fmla="*/ 501972 h 501972"/>
              <a:gd name="connsiteX9" fmla="*/ 77382 w 541508"/>
              <a:gd name="connsiteY9" fmla="*/ 319498 h 501972"/>
              <a:gd name="connsiteX10" fmla="*/ 206297 w 541508"/>
              <a:gd name="connsiteY10" fmla="*/ 91237 h 501972"/>
              <a:gd name="connsiteX11" fmla="*/ 257829 w 541508"/>
              <a:gd name="connsiteY11" fmla="*/ 0 h 50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1508" h="501972">
                <a:moveTo>
                  <a:pt x="257829" y="0"/>
                </a:moveTo>
                <a:lnTo>
                  <a:pt x="541508" y="22809"/>
                </a:lnTo>
                <a:lnTo>
                  <a:pt x="541508" y="136855"/>
                </a:lnTo>
                <a:lnTo>
                  <a:pt x="386912" y="136855"/>
                </a:lnTo>
                <a:lnTo>
                  <a:pt x="361062" y="182474"/>
                </a:lnTo>
                <a:lnTo>
                  <a:pt x="335211" y="319498"/>
                </a:lnTo>
                <a:lnTo>
                  <a:pt x="257829" y="387926"/>
                </a:lnTo>
                <a:lnTo>
                  <a:pt x="257829" y="501972"/>
                </a:lnTo>
                <a:lnTo>
                  <a:pt x="0" y="501972"/>
                </a:lnTo>
                <a:lnTo>
                  <a:pt x="77382" y="319498"/>
                </a:lnTo>
                <a:lnTo>
                  <a:pt x="206297" y="91237"/>
                </a:lnTo>
                <a:lnTo>
                  <a:pt x="257829" y="0"/>
                </a:lnTo>
                <a:close/>
              </a:path>
            </a:pathLst>
          </a:custGeom>
          <a:solidFill>
            <a:srgbClr val="CCCCCC"/>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Freeform: Shape 113">
            <a:extLst>
              <a:ext uri="{FF2B5EF4-FFF2-40B4-BE49-F238E27FC236}">
                <a16:creationId xmlns:a16="http://schemas.microsoft.com/office/drawing/2014/main" id="{252786AD-12BC-A775-7FA9-9114066F1F37}"/>
              </a:ext>
            </a:extLst>
          </p:cNvPr>
          <p:cNvSpPr/>
          <p:nvPr/>
        </p:nvSpPr>
        <p:spPr>
          <a:xfrm>
            <a:off x="9770978" y="2586002"/>
            <a:ext cx="670544" cy="664124"/>
          </a:xfrm>
          <a:custGeom>
            <a:avLst/>
            <a:gdLst>
              <a:gd name="connsiteX0" fmla="*/ 604022 w 670591"/>
              <a:gd name="connsiteY0" fmla="*/ 272021 h 664171"/>
              <a:gd name="connsiteX1" fmla="*/ 593209 w 670591"/>
              <a:gd name="connsiteY1" fmla="*/ 367651 h 664171"/>
              <a:gd name="connsiteX2" fmla="*/ 619060 w 670591"/>
              <a:gd name="connsiteY2" fmla="*/ 413270 h 664171"/>
              <a:gd name="connsiteX3" fmla="*/ 644910 w 670591"/>
              <a:gd name="connsiteY3" fmla="*/ 436079 h 664171"/>
              <a:gd name="connsiteX4" fmla="*/ 670592 w 670591"/>
              <a:gd name="connsiteY4" fmla="*/ 504507 h 664171"/>
              <a:gd name="connsiteX5" fmla="*/ 597433 w 670591"/>
              <a:gd name="connsiteY5" fmla="*/ 569555 h 664171"/>
              <a:gd name="connsiteX6" fmla="*/ 567528 w 670591"/>
              <a:gd name="connsiteY6" fmla="*/ 595744 h 664171"/>
              <a:gd name="connsiteX7" fmla="*/ 541677 w 670591"/>
              <a:gd name="connsiteY7" fmla="*/ 595744 h 664171"/>
              <a:gd name="connsiteX8" fmla="*/ 490145 w 670591"/>
              <a:gd name="connsiteY8" fmla="*/ 641362 h 664171"/>
              <a:gd name="connsiteX9" fmla="*/ 438444 w 670591"/>
              <a:gd name="connsiteY9" fmla="*/ 641362 h 664171"/>
              <a:gd name="connsiteX10" fmla="*/ 386912 w 670591"/>
              <a:gd name="connsiteY10" fmla="*/ 664171 h 664171"/>
              <a:gd name="connsiteX11" fmla="*/ 309530 w 670591"/>
              <a:gd name="connsiteY11" fmla="*/ 595744 h 664171"/>
              <a:gd name="connsiteX12" fmla="*/ 180615 w 670591"/>
              <a:gd name="connsiteY12" fmla="*/ 572934 h 664171"/>
              <a:gd name="connsiteX13" fmla="*/ 129083 w 670591"/>
              <a:gd name="connsiteY13" fmla="*/ 527316 h 664171"/>
              <a:gd name="connsiteX14" fmla="*/ 129083 w 670591"/>
              <a:gd name="connsiteY14" fmla="*/ 458888 h 664171"/>
              <a:gd name="connsiteX15" fmla="*/ 101036 w 670591"/>
              <a:gd name="connsiteY15" fmla="*/ 431686 h 664171"/>
              <a:gd name="connsiteX16" fmla="*/ 51701 w 670591"/>
              <a:gd name="connsiteY16" fmla="*/ 413270 h 664171"/>
              <a:gd name="connsiteX17" fmla="*/ 25850 w 670591"/>
              <a:gd name="connsiteY17" fmla="*/ 367651 h 664171"/>
              <a:gd name="connsiteX18" fmla="*/ 0 w 670591"/>
              <a:gd name="connsiteY18" fmla="*/ 253605 h 664171"/>
              <a:gd name="connsiteX19" fmla="*/ 19430 w 670591"/>
              <a:gd name="connsiteY19" fmla="*/ 228261 h 664171"/>
              <a:gd name="connsiteX20" fmla="*/ 25850 w 670591"/>
              <a:gd name="connsiteY20" fmla="*/ 193963 h 664171"/>
              <a:gd name="connsiteX21" fmla="*/ 32271 w 670591"/>
              <a:gd name="connsiteY21" fmla="*/ 161692 h 664171"/>
              <a:gd name="connsiteX22" fmla="*/ 73159 w 670591"/>
              <a:gd name="connsiteY22" fmla="*/ 148345 h 664171"/>
              <a:gd name="connsiteX23" fmla="*/ 88196 w 670591"/>
              <a:gd name="connsiteY23" fmla="*/ 138883 h 664171"/>
              <a:gd name="connsiteX24" fmla="*/ 98840 w 670591"/>
              <a:gd name="connsiteY24" fmla="*/ 159665 h 664171"/>
              <a:gd name="connsiteX25" fmla="*/ 120467 w 670591"/>
              <a:gd name="connsiteY25" fmla="*/ 193963 h 664171"/>
              <a:gd name="connsiteX26" fmla="*/ 152568 w 670591"/>
              <a:gd name="connsiteY26" fmla="*/ 201566 h 664171"/>
              <a:gd name="connsiteX27" fmla="*/ 204269 w 670591"/>
              <a:gd name="connsiteY27" fmla="*/ 193963 h 664171"/>
              <a:gd name="connsiteX28" fmla="*/ 213055 w 670591"/>
              <a:gd name="connsiteY28" fmla="*/ 192611 h 664171"/>
              <a:gd name="connsiteX29" fmla="*/ 246847 w 670591"/>
              <a:gd name="connsiteY29" fmla="*/ 189232 h 664171"/>
              <a:gd name="connsiteX30" fmla="*/ 271345 w 670591"/>
              <a:gd name="connsiteY30" fmla="*/ 186698 h 664171"/>
              <a:gd name="connsiteX31" fmla="*/ 305306 w 670591"/>
              <a:gd name="connsiteY31" fmla="*/ 184502 h 664171"/>
              <a:gd name="connsiteX32" fmla="*/ 307333 w 670591"/>
              <a:gd name="connsiteY32" fmla="*/ 163551 h 664171"/>
              <a:gd name="connsiteX33" fmla="*/ 335380 w 670591"/>
              <a:gd name="connsiteY33" fmla="*/ 148345 h 664171"/>
              <a:gd name="connsiteX34" fmla="*/ 386912 w 670591"/>
              <a:gd name="connsiteY34" fmla="*/ 173012 h 664171"/>
              <a:gd name="connsiteX35" fmla="*/ 423407 w 670591"/>
              <a:gd name="connsiteY35" fmla="*/ 167437 h 664171"/>
              <a:gd name="connsiteX36" fmla="*/ 470715 w 670591"/>
              <a:gd name="connsiteY36" fmla="*/ 112188 h 664171"/>
              <a:gd name="connsiteX37" fmla="*/ 492173 w 670591"/>
              <a:gd name="connsiteY37" fmla="*/ 91237 h 664171"/>
              <a:gd name="connsiteX38" fmla="*/ 481528 w 670591"/>
              <a:gd name="connsiteY38" fmla="*/ 45619 h 664171"/>
              <a:gd name="connsiteX39" fmla="*/ 460071 w 670591"/>
              <a:gd name="connsiteY39" fmla="*/ 24837 h 664171"/>
              <a:gd name="connsiteX40" fmla="*/ 492173 w 670591"/>
              <a:gd name="connsiteY40" fmla="*/ 20951 h 664171"/>
              <a:gd name="connsiteX41" fmla="*/ 496566 w 670591"/>
              <a:gd name="connsiteY41" fmla="*/ 0 h 664171"/>
              <a:gd name="connsiteX42" fmla="*/ 535257 w 670591"/>
              <a:gd name="connsiteY42" fmla="*/ 0 h 664171"/>
              <a:gd name="connsiteX43" fmla="*/ 533060 w 670591"/>
              <a:gd name="connsiteY43" fmla="*/ 43760 h 664171"/>
              <a:gd name="connsiteX44" fmla="*/ 541677 w 670591"/>
              <a:gd name="connsiteY44" fmla="*/ 102726 h 664171"/>
              <a:gd name="connsiteX45" fmla="*/ 552490 w 670591"/>
              <a:gd name="connsiteY45" fmla="*/ 102726 h 664171"/>
              <a:gd name="connsiteX46" fmla="*/ 586789 w 670591"/>
              <a:gd name="connsiteY46" fmla="*/ 146486 h 664171"/>
              <a:gd name="connsiteX47" fmla="*/ 591182 w 670591"/>
              <a:gd name="connsiteY47" fmla="*/ 205452 h 664171"/>
              <a:gd name="connsiteX48" fmla="*/ 612639 w 670591"/>
              <a:gd name="connsiteY48" fmla="*/ 205452 h 664171"/>
              <a:gd name="connsiteX49" fmla="*/ 604022 w 670591"/>
              <a:gd name="connsiteY49" fmla="*/ 272021 h 664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70591" h="664171">
                <a:moveTo>
                  <a:pt x="604022" y="272021"/>
                </a:moveTo>
                <a:lnTo>
                  <a:pt x="593209" y="367651"/>
                </a:lnTo>
                <a:lnTo>
                  <a:pt x="619060" y="413270"/>
                </a:lnTo>
                <a:lnTo>
                  <a:pt x="644910" y="436079"/>
                </a:lnTo>
                <a:lnTo>
                  <a:pt x="670592" y="504507"/>
                </a:lnTo>
                <a:lnTo>
                  <a:pt x="597433" y="569555"/>
                </a:lnTo>
                <a:lnTo>
                  <a:pt x="567528" y="595744"/>
                </a:lnTo>
                <a:lnTo>
                  <a:pt x="541677" y="595744"/>
                </a:lnTo>
                <a:lnTo>
                  <a:pt x="490145" y="641362"/>
                </a:lnTo>
                <a:lnTo>
                  <a:pt x="438444" y="641362"/>
                </a:lnTo>
                <a:lnTo>
                  <a:pt x="386912" y="664171"/>
                </a:lnTo>
                <a:lnTo>
                  <a:pt x="309530" y="595744"/>
                </a:lnTo>
                <a:lnTo>
                  <a:pt x="180615" y="572934"/>
                </a:lnTo>
                <a:lnTo>
                  <a:pt x="129083" y="527316"/>
                </a:lnTo>
                <a:lnTo>
                  <a:pt x="129083" y="458888"/>
                </a:lnTo>
                <a:lnTo>
                  <a:pt x="101036" y="431686"/>
                </a:lnTo>
                <a:lnTo>
                  <a:pt x="51701" y="413270"/>
                </a:lnTo>
                <a:lnTo>
                  <a:pt x="25850" y="367651"/>
                </a:lnTo>
                <a:lnTo>
                  <a:pt x="0" y="253605"/>
                </a:lnTo>
                <a:lnTo>
                  <a:pt x="19430" y="228261"/>
                </a:lnTo>
                <a:lnTo>
                  <a:pt x="25850" y="193963"/>
                </a:lnTo>
                <a:lnTo>
                  <a:pt x="32271" y="161692"/>
                </a:lnTo>
                <a:lnTo>
                  <a:pt x="73159" y="148345"/>
                </a:lnTo>
                <a:lnTo>
                  <a:pt x="88196" y="138883"/>
                </a:lnTo>
                <a:lnTo>
                  <a:pt x="98840" y="159665"/>
                </a:lnTo>
                <a:lnTo>
                  <a:pt x="120467" y="193963"/>
                </a:lnTo>
                <a:lnTo>
                  <a:pt x="152568" y="201566"/>
                </a:lnTo>
                <a:lnTo>
                  <a:pt x="204269" y="193963"/>
                </a:lnTo>
                <a:lnTo>
                  <a:pt x="213055" y="192611"/>
                </a:lnTo>
                <a:lnTo>
                  <a:pt x="246847" y="189232"/>
                </a:lnTo>
                <a:lnTo>
                  <a:pt x="271345" y="186698"/>
                </a:lnTo>
                <a:lnTo>
                  <a:pt x="305306" y="184502"/>
                </a:lnTo>
                <a:lnTo>
                  <a:pt x="307333" y="163551"/>
                </a:lnTo>
                <a:lnTo>
                  <a:pt x="335380" y="148345"/>
                </a:lnTo>
                <a:lnTo>
                  <a:pt x="386912" y="173012"/>
                </a:lnTo>
                <a:lnTo>
                  <a:pt x="423407" y="167437"/>
                </a:lnTo>
                <a:lnTo>
                  <a:pt x="470715" y="112188"/>
                </a:lnTo>
                <a:lnTo>
                  <a:pt x="492173" y="91237"/>
                </a:lnTo>
                <a:lnTo>
                  <a:pt x="481528" y="45619"/>
                </a:lnTo>
                <a:lnTo>
                  <a:pt x="460071" y="24837"/>
                </a:lnTo>
                <a:lnTo>
                  <a:pt x="492173" y="20951"/>
                </a:lnTo>
                <a:lnTo>
                  <a:pt x="496566" y="0"/>
                </a:lnTo>
                <a:lnTo>
                  <a:pt x="535257" y="0"/>
                </a:lnTo>
                <a:lnTo>
                  <a:pt x="533060" y="43760"/>
                </a:lnTo>
                <a:lnTo>
                  <a:pt x="541677" y="102726"/>
                </a:lnTo>
                <a:lnTo>
                  <a:pt x="552490" y="102726"/>
                </a:lnTo>
                <a:lnTo>
                  <a:pt x="586789" y="146486"/>
                </a:lnTo>
                <a:lnTo>
                  <a:pt x="591182" y="205452"/>
                </a:lnTo>
                <a:lnTo>
                  <a:pt x="612639" y="205452"/>
                </a:lnTo>
                <a:lnTo>
                  <a:pt x="604022" y="272021"/>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Freeform: Shape 114">
            <a:extLst>
              <a:ext uri="{FF2B5EF4-FFF2-40B4-BE49-F238E27FC236}">
                <a16:creationId xmlns:a16="http://schemas.microsoft.com/office/drawing/2014/main" id="{2CE53D89-94A8-F1B7-A64C-A0B0E750522C}"/>
              </a:ext>
            </a:extLst>
          </p:cNvPr>
          <p:cNvSpPr/>
          <p:nvPr/>
        </p:nvSpPr>
        <p:spPr>
          <a:xfrm>
            <a:off x="9564694" y="1728433"/>
            <a:ext cx="1057430" cy="1225192"/>
          </a:xfrm>
          <a:custGeom>
            <a:avLst/>
            <a:gdLst>
              <a:gd name="connsiteX0" fmla="*/ 154765 w 1057504"/>
              <a:gd name="connsiteY0" fmla="*/ 84479 h 1225278"/>
              <a:gd name="connsiteX1" fmla="*/ 696442 w 1057504"/>
              <a:gd name="connsiteY1" fmla="*/ 84479 h 1225278"/>
              <a:gd name="connsiteX2" fmla="*/ 771121 w 1057504"/>
              <a:gd name="connsiteY2" fmla="*/ 79917 h 1225278"/>
              <a:gd name="connsiteX3" fmla="*/ 849011 w 1057504"/>
              <a:gd name="connsiteY3" fmla="*/ 0 h 1225278"/>
              <a:gd name="connsiteX4" fmla="*/ 928590 w 1057504"/>
              <a:gd name="connsiteY4" fmla="*/ 130097 h 1225278"/>
              <a:gd name="connsiteX5" fmla="*/ 1005972 w 1057504"/>
              <a:gd name="connsiteY5" fmla="*/ 266953 h 1225278"/>
              <a:gd name="connsiteX6" fmla="*/ 1005972 w 1057504"/>
              <a:gd name="connsiteY6" fmla="*/ 312571 h 1225278"/>
              <a:gd name="connsiteX7" fmla="*/ 1057504 w 1057504"/>
              <a:gd name="connsiteY7" fmla="*/ 426617 h 1225278"/>
              <a:gd name="connsiteX8" fmla="*/ 954271 w 1057504"/>
              <a:gd name="connsiteY8" fmla="*/ 495214 h 1225278"/>
              <a:gd name="connsiteX9" fmla="*/ 954271 w 1057504"/>
              <a:gd name="connsiteY9" fmla="*/ 654879 h 1225278"/>
              <a:gd name="connsiteX10" fmla="*/ 928590 w 1057504"/>
              <a:gd name="connsiteY10" fmla="*/ 700497 h 1225278"/>
              <a:gd name="connsiteX11" fmla="*/ 928590 w 1057504"/>
              <a:gd name="connsiteY11" fmla="*/ 791734 h 1225278"/>
              <a:gd name="connsiteX12" fmla="*/ 902739 w 1057504"/>
              <a:gd name="connsiteY12" fmla="*/ 814543 h 1225278"/>
              <a:gd name="connsiteX13" fmla="*/ 851207 w 1057504"/>
              <a:gd name="connsiteY13" fmla="*/ 905780 h 1225278"/>
              <a:gd name="connsiteX14" fmla="*/ 825357 w 1057504"/>
              <a:gd name="connsiteY14" fmla="*/ 951399 h 1225278"/>
              <a:gd name="connsiteX15" fmla="*/ 825357 w 1057504"/>
              <a:gd name="connsiteY15" fmla="*/ 1065445 h 1225278"/>
              <a:gd name="connsiteX16" fmla="*/ 799506 w 1057504"/>
              <a:gd name="connsiteY16" fmla="*/ 1225279 h 1225278"/>
              <a:gd name="connsiteX17" fmla="*/ 810319 w 1057504"/>
              <a:gd name="connsiteY17" fmla="*/ 1129649 h 1225278"/>
              <a:gd name="connsiteX18" fmla="*/ 818936 w 1057504"/>
              <a:gd name="connsiteY18" fmla="*/ 1063080 h 1225278"/>
              <a:gd name="connsiteX19" fmla="*/ 797479 w 1057504"/>
              <a:gd name="connsiteY19" fmla="*/ 1063080 h 1225278"/>
              <a:gd name="connsiteX20" fmla="*/ 793086 w 1057504"/>
              <a:gd name="connsiteY20" fmla="*/ 1004114 h 1225278"/>
              <a:gd name="connsiteX21" fmla="*/ 758787 w 1057504"/>
              <a:gd name="connsiteY21" fmla="*/ 960354 h 1225278"/>
              <a:gd name="connsiteX22" fmla="*/ 747974 w 1057504"/>
              <a:gd name="connsiteY22" fmla="*/ 960354 h 1225278"/>
              <a:gd name="connsiteX23" fmla="*/ 739357 w 1057504"/>
              <a:gd name="connsiteY23" fmla="*/ 901387 h 1225278"/>
              <a:gd name="connsiteX24" fmla="*/ 741554 w 1057504"/>
              <a:gd name="connsiteY24" fmla="*/ 857627 h 1225278"/>
              <a:gd name="connsiteX25" fmla="*/ 702863 w 1057504"/>
              <a:gd name="connsiteY25" fmla="*/ 857627 h 1225278"/>
              <a:gd name="connsiteX26" fmla="*/ 698470 w 1057504"/>
              <a:gd name="connsiteY26" fmla="*/ 878578 h 1225278"/>
              <a:gd name="connsiteX27" fmla="*/ 666368 w 1057504"/>
              <a:gd name="connsiteY27" fmla="*/ 882464 h 1225278"/>
              <a:gd name="connsiteX28" fmla="*/ 687825 w 1057504"/>
              <a:gd name="connsiteY28" fmla="*/ 903246 h 1225278"/>
              <a:gd name="connsiteX29" fmla="*/ 698470 w 1057504"/>
              <a:gd name="connsiteY29" fmla="*/ 948864 h 1225278"/>
              <a:gd name="connsiteX30" fmla="*/ 677012 w 1057504"/>
              <a:gd name="connsiteY30" fmla="*/ 969815 h 1225278"/>
              <a:gd name="connsiteX31" fmla="*/ 629704 w 1057504"/>
              <a:gd name="connsiteY31" fmla="*/ 1025064 h 1225278"/>
              <a:gd name="connsiteX32" fmla="*/ 593209 w 1057504"/>
              <a:gd name="connsiteY32" fmla="*/ 1030640 h 1225278"/>
              <a:gd name="connsiteX33" fmla="*/ 541677 w 1057504"/>
              <a:gd name="connsiteY33" fmla="*/ 1005972 h 1225278"/>
              <a:gd name="connsiteX34" fmla="*/ 513630 w 1057504"/>
              <a:gd name="connsiteY34" fmla="*/ 1021178 h 1225278"/>
              <a:gd name="connsiteX35" fmla="*/ 511096 w 1057504"/>
              <a:gd name="connsiteY35" fmla="*/ 1042129 h 1225278"/>
              <a:gd name="connsiteX36" fmla="*/ 480853 w 1057504"/>
              <a:gd name="connsiteY36" fmla="*/ 1043987 h 1225278"/>
              <a:gd name="connsiteX37" fmla="*/ 473756 w 1057504"/>
              <a:gd name="connsiteY37" fmla="*/ 1046015 h 1225278"/>
              <a:gd name="connsiteX38" fmla="*/ 466660 w 1057504"/>
              <a:gd name="connsiteY38" fmla="*/ 1061897 h 1225278"/>
              <a:gd name="connsiteX39" fmla="*/ 420197 w 1057504"/>
              <a:gd name="connsiteY39" fmla="*/ 1060545 h 1225278"/>
              <a:gd name="connsiteX40" fmla="*/ 411411 w 1057504"/>
              <a:gd name="connsiteY40" fmla="*/ 1051760 h 1225278"/>
              <a:gd name="connsiteX41" fmla="*/ 408201 w 1057504"/>
              <a:gd name="connsiteY41" fmla="*/ 1051928 h 1225278"/>
              <a:gd name="connsiteX42" fmla="*/ 358865 w 1057504"/>
              <a:gd name="connsiteY42" fmla="*/ 1059194 h 1225278"/>
              <a:gd name="connsiteX43" fmla="*/ 326764 w 1057504"/>
              <a:gd name="connsiteY43" fmla="*/ 1051591 h 1225278"/>
              <a:gd name="connsiteX44" fmla="*/ 305137 w 1057504"/>
              <a:gd name="connsiteY44" fmla="*/ 1017292 h 1225278"/>
              <a:gd name="connsiteX45" fmla="*/ 294493 w 1057504"/>
              <a:gd name="connsiteY45" fmla="*/ 996510 h 1225278"/>
              <a:gd name="connsiteX46" fmla="*/ 279456 w 1057504"/>
              <a:gd name="connsiteY46" fmla="*/ 1005972 h 1225278"/>
              <a:gd name="connsiteX47" fmla="*/ 238568 w 1057504"/>
              <a:gd name="connsiteY47" fmla="*/ 1019320 h 1225278"/>
              <a:gd name="connsiteX48" fmla="*/ 232147 w 1057504"/>
              <a:gd name="connsiteY48" fmla="*/ 1051591 h 1225278"/>
              <a:gd name="connsiteX49" fmla="*/ 225727 w 1057504"/>
              <a:gd name="connsiteY49" fmla="*/ 1085889 h 1225278"/>
              <a:gd name="connsiteX50" fmla="*/ 206297 w 1057504"/>
              <a:gd name="connsiteY50" fmla="*/ 1111232 h 1225278"/>
              <a:gd name="connsiteX51" fmla="*/ 128915 w 1057504"/>
              <a:gd name="connsiteY51" fmla="*/ 1111232 h 1225278"/>
              <a:gd name="connsiteX52" fmla="*/ 103233 w 1057504"/>
              <a:gd name="connsiteY52" fmla="*/ 1065445 h 1225278"/>
              <a:gd name="connsiteX53" fmla="*/ 51532 w 1057504"/>
              <a:gd name="connsiteY53" fmla="*/ 974208 h 1225278"/>
              <a:gd name="connsiteX54" fmla="*/ 0 w 1057504"/>
              <a:gd name="connsiteY54" fmla="*/ 814543 h 1225278"/>
              <a:gd name="connsiteX55" fmla="*/ 0 w 1057504"/>
              <a:gd name="connsiteY55" fmla="*/ 700497 h 1225278"/>
              <a:gd name="connsiteX56" fmla="*/ 25851 w 1057504"/>
              <a:gd name="connsiteY56" fmla="*/ 632069 h 1225278"/>
              <a:gd name="connsiteX57" fmla="*/ 77382 w 1057504"/>
              <a:gd name="connsiteY57" fmla="*/ 609260 h 1225278"/>
              <a:gd name="connsiteX58" fmla="*/ 77382 w 1057504"/>
              <a:gd name="connsiteY58" fmla="*/ 449427 h 1225278"/>
              <a:gd name="connsiteX59" fmla="*/ 77382 w 1057504"/>
              <a:gd name="connsiteY59" fmla="*/ 403808 h 1225278"/>
              <a:gd name="connsiteX60" fmla="*/ 77382 w 1057504"/>
              <a:gd name="connsiteY60" fmla="*/ 221334 h 1225278"/>
              <a:gd name="connsiteX61" fmla="*/ 154765 w 1057504"/>
              <a:gd name="connsiteY61" fmla="*/ 221334 h 1225278"/>
              <a:gd name="connsiteX62" fmla="*/ 154765 w 1057504"/>
              <a:gd name="connsiteY62" fmla="*/ 84479 h 122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57504" h="1225278">
                <a:moveTo>
                  <a:pt x="154765" y="84479"/>
                </a:moveTo>
                <a:lnTo>
                  <a:pt x="696442" y="84479"/>
                </a:lnTo>
                <a:lnTo>
                  <a:pt x="771121" y="79917"/>
                </a:lnTo>
                <a:lnTo>
                  <a:pt x="849011" y="0"/>
                </a:lnTo>
                <a:lnTo>
                  <a:pt x="928590" y="130097"/>
                </a:lnTo>
                <a:lnTo>
                  <a:pt x="1005972" y="266953"/>
                </a:lnTo>
                <a:lnTo>
                  <a:pt x="1005972" y="312571"/>
                </a:lnTo>
                <a:lnTo>
                  <a:pt x="1057504" y="426617"/>
                </a:lnTo>
                <a:lnTo>
                  <a:pt x="954271" y="495214"/>
                </a:lnTo>
                <a:lnTo>
                  <a:pt x="954271" y="654879"/>
                </a:lnTo>
                <a:lnTo>
                  <a:pt x="928590" y="700497"/>
                </a:lnTo>
                <a:lnTo>
                  <a:pt x="928590" y="791734"/>
                </a:lnTo>
                <a:lnTo>
                  <a:pt x="902739" y="814543"/>
                </a:lnTo>
                <a:lnTo>
                  <a:pt x="851207" y="905780"/>
                </a:lnTo>
                <a:lnTo>
                  <a:pt x="825357" y="951399"/>
                </a:lnTo>
                <a:lnTo>
                  <a:pt x="825357" y="1065445"/>
                </a:lnTo>
                <a:lnTo>
                  <a:pt x="799506" y="1225279"/>
                </a:lnTo>
                <a:lnTo>
                  <a:pt x="810319" y="1129649"/>
                </a:lnTo>
                <a:lnTo>
                  <a:pt x="818936" y="1063080"/>
                </a:lnTo>
                <a:lnTo>
                  <a:pt x="797479" y="1063080"/>
                </a:lnTo>
                <a:lnTo>
                  <a:pt x="793086" y="1004114"/>
                </a:lnTo>
                <a:lnTo>
                  <a:pt x="758787" y="960354"/>
                </a:lnTo>
                <a:lnTo>
                  <a:pt x="747974" y="960354"/>
                </a:lnTo>
                <a:lnTo>
                  <a:pt x="739357" y="901387"/>
                </a:lnTo>
                <a:lnTo>
                  <a:pt x="741554" y="857627"/>
                </a:lnTo>
                <a:lnTo>
                  <a:pt x="702863" y="857627"/>
                </a:lnTo>
                <a:lnTo>
                  <a:pt x="698470" y="878578"/>
                </a:lnTo>
                <a:lnTo>
                  <a:pt x="666368" y="882464"/>
                </a:lnTo>
                <a:lnTo>
                  <a:pt x="687825" y="903246"/>
                </a:lnTo>
                <a:lnTo>
                  <a:pt x="698470" y="948864"/>
                </a:lnTo>
                <a:lnTo>
                  <a:pt x="677012" y="969815"/>
                </a:lnTo>
                <a:lnTo>
                  <a:pt x="629704" y="1025064"/>
                </a:lnTo>
                <a:lnTo>
                  <a:pt x="593209" y="1030640"/>
                </a:lnTo>
                <a:lnTo>
                  <a:pt x="541677" y="1005972"/>
                </a:lnTo>
                <a:lnTo>
                  <a:pt x="513630" y="1021178"/>
                </a:lnTo>
                <a:lnTo>
                  <a:pt x="511096" y="1042129"/>
                </a:lnTo>
                <a:lnTo>
                  <a:pt x="480853" y="1043987"/>
                </a:lnTo>
                <a:lnTo>
                  <a:pt x="473756" y="1046015"/>
                </a:lnTo>
                <a:lnTo>
                  <a:pt x="466660" y="1061897"/>
                </a:lnTo>
                <a:lnTo>
                  <a:pt x="420197" y="1060545"/>
                </a:lnTo>
                <a:lnTo>
                  <a:pt x="411411" y="1051760"/>
                </a:lnTo>
                <a:lnTo>
                  <a:pt x="408201" y="1051928"/>
                </a:lnTo>
                <a:lnTo>
                  <a:pt x="358865" y="1059194"/>
                </a:lnTo>
                <a:lnTo>
                  <a:pt x="326764" y="1051591"/>
                </a:lnTo>
                <a:lnTo>
                  <a:pt x="305137" y="1017292"/>
                </a:lnTo>
                <a:lnTo>
                  <a:pt x="294493" y="996510"/>
                </a:lnTo>
                <a:lnTo>
                  <a:pt x="279456" y="1005972"/>
                </a:lnTo>
                <a:lnTo>
                  <a:pt x="238568" y="1019320"/>
                </a:lnTo>
                <a:lnTo>
                  <a:pt x="232147" y="1051591"/>
                </a:lnTo>
                <a:lnTo>
                  <a:pt x="225727" y="1085889"/>
                </a:lnTo>
                <a:lnTo>
                  <a:pt x="206297" y="1111232"/>
                </a:lnTo>
                <a:lnTo>
                  <a:pt x="128915" y="1111232"/>
                </a:lnTo>
                <a:lnTo>
                  <a:pt x="103233" y="1065445"/>
                </a:lnTo>
                <a:lnTo>
                  <a:pt x="51532" y="974208"/>
                </a:lnTo>
                <a:lnTo>
                  <a:pt x="0" y="814543"/>
                </a:lnTo>
                <a:lnTo>
                  <a:pt x="0" y="700497"/>
                </a:lnTo>
                <a:lnTo>
                  <a:pt x="25851" y="632069"/>
                </a:lnTo>
                <a:lnTo>
                  <a:pt x="77382" y="609260"/>
                </a:lnTo>
                <a:lnTo>
                  <a:pt x="77382" y="449427"/>
                </a:lnTo>
                <a:lnTo>
                  <a:pt x="77382" y="403808"/>
                </a:lnTo>
                <a:lnTo>
                  <a:pt x="77382" y="221334"/>
                </a:lnTo>
                <a:lnTo>
                  <a:pt x="154765" y="221334"/>
                </a:lnTo>
                <a:lnTo>
                  <a:pt x="154765" y="84479"/>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Freeform: Shape 115">
            <a:extLst>
              <a:ext uri="{FF2B5EF4-FFF2-40B4-BE49-F238E27FC236}">
                <a16:creationId xmlns:a16="http://schemas.microsoft.com/office/drawing/2014/main" id="{497B0CBA-1ED4-1C08-39C6-59E6569E6B09}"/>
              </a:ext>
            </a:extLst>
          </p:cNvPr>
          <p:cNvSpPr/>
          <p:nvPr/>
        </p:nvSpPr>
        <p:spPr>
          <a:xfrm>
            <a:off x="9972867" y="2745149"/>
            <a:ext cx="75687" cy="51865"/>
          </a:xfrm>
          <a:custGeom>
            <a:avLst/>
            <a:gdLst>
              <a:gd name="connsiteX0" fmla="*/ 7941 w 75692"/>
              <a:gd name="connsiteY0" fmla="*/ 50180 h 51869"/>
              <a:gd name="connsiteX1" fmla="*/ 61500 w 75692"/>
              <a:gd name="connsiteY1" fmla="*/ 51870 h 51869"/>
              <a:gd name="connsiteX2" fmla="*/ 75693 w 75692"/>
              <a:gd name="connsiteY2" fmla="*/ 35988 h 51869"/>
              <a:gd name="connsiteX3" fmla="*/ 73835 w 75692"/>
              <a:gd name="connsiteY3" fmla="*/ 1014 h 51869"/>
              <a:gd name="connsiteX4" fmla="*/ 507 w 75692"/>
              <a:gd name="connsiteY4" fmla="*/ 0 h 51869"/>
              <a:gd name="connsiteX5" fmla="*/ 0 w 75692"/>
              <a:gd name="connsiteY5" fmla="*/ 22471 h 51869"/>
              <a:gd name="connsiteX6" fmla="*/ 0 w 75692"/>
              <a:gd name="connsiteY6" fmla="*/ 40212 h 51869"/>
              <a:gd name="connsiteX7" fmla="*/ 7941 w 75692"/>
              <a:gd name="connsiteY7" fmla="*/ 50180 h 5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92" h="51869">
                <a:moveTo>
                  <a:pt x="7941" y="50180"/>
                </a:moveTo>
                <a:lnTo>
                  <a:pt x="61500" y="51870"/>
                </a:lnTo>
                <a:lnTo>
                  <a:pt x="75693" y="35988"/>
                </a:lnTo>
                <a:lnTo>
                  <a:pt x="73835" y="1014"/>
                </a:lnTo>
                <a:lnTo>
                  <a:pt x="507" y="0"/>
                </a:lnTo>
                <a:lnTo>
                  <a:pt x="0" y="22471"/>
                </a:lnTo>
                <a:lnTo>
                  <a:pt x="0" y="40212"/>
                </a:lnTo>
                <a:lnTo>
                  <a:pt x="7941" y="50180"/>
                </a:lnTo>
                <a:close/>
              </a:path>
            </a:pathLst>
          </a:custGeom>
          <a:solidFill>
            <a:srgbClr val="CCCCCC"/>
          </a:solidFill>
          <a:ln w="0" cap="flat">
            <a:no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7" name="Freeform: Shape 116">
            <a:extLst>
              <a:ext uri="{FF2B5EF4-FFF2-40B4-BE49-F238E27FC236}">
                <a16:creationId xmlns:a16="http://schemas.microsoft.com/office/drawing/2014/main" id="{801E5D11-4BC3-F394-C549-51105AD2F798}"/>
              </a:ext>
            </a:extLst>
          </p:cNvPr>
          <p:cNvSpPr/>
          <p:nvPr/>
        </p:nvSpPr>
        <p:spPr>
          <a:xfrm>
            <a:off x="7228010" y="831841"/>
            <a:ext cx="763464" cy="570359"/>
          </a:xfrm>
          <a:custGeom>
            <a:avLst/>
            <a:gdLst>
              <a:gd name="connsiteX0" fmla="*/ 737668 w 763518"/>
              <a:gd name="connsiteY0" fmla="*/ 0 h 570399"/>
              <a:gd name="connsiteX1" fmla="*/ 711986 w 763518"/>
              <a:gd name="connsiteY1" fmla="*/ 137024 h 570399"/>
              <a:gd name="connsiteX2" fmla="*/ 763518 w 763518"/>
              <a:gd name="connsiteY2" fmla="*/ 182643 h 570399"/>
              <a:gd name="connsiteX3" fmla="*/ 763518 w 763518"/>
              <a:gd name="connsiteY3" fmla="*/ 205452 h 570399"/>
              <a:gd name="connsiteX4" fmla="*/ 686136 w 763518"/>
              <a:gd name="connsiteY4" fmla="*/ 228261 h 570399"/>
              <a:gd name="connsiteX5" fmla="*/ 660285 w 763518"/>
              <a:gd name="connsiteY5" fmla="*/ 296689 h 570399"/>
              <a:gd name="connsiteX6" fmla="*/ 325074 w 763518"/>
              <a:gd name="connsiteY6" fmla="*/ 501972 h 570399"/>
              <a:gd name="connsiteX7" fmla="*/ 273373 w 763518"/>
              <a:gd name="connsiteY7" fmla="*/ 570400 h 570399"/>
              <a:gd name="connsiteX8" fmla="*/ 0 w 763518"/>
              <a:gd name="connsiteY8" fmla="*/ 549280 h 570399"/>
              <a:gd name="connsiteX9" fmla="*/ 41395 w 763518"/>
              <a:gd name="connsiteY9" fmla="*/ 524782 h 570399"/>
              <a:gd name="connsiteX10" fmla="*/ 221841 w 763518"/>
              <a:gd name="connsiteY10" fmla="*/ 387926 h 570399"/>
              <a:gd name="connsiteX11" fmla="*/ 273373 w 763518"/>
              <a:gd name="connsiteY11" fmla="*/ 205452 h 570399"/>
              <a:gd name="connsiteX12" fmla="*/ 350755 w 763518"/>
              <a:gd name="connsiteY12" fmla="*/ 137024 h 570399"/>
              <a:gd name="connsiteX13" fmla="*/ 505520 w 763518"/>
              <a:gd name="connsiteY13" fmla="*/ 0 h 570399"/>
              <a:gd name="connsiteX14" fmla="*/ 737668 w 763518"/>
              <a:gd name="connsiteY14" fmla="*/ 0 h 57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3518" h="570399">
                <a:moveTo>
                  <a:pt x="737668" y="0"/>
                </a:moveTo>
                <a:lnTo>
                  <a:pt x="711986" y="137024"/>
                </a:lnTo>
                <a:lnTo>
                  <a:pt x="763518" y="182643"/>
                </a:lnTo>
                <a:lnTo>
                  <a:pt x="763518" y="205452"/>
                </a:lnTo>
                <a:lnTo>
                  <a:pt x="686136" y="228261"/>
                </a:lnTo>
                <a:lnTo>
                  <a:pt x="660285" y="296689"/>
                </a:lnTo>
                <a:lnTo>
                  <a:pt x="325074" y="501972"/>
                </a:lnTo>
                <a:lnTo>
                  <a:pt x="273373" y="570400"/>
                </a:lnTo>
                <a:lnTo>
                  <a:pt x="0" y="549280"/>
                </a:lnTo>
                <a:lnTo>
                  <a:pt x="41395" y="524782"/>
                </a:lnTo>
                <a:lnTo>
                  <a:pt x="221841" y="387926"/>
                </a:lnTo>
                <a:lnTo>
                  <a:pt x="273373" y="205452"/>
                </a:lnTo>
                <a:lnTo>
                  <a:pt x="350755" y="137024"/>
                </a:lnTo>
                <a:lnTo>
                  <a:pt x="505520" y="0"/>
                </a:lnTo>
                <a:lnTo>
                  <a:pt x="737668"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8" name="Freeform: Shape 117">
            <a:extLst>
              <a:ext uri="{FF2B5EF4-FFF2-40B4-BE49-F238E27FC236}">
                <a16:creationId xmlns:a16="http://schemas.microsoft.com/office/drawing/2014/main" id="{D00B8DF1-E805-D8F6-F3D4-7C6302B2793A}"/>
              </a:ext>
            </a:extLst>
          </p:cNvPr>
          <p:cNvSpPr/>
          <p:nvPr/>
        </p:nvSpPr>
        <p:spPr>
          <a:xfrm>
            <a:off x="8068852" y="2611342"/>
            <a:ext cx="232131" cy="433514"/>
          </a:xfrm>
          <a:custGeom>
            <a:avLst/>
            <a:gdLst>
              <a:gd name="connsiteX0" fmla="*/ 0 w 232147"/>
              <a:gd name="connsiteY0" fmla="*/ 91237 h 433544"/>
              <a:gd name="connsiteX1" fmla="*/ 128914 w 232147"/>
              <a:gd name="connsiteY1" fmla="*/ 0 h 433544"/>
              <a:gd name="connsiteX2" fmla="*/ 206297 w 232147"/>
              <a:gd name="connsiteY2" fmla="*/ 22809 h 433544"/>
              <a:gd name="connsiteX3" fmla="*/ 232147 w 232147"/>
              <a:gd name="connsiteY3" fmla="*/ 0 h 433544"/>
              <a:gd name="connsiteX4" fmla="*/ 206297 w 232147"/>
              <a:gd name="connsiteY4" fmla="*/ 159665 h 433544"/>
              <a:gd name="connsiteX5" fmla="*/ 154765 w 232147"/>
              <a:gd name="connsiteY5" fmla="*/ 205452 h 433544"/>
              <a:gd name="connsiteX6" fmla="*/ 180615 w 232147"/>
              <a:gd name="connsiteY6" fmla="*/ 433545 h 433544"/>
              <a:gd name="connsiteX7" fmla="*/ 103233 w 232147"/>
              <a:gd name="connsiteY7" fmla="*/ 433545 h 433544"/>
              <a:gd name="connsiteX8" fmla="*/ 77382 w 232147"/>
              <a:gd name="connsiteY8" fmla="*/ 136856 h 433544"/>
              <a:gd name="connsiteX9" fmla="*/ 25850 w 232147"/>
              <a:gd name="connsiteY9" fmla="*/ 114046 h 433544"/>
              <a:gd name="connsiteX10" fmla="*/ 0 w 232147"/>
              <a:gd name="connsiteY10" fmla="*/ 91237 h 43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147" h="433544">
                <a:moveTo>
                  <a:pt x="0" y="91237"/>
                </a:moveTo>
                <a:lnTo>
                  <a:pt x="128914" y="0"/>
                </a:lnTo>
                <a:lnTo>
                  <a:pt x="206297" y="22809"/>
                </a:lnTo>
                <a:lnTo>
                  <a:pt x="232147" y="0"/>
                </a:lnTo>
                <a:lnTo>
                  <a:pt x="206297" y="159665"/>
                </a:lnTo>
                <a:lnTo>
                  <a:pt x="154765" y="205452"/>
                </a:lnTo>
                <a:lnTo>
                  <a:pt x="180615" y="433545"/>
                </a:lnTo>
                <a:lnTo>
                  <a:pt x="103233" y="433545"/>
                </a:lnTo>
                <a:lnTo>
                  <a:pt x="77382" y="136856"/>
                </a:lnTo>
                <a:lnTo>
                  <a:pt x="25850" y="114046"/>
                </a:lnTo>
                <a:lnTo>
                  <a:pt x="0" y="91237"/>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Freeform: Shape 118">
            <a:extLst>
              <a:ext uri="{FF2B5EF4-FFF2-40B4-BE49-F238E27FC236}">
                <a16:creationId xmlns:a16="http://schemas.microsoft.com/office/drawing/2014/main" id="{15D79C47-2CC1-944C-A72F-9815B4C27C33}"/>
              </a:ext>
            </a:extLst>
          </p:cNvPr>
          <p:cNvSpPr/>
          <p:nvPr/>
        </p:nvSpPr>
        <p:spPr>
          <a:xfrm>
            <a:off x="10080486" y="4276808"/>
            <a:ext cx="722241" cy="1254757"/>
          </a:xfrm>
          <a:custGeom>
            <a:avLst/>
            <a:gdLst>
              <a:gd name="connsiteX0" fmla="*/ 490145 w 722292"/>
              <a:gd name="connsiteY0" fmla="*/ 91237 h 1254845"/>
              <a:gd name="connsiteX1" fmla="*/ 670591 w 722292"/>
              <a:gd name="connsiteY1" fmla="*/ 0 h 1254845"/>
              <a:gd name="connsiteX2" fmla="*/ 670591 w 722292"/>
              <a:gd name="connsiteY2" fmla="*/ 114046 h 1254845"/>
              <a:gd name="connsiteX3" fmla="*/ 722293 w 722292"/>
              <a:gd name="connsiteY3" fmla="*/ 205283 h 1254845"/>
              <a:gd name="connsiteX4" fmla="*/ 696442 w 722292"/>
              <a:gd name="connsiteY4" fmla="*/ 433545 h 1254845"/>
              <a:gd name="connsiteX5" fmla="*/ 670591 w 722292"/>
              <a:gd name="connsiteY5" fmla="*/ 479163 h 1254845"/>
              <a:gd name="connsiteX6" fmla="*/ 619060 w 722292"/>
              <a:gd name="connsiteY6" fmla="*/ 479163 h 1254845"/>
              <a:gd name="connsiteX7" fmla="*/ 412763 w 722292"/>
              <a:gd name="connsiteY7" fmla="*/ 638828 h 1254845"/>
              <a:gd name="connsiteX8" fmla="*/ 386912 w 722292"/>
              <a:gd name="connsiteY8" fmla="*/ 661637 h 1254845"/>
              <a:gd name="connsiteX9" fmla="*/ 361062 w 722292"/>
              <a:gd name="connsiteY9" fmla="*/ 707255 h 1254845"/>
              <a:gd name="connsiteX10" fmla="*/ 309530 w 722292"/>
              <a:gd name="connsiteY10" fmla="*/ 707255 h 1254845"/>
              <a:gd name="connsiteX11" fmla="*/ 283679 w 722292"/>
              <a:gd name="connsiteY11" fmla="*/ 730065 h 1254845"/>
              <a:gd name="connsiteX12" fmla="*/ 283679 w 722292"/>
              <a:gd name="connsiteY12" fmla="*/ 775683 h 1254845"/>
              <a:gd name="connsiteX13" fmla="*/ 335380 w 722292"/>
              <a:gd name="connsiteY13" fmla="*/ 958157 h 1254845"/>
              <a:gd name="connsiteX14" fmla="*/ 283679 w 722292"/>
              <a:gd name="connsiteY14" fmla="*/ 1095182 h 1254845"/>
              <a:gd name="connsiteX15" fmla="*/ 257998 w 722292"/>
              <a:gd name="connsiteY15" fmla="*/ 1140800 h 1254845"/>
              <a:gd name="connsiteX16" fmla="*/ 180615 w 722292"/>
              <a:gd name="connsiteY16" fmla="*/ 1140800 h 1254845"/>
              <a:gd name="connsiteX17" fmla="*/ 128914 w 722292"/>
              <a:gd name="connsiteY17" fmla="*/ 1186418 h 1254845"/>
              <a:gd name="connsiteX18" fmla="*/ 103233 w 722292"/>
              <a:gd name="connsiteY18" fmla="*/ 1254846 h 1254845"/>
              <a:gd name="connsiteX19" fmla="*/ 72821 w 722292"/>
              <a:gd name="connsiteY19" fmla="*/ 1234571 h 1254845"/>
              <a:gd name="connsiteX20" fmla="*/ 51701 w 722292"/>
              <a:gd name="connsiteY20" fmla="*/ 912539 h 1254845"/>
              <a:gd name="connsiteX21" fmla="*/ 128914 w 722292"/>
              <a:gd name="connsiteY21" fmla="*/ 866920 h 1254845"/>
              <a:gd name="connsiteX22" fmla="*/ 180615 w 722292"/>
              <a:gd name="connsiteY22" fmla="*/ 524781 h 1254845"/>
              <a:gd name="connsiteX23" fmla="*/ 103233 w 722292"/>
              <a:gd name="connsiteY23" fmla="*/ 433545 h 1254845"/>
              <a:gd name="connsiteX24" fmla="*/ 51701 w 722292"/>
              <a:gd name="connsiteY24" fmla="*/ 433545 h 1254845"/>
              <a:gd name="connsiteX25" fmla="*/ 25850 w 722292"/>
              <a:gd name="connsiteY25" fmla="*/ 410735 h 1254845"/>
              <a:gd name="connsiteX26" fmla="*/ 0 w 722292"/>
              <a:gd name="connsiteY26" fmla="*/ 410735 h 1254845"/>
              <a:gd name="connsiteX27" fmla="*/ 25850 w 722292"/>
              <a:gd name="connsiteY27" fmla="*/ 342139 h 1254845"/>
              <a:gd name="connsiteX28" fmla="*/ 128914 w 722292"/>
              <a:gd name="connsiteY28" fmla="*/ 273711 h 1254845"/>
              <a:gd name="connsiteX29" fmla="*/ 257998 w 722292"/>
              <a:gd name="connsiteY29" fmla="*/ 296520 h 1254845"/>
              <a:gd name="connsiteX30" fmla="*/ 283679 w 722292"/>
              <a:gd name="connsiteY30" fmla="*/ 364948 h 1254845"/>
              <a:gd name="connsiteX31" fmla="*/ 283679 w 722292"/>
              <a:gd name="connsiteY31" fmla="*/ 456354 h 1254845"/>
              <a:gd name="connsiteX32" fmla="*/ 309530 w 722292"/>
              <a:gd name="connsiteY32" fmla="*/ 456354 h 1254845"/>
              <a:gd name="connsiteX33" fmla="*/ 412763 w 722292"/>
              <a:gd name="connsiteY33" fmla="*/ 364948 h 1254845"/>
              <a:gd name="connsiteX34" fmla="*/ 331832 w 722292"/>
              <a:gd name="connsiteY34" fmla="*/ 238399 h 1254845"/>
              <a:gd name="connsiteX35" fmla="*/ 331494 w 722292"/>
              <a:gd name="connsiteY35" fmla="*/ 189232 h 1254845"/>
              <a:gd name="connsiteX36" fmla="*/ 309530 w 722292"/>
              <a:gd name="connsiteY36" fmla="*/ 68428 h 1254845"/>
              <a:gd name="connsiteX37" fmla="*/ 490145 w 722292"/>
              <a:gd name="connsiteY37" fmla="*/ 91237 h 125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22292" h="1254845">
                <a:moveTo>
                  <a:pt x="490145" y="91237"/>
                </a:moveTo>
                <a:lnTo>
                  <a:pt x="670591" y="0"/>
                </a:lnTo>
                <a:lnTo>
                  <a:pt x="670591" y="114046"/>
                </a:lnTo>
                <a:lnTo>
                  <a:pt x="722293" y="205283"/>
                </a:lnTo>
                <a:lnTo>
                  <a:pt x="696442" y="433545"/>
                </a:lnTo>
                <a:lnTo>
                  <a:pt x="670591" y="479163"/>
                </a:lnTo>
                <a:lnTo>
                  <a:pt x="619060" y="479163"/>
                </a:lnTo>
                <a:lnTo>
                  <a:pt x="412763" y="638828"/>
                </a:lnTo>
                <a:lnTo>
                  <a:pt x="386912" y="661637"/>
                </a:lnTo>
                <a:lnTo>
                  <a:pt x="361062" y="707255"/>
                </a:lnTo>
                <a:lnTo>
                  <a:pt x="309530" y="707255"/>
                </a:lnTo>
                <a:lnTo>
                  <a:pt x="283679" y="730065"/>
                </a:lnTo>
                <a:lnTo>
                  <a:pt x="283679" y="775683"/>
                </a:lnTo>
                <a:lnTo>
                  <a:pt x="335380" y="958157"/>
                </a:lnTo>
                <a:lnTo>
                  <a:pt x="283679" y="1095182"/>
                </a:lnTo>
                <a:lnTo>
                  <a:pt x="257998" y="1140800"/>
                </a:lnTo>
                <a:lnTo>
                  <a:pt x="180615" y="1140800"/>
                </a:lnTo>
                <a:lnTo>
                  <a:pt x="128914" y="1186418"/>
                </a:lnTo>
                <a:lnTo>
                  <a:pt x="103233" y="1254846"/>
                </a:lnTo>
                <a:lnTo>
                  <a:pt x="72821" y="1234571"/>
                </a:lnTo>
                <a:lnTo>
                  <a:pt x="51701" y="912539"/>
                </a:lnTo>
                <a:lnTo>
                  <a:pt x="128914" y="866920"/>
                </a:lnTo>
                <a:lnTo>
                  <a:pt x="180615" y="524781"/>
                </a:lnTo>
                <a:lnTo>
                  <a:pt x="103233" y="433545"/>
                </a:lnTo>
                <a:lnTo>
                  <a:pt x="51701" y="433545"/>
                </a:lnTo>
                <a:lnTo>
                  <a:pt x="25850" y="410735"/>
                </a:lnTo>
                <a:lnTo>
                  <a:pt x="0" y="410735"/>
                </a:lnTo>
                <a:lnTo>
                  <a:pt x="25850" y="342139"/>
                </a:lnTo>
                <a:lnTo>
                  <a:pt x="128914" y="273711"/>
                </a:lnTo>
                <a:lnTo>
                  <a:pt x="257998" y="296520"/>
                </a:lnTo>
                <a:lnTo>
                  <a:pt x="283679" y="364948"/>
                </a:lnTo>
                <a:lnTo>
                  <a:pt x="283679" y="456354"/>
                </a:lnTo>
                <a:lnTo>
                  <a:pt x="309530" y="456354"/>
                </a:lnTo>
                <a:lnTo>
                  <a:pt x="412763" y="364948"/>
                </a:lnTo>
                <a:lnTo>
                  <a:pt x="331832" y="238399"/>
                </a:lnTo>
                <a:lnTo>
                  <a:pt x="331494" y="189232"/>
                </a:lnTo>
                <a:lnTo>
                  <a:pt x="309530" y="68428"/>
                </a:lnTo>
                <a:lnTo>
                  <a:pt x="490145" y="91237"/>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0" name="Freeform: Shape 119">
            <a:extLst>
              <a:ext uri="{FF2B5EF4-FFF2-40B4-BE49-F238E27FC236}">
                <a16:creationId xmlns:a16="http://schemas.microsoft.com/office/drawing/2014/main" id="{32A329CD-E8FB-3472-C669-EE983A9F4BCF}"/>
              </a:ext>
            </a:extLst>
          </p:cNvPr>
          <p:cNvSpPr/>
          <p:nvPr/>
        </p:nvSpPr>
        <p:spPr>
          <a:xfrm>
            <a:off x="9151961" y="5189281"/>
            <a:ext cx="1031749" cy="1003874"/>
          </a:xfrm>
          <a:custGeom>
            <a:avLst/>
            <a:gdLst>
              <a:gd name="connsiteX0" fmla="*/ 77382 w 1031822"/>
              <a:gd name="connsiteY0" fmla="*/ 456353 h 1003944"/>
              <a:gd name="connsiteX1" fmla="*/ 129083 w 1031822"/>
              <a:gd name="connsiteY1" fmla="*/ 501972 h 1003944"/>
              <a:gd name="connsiteX2" fmla="*/ 257998 w 1031822"/>
              <a:gd name="connsiteY2" fmla="*/ 410735 h 1003944"/>
              <a:gd name="connsiteX3" fmla="*/ 257998 w 1031822"/>
              <a:gd name="connsiteY3" fmla="*/ 251070 h 1003944"/>
              <a:gd name="connsiteX4" fmla="*/ 335380 w 1031822"/>
              <a:gd name="connsiteY4" fmla="*/ 319498 h 1003944"/>
              <a:gd name="connsiteX5" fmla="*/ 464295 w 1031822"/>
              <a:gd name="connsiteY5" fmla="*/ 228261 h 1003944"/>
              <a:gd name="connsiteX6" fmla="*/ 515996 w 1031822"/>
              <a:gd name="connsiteY6" fmla="*/ 228261 h 1003944"/>
              <a:gd name="connsiteX7" fmla="*/ 567528 w 1031822"/>
              <a:gd name="connsiteY7" fmla="*/ 251070 h 1003944"/>
              <a:gd name="connsiteX8" fmla="*/ 670761 w 1031822"/>
              <a:gd name="connsiteY8" fmla="*/ 205452 h 1003944"/>
              <a:gd name="connsiteX9" fmla="*/ 696442 w 1031822"/>
              <a:gd name="connsiteY9" fmla="*/ 182643 h 1003944"/>
              <a:gd name="connsiteX10" fmla="*/ 722293 w 1031822"/>
              <a:gd name="connsiteY10" fmla="*/ 91237 h 1003944"/>
              <a:gd name="connsiteX11" fmla="*/ 928590 w 1031822"/>
              <a:gd name="connsiteY11" fmla="*/ 0 h 1003944"/>
              <a:gd name="connsiteX12" fmla="*/ 980290 w 1031822"/>
              <a:gd name="connsiteY12" fmla="*/ 0 h 1003944"/>
              <a:gd name="connsiteX13" fmla="*/ 1005972 w 1031822"/>
              <a:gd name="connsiteY13" fmla="*/ 319498 h 1003944"/>
              <a:gd name="connsiteX14" fmla="*/ 1031822 w 1031822"/>
              <a:gd name="connsiteY14" fmla="*/ 342307 h 1003944"/>
              <a:gd name="connsiteX15" fmla="*/ 1005972 w 1031822"/>
              <a:gd name="connsiteY15" fmla="*/ 501972 h 1003944"/>
              <a:gd name="connsiteX16" fmla="*/ 928590 w 1031822"/>
              <a:gd name="connsiteY16" fmla="*/ 593209 h 1003944"/>
              <a:gd name="connsiteX17" fmla="*/ 799675 w 1031822"/>
              <a:gd name="connsiteY17" fmla="*/ 775852 h 1003944"/>
              <a:gd name="connsiteX18" fmla="*/ 773825 w 1031822"/>
              <a:gd name="connsiteY18" fmla="*/ 798661 h 1003944"/>
              <a:gd name="connsiteX19" fmla="*/ 670761 w 1031822"/>
              <a:gd name="connsiteY19" fmla="*/ 867089 h 1003944"/>
              <a:gd name="connsiteX20" fmla="*/ 619060 w 1031822"/>
              <a:gd name="connsiteY20" fmla="*/ 889898 h 1003944"/>
              <a:gd name="connsiteX21" fmla="*/ 257998 w 1031822"/>
              <a:gd name="connsiteY21" fmla="*/ 958326 h 1003944"/>
              <a:gd name="connsiteX22" fmla="*/ 206466 w 1031822"/>
              <a:gd name="connsiteY22" fmla="*/ 1003944 h 1003944"/>
              <a:gd name="connsiteX23" fmla="*/ 129083 w 1031822"/>
              <a:gd name="connsiteY23" fmla="*/ 1003944 h 1003944"/>
              <a:gd name="connsiteX24" fmla="*/ 77382 w 1031822"/>
              <a:gd name="connsiteY24" fmla="*/ 844280 h 1003944"/>
              <a:gd name="connsiteX25" fmla="*/ 103233 w 1031822"/>
              <a:gd name="connsiteY25" fmla="*/ 798661 h 1003944"/>
              <a:gd name="connsiteX26" fmla="*/ 51701 w 1031822"/>
              <a:gd name="connsiteY26" fmla="*/ 616018 h 1003944"/>
              <a:gd name="connsiteX27" fmla="*/ 0 w 1031822"/>
              <a:gd name="connsiteY27" fmla="*/ 479163 h 1003944"/>
              <a:gd name="connsiteX28" fmla="*/ 77382 w 1031822"/>
              <a:gd name="connsiteY28" fmla="*/ 456353 h 100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31822" h="1003944">
                <a:moveTo>
                  <a:pt x="77382" y="456353"/>
                </a:moveTo>
                <a:lnTo>
                  <a:pt x="129083" y="501972"/>
                </a:lnTo>
                <a:lnTo>
                  <a:pt x="257998" y="410735"/>
                </a:lnTo>
                <a:lnTo>
                  <a:pt x="257998" y="251070"/>
                </a:lnTo>
                <a:lnTo>
                  <a:pt x="335380" y="319498"/>
                </a:lnTo>
                <a:lnTo>
                  <a:pt x="464295" y="228261"/>
                </a:lnTo>
                <a:lnTo>
                  <a:pt x="515996" y="228261"/>
                </a:lnTo>
                <a:lnTo>
                  <a:pt x="567528" y="251070"/>
                </a:lnTo>
                <a:lnTo>
                  <a:pt x="670761" y="205452"/>
                </a:lnTo>
                <a:lnTo>
                  <a:pt x="696442" y="182643"/>
                </a:lnTo>
                <a:lnTo>
                  <a:pt x="722293" y="91237"/>
                </a:lnTo>
                <a:lnTo>
                  <a:pt x="928590" y="0"/>
                </a:lnTo>
                <a:lnTo>
                  <a:pt x="980290" y="0"/>
                </a:lnTo>
                <a:lnTo>
                  <a:pt x="1005972" y="319498"/>
                </a:lnTo>
                <a:lnTo>
                  <a:pt x="1031822" y="342307"/>
                </a:lnTo>
                <a:lnTo>
                  <a:pt x="1005972" y="501972"/>
                </a:lnTo>
                <a:lnTo>
                  <a:pt x="928590" y="593209"/>
                </a:lnTo>
                <a:lnTo>
                  <a:pt x="799675" y="775852"/>
                </a:lnTo>
                <a:lnTo>
                  <a:pt x="773825" y="798661"/>
                </a:lnTo>
                <a:lnTo>
                  <a:pt x="670761" y="867089"/>
                </a:lnTo>
                <a:lnTo>
                  <a:pt x="619060" y="889898"/>
                </a:lnTo>
                <a:lnTo>
                  <a:pt x="257998" y="958326"/>
                </a:lnTo>
                <a:lnTo>
                  <a:pt x="206466" y="1003944"/>
                </a:lnTo>
                <a:lnTo>
                  <a:pt x="129083" y="1003944"/>
                </a:lnTo>
                <a:lnTo>
                  <a:pt x="77382" y="844280"/>
                </a:lnTo>
                <a:lnTo>
                  <a:pt x="103233" y="798661"/>
                </a:lnTo>
                <a:lnTo>
                  <a:pt x="51701" y="616018"/>
                </a:lnTo>
                <a:lnTo>
                  <a:pt x="0" y="479163"/>
                </a:lnTo>
                <a:lnTo>
                  <a:pt x="77382" y="456353"/>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1" name="Freeform: Shape 120">
            <a:extLst>
              <a:ext uri="{FF2B5EF4-FFF2-40B4-BE49-F238E27FC236}">
                <a16:creationId xmlns:a16="http://schemas.microsoft.com/office/drawing/2014/main" id="{38420CC2-63A5-9740-B70A-70760C0FE377}"/>
              </a:ext>
            </a:extLst>
          </p:cNvPr>
          <p:cNvSpPr/>
          <p:nvPr/>
        </p:nvSpPr>
        <p:spPr>
          <a:xfrm>
            <a:off x="9409941" y="4847168"/>
            <a:ext cx="670544" cy="661591"/>
          </a:xfrm>
          <a:custGeom>
            <a:avLst/>
            <a:gdLst>
              <a:gd name="connsiteX0" fmla="*/ 0 w 670591"/>
              <a:gd name="connsiteY0" fmla="*/ 593209 h 661637"/>
              <a:gd name="connsiteX1" fmla="*/ 0 w 670591"/>
              <a:gd name="connsiteY1" fmla="*/ 319330 h 661637"/>
              <a:gd name="connsiteX2" fmla="*/ 77382 w 670591"/>
              <a:gd name="connsiteY2" fmla="*/ 319330 h 661637"/>
              <a:gd name="connsiteX3" fmla="*/ 77382 w 670591"/>
              <a:gd name="connsiteY3" fmla="*/ 45619 h 661637"/>
              <a:gd name="connsiteX4" fmla="*/ 257998 w 670591"/>
              <a:gd name="connsiteY4" fmla="*/ 45619 h 661637"/>
              <a:gd name="connsiteX5" fmla="*/ 309530 w 670591"/>
              <a:gd name="connsiteY5" fmla="*/ 22809 h 661637"/>
              <a:gd name="connsiteX6" fmla="*/ 309530 w 670591"/>
              <a:gd name="connsiteY6" fmla="*/ 0 h 661637"/>
              <a:gd name="connsiteX7" fmla="*/ 670592 w 670591"/>
              <a:gd name="connsiteY7" fmla="*/ 342139 h 661637"/>
              <a:gd name="connsiteX8" fmla="*/ 464295 w 670591"/>
              <a:gd name="connsiteY8" fmla="*/ 433376 h 661637"/>
              <a:gd name="connsiteX9" fmla="*/ 438444 w 670591"/>
              <a:gd name="connsiteY9" fmla="*/ 524782 h 661637"/>
              <a:gd name="connsiteX10" fmla="*/ 412763 w 670591"/>
              <a:gd name="connsiteY10" fmla="*/ 547591 h 661637"/>
              <a:gd name="connsiteX11" fmla="*/ 309530 w 670591"/>
              <a:gd name="connsiteY11" fmla="*/ 593209 h 661637"/>
              <a:gd name="connsiteX12" fmla="*/ 257998 w 670591"/>
              <a:gd name="connsiteY12" fmla="*/ 570400 h 661637"/>
              <a:gd name="connsiteX13" fmla="*/ 206297 w 670591"/>
              <a:gd name="connsiteY13" fmla="*/ 570400 h 661637"/>
              <a:gd name="connsiteX14" fmla="*/ 77382 w 670591"/>
              <a:gd name="connsiteY14" fmla="*/ 661637 h 661637"/>
              <a:gd name="connsiteX15" fmla="*/ 0 w 670591"/>
              <a:gd name="connsiteY15" fmla="*/ 593209 h 661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0591" h="661637">
                <a:moveTo>
                  <a:pt x="0" y="593209"/>
                </a:moveTo>
                <a:lnTo>
                  <a:pt x="0" y="319330"/>
                </a:lnTo>
                <a:lnTo>
                  <a:pt x="77382" y="319330"/>
                </a:lnTo>
                <a:lnTo>
                  <a:pt x="77382" y="45619"/>
                </a:lnTo>
                <a:lnTo>
                  <a:pt x="257998" y="45619"/>
                </a:lnTo>
                <a:lnTo>
                  <a:pt x="309530" y="22809"/>
                </a:lnTo>
                <a:lnTo>
                  <a:pt x="309530" y="0"/>
                </a:lnTo>
                <a:lnTo>
                  <a:pt x="670592" y="342139"/>
                </a:lnTo>
                <a:lnTo>
                  <a:pt x="464295" y="433376"/>
                </a:lnTo>
                <a:lnTo>
                  <a:pt x="438444" y="524782"/>
                </a:lnTo>
                <a:lnTo>
                  <a:pt x="412763" y="547591"/>
                </a:lnTo>
                <a:lnTo>
                  <a:pt x="309530" y="593209"/>
                </a:lnTo>
                <a:lnTo>
                  <a:pt x="257998" y="570400"/>
                </a:lnTo>
                <a:lnTo>
                  <a:pt x="206297" y="570400"/>
                </a:lnTo>
                <a:lnTo>
                  <a:pt x="77382" y="661637"/>
                </a:lnTo>
                <a:lnTo>
                  <a:pt x="0" y="593209"/>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2" name="Freeform: Shape 121">
            <a:extLst>
              <a:ext uri="{FF2B5EF4-FFF2-40B4-BE49-F238E27FC236}">
                <a16:creationId xmlns:a16="http://schemas.microsoft.com/office/drawing/2014/main" id="{281BA7F7-EEEA-AE5E-A34B-FE41749034BD}"/>
              </a:ext>
            </a:extLst>
          </p:cNvPr>
          <p:cNvSpPr/>
          <p:nvPr/>
        </p:nvSpPr>
        <p:spPr>
          <a:xfrm>
            <a:off x="9538846" y="4094347"/>
            <a:ext cx="773770" cy="752820"/>
          </a:xfrm>
          <a:custGeom>
            <a:avLst/>
            <a:gdLst>
              <a:gd name="connsiteX0" fmla="*/ 180615 w 773824"/>
              <a:gd name="connsiteY0" fmla="*/ 228092 h 752873"/>
              <a:gd name="connsiteX1" fmla="*/ 335380 w 773824"/>
              <a:gd name="connsiteY1" fmla="*/ 342139 h 752873"/>
              <a:gd name="connsiteX2" fmla="*/ 386912 w 773824"/>
              <a:gd name="connsiteY2" fmla="*/ 319330 h 752873"/>
              <a:gd name="connsiteX3" fmla="*/ 490145 w 773824"/>
              <a:gd name="connsiteY3" fmla="*/ 433376 h 752873"/>
              <a:gd name="connsiteX4" fmla="*/ 515827 w 773824"/>
              <a:gd name="connsiteY4" fmla="*/ 296520 h 752873"/>
              <a:gd name="connsiteX5" fmla="*/ 464295 w 773824"/>
              <a:gd name="connsiteY5" fmla="*/ 296520 h 752873"/>
              <a:gd name="connsiteX6" fmla="*/ 464295 w 773824"/>
              <a:gd name="connsiteY6" fmla="*/ 22809 h 752873"/>
              <a:gd name="connsiteX7" fmla="*/ 515827 w 773824"/>
              <a:gd name="connsiteY7" fmla="*/ 22809 h 752873"/>
              <a:gd name="connsiteX8" fmla="*/ 593378 w 773824"/>
              <a:gd name="connsiteY8" fmla="*/ 0 h 752873"/>
              <a:gd name="connsiteX9" fmla="*/ 619060 w 773824"/>
              <a:gd name="connsiteY9" fmla="*/ 0 h 752873"/>
              <a:gd name="connsiteX10" fmla="*/ 670592 w 773824"/>
              <a:gd name="connsiteY10" fmla="*/ 22809 h 752873"/>
              <a:gd name="connsiteX11" fmla="*/ 747974 w 773824"/>
              <a:gd name="connsiteY11" fmla="*/ 114046 h 752873"/>
              <a:gd name="connsiteX12" fmla="*/ 773825 w 773824"/>
              <a:gd name="connsiteY12" fmla="*/ 364948 h 752873"/>
              <a:gd name="connsiteX13" fmla="*/ 773825 w 773824"/>
              <a:gd name="connsiteY13" fmla="*/ 478994 h 752873"/>
              <a:gd name="connsiteX14" fmla="*/ 670592 w 773824"/>
              <a:gd name="connsiteY14" fmla="*/ 456185 h 752873"/>
              <a:gd name="connsiteX15" fmla="*/ 567528 w 773824"/>
              <a:gd name="connsiteY15" fmla="*/ 524613 h 752873"/>
              <a:gd name="connsiteX16" fmla="*/ 541677 w 773824"/>
              <a:gd name="connsiteY16" fmla="*/ 593209 h 752873"/>
              <a:gd name="connsiteX17" fmla="*/ 464295 w 773824"/>
              <a:gd name="connsiteY17" fmla="*/ 593209 h 752873"/>
              <a:gd name="connsiteX18" fmla="*/ 335380 w 773824"/>
              <a:gd name="connsiteY18" fmla="*/ 752874 h 752873"/>
              <a:gd name="connsiteX19" fmla="*/ 180615 w 773824"/>
              <a:gd name="connsiteY19" fmla="*/ 730065 h 752873"/>
              <a:gd name="connsiteX20" fmla="*/ 129083 w 773824"/>
              <a:gd name="connsiteY20" fmla="*/ 730065 h 752873"/>
              <a:gd name="connsiteX21" fmla="*/ 103233 w 773824"/>
              <a:gd name="connsiteY21" fmla="*/ 752874 h 752873"/>
              <a:gd name="connsiteX22" fmla="*/ 0 w 773824"/>
              <a:gd name="connsiteY22" fmla="*/ 638828 h 752873"/>
              <a:gd name="connsiteX23" fmla="*/ 0 w 773824"/>
              <a:gd name="connsiteY23" fmla="*/ 387757 h 752873"/>
              <a:gd name="connsiteX24" fmla="*/ 154765 w 773824"/>
              <a:gd name="connsiteY24" fmla="*/ 387757 h 752873"/>
              <a:gd name="connsiteX25" fmla="*/ 154765 w 773824"/>
              <a:gd name="connsiteY25" fmla="*/ 228092 h 752873"/>
              <a:gd name="connsiteX26" fmla="*/ 180615 w 773824"/>
              <a:gd name="connsiteY26" fmla="*/ 228092 h 75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3824" h="752873">
                <a:moveTo>
                  <a:pt x="180615" y="228092"/>
                </a:moveTo>
                <a:lnTo>
                  <a:pt x="335380" y="342139"/>
                </a:lnTo>
                <a:lnTo>
                  <a:pt x="386912" y="319330"/>
                </a:lnTo>
                <a:lnTo>
                  <a:pt x="490145" y="433376"/>
                </a:lnTo>
                <a:lnTo>
                  <a:pt x="515827" y="296520"/>
                </a:lnTo>
                <a:lnTo>
                  <a:pt x="464295" y="296520"/>
                </a:lnTo>
                <a:lnTo>
                  <a:pt x="464295" y="22809"/>
                </a:lnTo>
                <a:lnTo>
                  <a:pt x="515827" y="22809"/>
                </a:lnTo>
                <a:lnTo>
                  <a:pt x="593378" y="0"/>
                </a:lnTo>
                <a:lnTo>
                  <a:pt x="619060" y="0"/>
                </a:lnTo>
                <a:lnTo>
                  <a:pt x="670592" y="22809"/>
                </a:lnTo>
                <a:lnTo>
                  <a:pt x="747974" y="114046"/>
                </a:lnTo>
                <a:lnTo>
                  <a:pt x="773825" y="364948"/>
                </a:lnTo>
                <a:lnTo>
                  <a:pt x="773825" y="478994"/>
                </a:lnTo>
                <a:lnTo>
                  <a:pt x="670592" y="456185"/>
                </a:lnTo>
                <a:lnTo>
                  <a:pt x="567528" y="524613"/>
                </a:lnTo>
                <a:lnTo>
                  <a:pt x="541677" y="593209"/>
                </a:lnTo>
                <a:lnTo>
                  <a:pt x="464295" y="593209"/>
                </a:lnTo>
                <a:lnTo>
                  <a:pt x="335380" y="752874"/>
                </a:lnTo>
                <a:lnTo>
                  <a:pt x="180615" y="730065"/>
                </a:lnTo>
                <a:lnTo>
                  <a:pt x="129083" y="730065"/>
                </a:lnTo>
                <a:lnTo>
                  <a:pt x="103233" y="752874"/>
                </a:lnTo>
                <a:lnTo>
                  <a:pt x="0" y="638828"/>
                </a:lnTo>
                <a:lnTo>
                  <a:pt x="0" y="387757"/>
                </a:lnTo>
                <a:lnTo>
                  <a:pt x="154765" y="387757"/>
                </a:lnTo>
                <a:lnTo>
                  <a:pt x="154765" y="228092"/>
                </a:lnTo>
                <a:lnTo>
                  <a:pt x="180615" y="228092"/>
                </a:lnTo>
                <a:close/>
              </a:path>
            </a:pathLst>
          </a:custGeom>
          <a:solidFill>
            <a:srgbClr val="AACF7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Freeform: Shape 122">
            <a:extLst>
              <a:ext uri="{FF2B5EF4-FFF2-40B4-BE49-F238E27FC236}">
                <a16:creationId xmlns:a16="http://schemas.microsoft.com/office/drawing/2014/main" id="{D46311EF-F244-278B-4BEE-F449C77A3608}"/>
              </a:ext>
            </a:extLst>
          </p:cNvPr>
          <p:cNvSpPr/>
          <p:nvPr/>
        </p:nvSpPr>
        <p:spPr>
          <a:xfrm>
            <a:off x="8662019" y="1014471"/>
            <a:ext cx="1057429" cy="1117742"/>
          </a:xfrm>
          <a:custGeom>
            <a:avLst/>
            <a:gdLst>
              <a:gd name="connsiteX0" fmla="*/ 180615 w 1057503"/>
              <a:gd name="connsiteY0" fmla="*/ 0 h 1117821"/>
              <a:gd name="connsiteX1" fmla="*/ 386912 w 1057503"/>
              <a:gd name="connsiteY1" fmla="*/ 45618 h 1117821"/>
              <a:gd name="connsiteX2" fmla="*/ 644741 w 1057503"/>
              <a:gd name="connsiteY2" fmla="*/ 182474 h 1117821"/>
              <a:gd name="connsiteX3" fmla="*/ 696442 w 1057503"/>
              <a:gd name="connsiteY3" fmla="*/ 159665 h 1117821"/>
              <a:gd name="connsiteX4" fmla="*/ 670592 w 1057503"/>
              <a:gd name="connsiteY4" fmla="*/ 114046 h 1117821"/>
              <a:gd name="connsiteX5" fmla="*/ 696442 w 1057503"/>
              <a:gd name="connsiteY5" fmla="*/ 45618 h 1117821"/>
              <a:gd name="connsiteX6" fmla="*/ 747974 w 1057503"/>
              <a:gd name="connsiteY6" fmla="*/ 22809 h 1117821"/>
              <a:gd name="connsiteX7" fmla="*/ 876888 w 1057503"/>
              <a:gd name="connsiteY7" fmla="*/ 22809 h 1117821"/>
              <a:gd name="connsiteX8" fmla="*/ 902739 w 1057503"/>
              <a:gd name="connsiteY8" fmla="*/ 68428 h 1117821"/>
              <a:gd name="connsiteX9" fmla="*/ 1031653 w 1057503"/>
              <a:gd name="connsiteY9" fmla="*/ 68428 h 1117821"/>
              <a:gd name="connsiteX10" fmla="*/ 1056152 w 1057503"/>
              <a:gd name="connsiteY10" fmla="*/ 795282 h 1117821"/>
              <a:gd name="connsiteX11" fmla="*/ 1057504 w 1057503"/>
              <a:gd name="connsiteY11" fmla="*/ 935348 h 1117821"/>
              <a:gd name="connsiteX12" fmla="*/ 980121 w 1057503"/>
              <a:gd name="connsiteY12" fmla="*/ 935348 h 1117821"/>
              <a:gd name="connsiteX13" fmla="*/ 980121 w 1057503"/>
              <a:gd name="connsiteY13" fmla="*/ 1117822 h 1117821"/>
              <a:gd name="connsiteX14" fmla="*/ 851207 w 1057503"/>
              <a:gd name="connsiteY14" fmla="*/ 1095012 h 1117821"/>
              <a:gd name="connsiteX15" fmla="*/ 799506 w 1057503"/>
              <a:gd name="connsiteY15" fmla="*/ 1049394 h 1117821"/>
              <a:gd name="connsiteX16" fmla="*/ 722124 w 1057503"/>
              <a:gd name="connsiteY16" fmla="*/ 1003775 h 1117821"/>
              <a:gd name="connsiteX17" fmla="*/ 670592 w 1057503"/>
              <a:gd name="connsiteY17" fmla="*/ 1003775 h 1117821"/>
              <a:gd name="connsiteX18" fmla="*/ 619060 w 1057503"/>
              <a:gd name="connsiteY18" fmla="*/ 958157 h 1117821"/>
              <a:gd name="connsiteX19" fmla="*/ 515827 w 1057503"/>
              <a:gd name="connsiteY19" fmla="*/ 935348 h 1117821"/>
              <a:gd name="connsiteX20" fmla="*/ 464295 w 1057503"/>
              <a:gd name="connsiteY20" fmla="*/ 912539 h 1117821"/>
              <a:gd name="connsiteX21" fmla="*/ 412763 w 1057503"/>
              <a:gd name="connsiteY21" fmla="*/ 889729 h 1117821"/>
              <a:gd name="connsiteX22" fmla="*/ 386912 w 1057503"/>
              <a:gd name="connsiteY22" fmla="*/ 889729 h 1117821"/>
              <a:gd name="connsiteX23" fmla="*/ 335380 w 1057503"/>
              <a:gd name="connsiteY23" fmla="*/ 844111 h 1117821"/>
              <a:gd name="connsiteX24" fmla="*/ 283679 w 1057503"/>
              <a:gd name="connsiteY24" fmla="*/ 844111 h 1117821"/>
              <a:gd name="connsiteX25" fmla="*/ 232147 w 1057503"/>
              <a:gd name="connsiteY25" fmla="*/ 798492 h 1117821"/>
              <a:gd name="connsiteX26" fmla="*/ 180615 w 1057503"/>
              <a:gd name="connsiteY26" fmla="*/ 798492 h 1117821"/>
              <a:gd name="connsiteX27" fmla="*/ 25850 w 1057503"/>
              <a:gd name="connsiteY27" fmla="*/ 638828 h 1117821"/>
              <a:gd name="connsiteX28" fmla="*/ 25850 w 1057503"/>
              <a:gd name="connsiteY28" fmla="*/ 478994 h 1117821"/>
              <a:gd name="connsiteX29" fmla="*/ 51532 w 1057503"/>
              <a:gd name="connsiteY29" fmla="*/ 456185 h 1117821"/>
              <a:gd name="connsiteX30" fmla="*/ 25850 w 1057503"/>
              <a:gd name="connsiteY30" fmla="*/ 410566 h 1117821"/>
              <a:gd name="connsiteX31" fmla="*/ 0 w 1057503"/>
              <a:gd name="connsiteY31" fmla="*/ 182474 h 1117821"/>
              <a:gd name="connsiteX32" fmla="*/ 25850 w 1057503"/>
              <a:gd name="connsiteY32" fmla="*/ 159665 h 1117821"/>
              <a:gd name="connsiteX33" fmla="*/ 25850 w 1057503"/>
              <a:gd name="connsiteY33" fmla="*/ 114046 h 1117821"/>
              <a:gd name="connsiteX34" fmla="*/ 77382 w 1057503"/>
              <a:gd name="connsiteY34" fmla="*/ 68428 h 1117821"/>
              <a:gd name="connsiteX35" fmla="*/ 180615 w 1057503"/>
              <a:gd name="connsiteY35" fmla="*/ 0 h 1117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7503" h="1117821">
                <a:moveTo>
                  <a:pt x="180615" y="0"/>
                </a:moveTo>
                <a:lnTo>
                  <a:pt x="386912" y="45618"/>
                </a:lnTo>
                <a:lnTo>
                  <a:pt x="644741" y="182474"/>
                </a:lnTo>
                <a:lnTo>
                  <a:pt x="696442" y="159665"/>
                </a:lnTo>
                <a:lnTo>
                  <a:pt x="670592" y="114046"/>
                </a:lnTo>
                <a:lnTo>
                  <a:pt x="696442" y="45618"/>
                </a:lnTo>
                <a:lnTo>
                  <a:pt x="747974" y="22809"/>
                </a:lnTo>
                <a:lnTo>
                  <a:pt x="876888" y="22809"/>
                </a:lnTo>
                <a:lnTo>
                  <a:pt x="902739" y="68428"/>
                </a:lnTo>
                <a:lnTo>
                  <a:pt x="1031653" y="68428"/>
                </a:lnTo>
                <a:lnTo>
                  <a:pt x="1056152" y="795282"/>
                </a:lnTo>
                <a:lnTo>
                  <a:pt x="1057504" y="935348"/>
                </a:lnTo>
                <a:lnTo>
                  <a:pt x="980121" y="935348"/>
                </a:lnTo>
                <a:lnTo>
                  <a:pt x="980121" y="1117822"/>
                </a:lnTo>
                <a:lnTo>
                  <a:pt x="851207" y="1095012"/>
                </a:lnTo>
                <a:lnTo>
                  <a:pt x="799506" y="1049394"/>
                </a:lnTo>
                <a:lnTo>
                  <a:pt x="722124" y="1003775"/>
                </a:lnTo>
                <a:lnTo>
                  <a:pt x="670592" y="1003775"/>
                </a:lnTo>
                <a:lnTo>
                  <a:pt x="619060" y="958157"/>
                </a:lnTo>
                <a:lnTo>
                  <a:pt x="515827" y="935348"/>
                </a:lnTo>
                <a:lnTo>
                  <a:pt x="464295" y="912539"/>
                </a:lnTo>
                <a:lnTo>
                  <a:pt x="412763" y="889729"/>
                </a:lnTo>
                <a:lnTo>
                  <a:pt x="386912" y="889729"/>
                </a:lnTo>
                <a:lnTo>
                  <a:pt x="335380" y="844111"/>
                </a:lnTo>
                <a:lnTo>
                  <a:pt x="283679" y="844111"/>
                </a:lnTo>
                <a:lnTo>
                  <a:pt x="232147" y="798492"/>
                </a:lnTo>
                <a:lnTo>
                  <a:pt x="180615" y="798492"/>
                </a:lnTo>
                <a:lnTo>
                  <a:pt x="25850" y="638828"/>
                </a:lnTo>
                <a:lnTo>
                  <a:pt x="25850" y="478994"/>
                </a:lnTo>
                <a:lnTo>
                  <a:pt x="51532" y="456185"/>
                </a:lnTo>
                <a:lnTo>
                  <a:pt x="25850" y="410566"/>
                </a:lnTo>
                <a:lnTo>
                  <a:pt x="0" y="182474"/>
                </a:lnTo>
                <a:lnTo>
                  <a:pt x="25850" y="159665"/>
                </a:lnTo>
                <a:lnTo>
                  <a:pt x="25850" y="114046"/>
                </a:lnTo>
                <a:lnTo>
                  <a:pt x="77382" y="68428"/>
                </a:lnTo>
                <a:lnTo>
                  <a:pt x="180615"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4" name="Freeform: Shape 123">
            <a:extLst>
              <a:ext uri="{FF2B5EF4-FFF2-40B4-BE49-F238E27FC236}">
                <a16:creationId xmlns:a16="http://schemas.microsoft.com/office/drawing/2014/main" id="{ED6EA031-8020-7649-D036-7EC5A10754A2}"/>
              </a:ext>
            </a:extLst>
          </p:cNvPr>
          <p:cNvSpPr/>
          <p:nvPr/>
        </p:nvSpPr>
        <p:spPr>
          <a:xfrm>
            <a:off x="8584643" y="694993"/>
            <a:ext cx="257979" cy="433514"/>
          </a:xfrm>
          <a:custGeom>
            <a:avLst/>
            <a:gdLst>
              <a:gd name="connsiteX0" fmla="*/ 25850 w 257997"/>
              <a:gd name="connsiteY0" fmla="*/ 22809 h 433544"/>
              <a:gd name="connsiteX1" fmla="*/ 103233 w 257997"/>
              <a:gd name="connsiteY1" fmla="*/ 0 h 433544"/>
              <a:gd name="connsiteX2" fmla="*/ 180615 w 257997"/>
              <a:gd name="connsiteY2" fmla="*/ 45618 h 433544"/>
              <a:gd name="connsiteX3" fmla="*/ 180615 w 257997"/>
              <a:gd name="connsiteY3" fmla="*/ 205283 h 433544"/>
              <a:gd name="connsiteX4" fmla="*/ 128915 w 257997"/>
              <a:gd name="connsiteY4" fmla="*/ 228092 h 433544"/>
              <a:gd name="connsiteX5" fmla="*/ 128915 w 257997"/>
              <a:gd name="connsiteY5" fmla="*/ 273880 h 433544"/>
              <a:gd name="connsiteX6" fmla="*/ 257998 w 257997"/>
              <a:gd name="connsiteY6" fmla="*/ 319498 h 433544"/>
              <a:gd name="connsiteX7" fmla="*/ 103233 w 257997"/>
              <a:gd name="connsiteY7" fmla="*/ 433545 h 433544"/>
              <a:gd name="connsiteX8" fmla="*/ 77382 w 257997"/>
              <a:gd name="connsiteY8" fmla="*/ 365117 h 433544"/>
              <a:gd name="connsiteX9" fmla="*/ 25850 w 257997"/>
              <a:gd name="connsiteY9" fmla="*/ 365117 h 433544"/>
              <a:gd name="connsiteX10" fmla="*/ 0 w 257997"/>
              <a:gd name="connsiteY10" fmla="*/ 319498 h 433544"/>
              <a:gd name="connsiteX11" fmla="*/ 0 w 257997"/>
              <a:gd name="connsiteY11" fmla="*/ 228092 h 433544"/>
              <a:gd name="connsiteX12" fmla="*/ 25850 w 257997"/>
              <a:gd name="connsiteY12" fmla="*/ 182474 h 433544"/>
              <a:gd name="connsiteX13" fmla="*/ 25850 w 257997"/>
              <a:gd name="connsiteY13" fmla="*/ 22809 h 43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997" h="433544">
                <a:moveTo>
                  <a:pt x="25850" y="22809"/>
                </a:moveTo>
                <a:lnTo>
                  <a:pt x="103233" y="0"/>
                </a:lnTo>
                <a:lnTo>
                  <a:pt x="180615" y="45618"/>
                </a:lnTo>
                <a:lnTo>
                  <a:pt x="180615" y="205283"/>
                </a:lnTo>
                <a:lnTo>
                  <a:pt x="128915" y="228092"/>
                </a:lnTo>
                <a:lnTo>
                  <a:pt x="128915" y="273880"/>
                </a:lnTo>
                <a:lnTo>
                  <a:pt x="257998" y="319498"/>
                </a:lnTo>
                <a:lnTo>
                  <a:pt x="103233" y="433545"/>
                </a:lnTo>
                <a:lnTo>
                  <a:pt x="77382" y="365117"/>
                </a:lnTo>
                <a:lnTo>
                  <a:pt x="25850" y="365117"/>
                </a:lnTo>
                <a:lnTo>
                  <a:pt x="0" y="319498"/>
                </a:lnTo>
                <a:lnTo>
                  <a:pt x="0" y="228092"/>
                </a:lnTo>
                <a:lnTo>
                  <a:pt x="25850" y="182474"/>
                </a:lnTo>
                <a:lnTo>
                  <a:pt x="25850" y="22809"/>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5" name="Freeform: Shape 124">
            <a:extLst>
              <a:ext uri="{FF2B5EF4-FFF2-40B4-BE49-F238E27FC236}">
                <a16:creationId xmlns:a16="http://schemas.microsoft.com/office/drawing/2014/main" id="{58232760-A4DD-C9CD-6BD5-DC337419A452}"/>
              </a:ext>
            </a:extLst>
          </p:cNvPr>
          <p:cNvSpPr/>
          <p:nvPr/>
        </p:nvSpPr>
        <p:spPr>
          <a:xfrm>
            <a:off x="7501364" y="717803"/>
            <a:ext cx="1315408" cy="1345989"/>
          </a:xfrm>
          <a:custGeom>
            <a:avLst/>
            <a:gdLst>
              <a:gd name="connsiteX0" fmla="*/ 464295 w 1315501"/>
              <a:gd name="connsiteY0" fmla="*/ 114046 h 1346083"/>
              <a:gd name="connsiteX1" fmla="*/ 722293 w 1315501"/>
              <a:gd name="connsiteY1" fmla="*/ 22809 h 1346083"/>
              <a:gd name="connsiteX2" fmla="*/ 1109205 w 1315501"/>
              <a:gd name="connsiteY2" fmla="*/ 0 h 1346083"/>
              <a:gd name="connsiteX3" fmla="*/ 1109205 w 1315501"/>
              <a:gd name="connsiteY3" fmla="*/ 159665 h 1346083"/>
              <a:gd name="connsiteX4" fmla="*/ 1083354 w 1315501"/>
              <a:gd name="connsiteY4" fmla="*/ 205283 h 1346083"/>
              <a:gd name="connsiteX5" fmla="*/ 1083354 w 1315501"/>
              <a:gd name="connsiteY5" fmla="*/ 296689 h 1346083"/>
              <a:gd name="connsiteX6" fmla="*/ 1109205 w 1315501"/>
              <a:gd name="connsiteY6" fmla="*/ 342308 h 1346083"/>
              <a:gd name="connsiteX7" fmla="*/ 1160737 w 1315501"/>
              <a:gd name="connsiteY7" fmla="*/ 342308 h 1346083"/>
              <a:gd name="connsiteX8" fmla="*/ 1186587 w 1315501"/>
              <a:gd name="connsiteY8" fmla="*/ 410735 h 1346083"/>
              <a:gd name="connsiteX9" fmla="*/ 1186587 w 1315501"/>
              <a:gd name="connsiteY9" fmla="*/ 456354 h 1346083"/>
              <a:gd name="connsiteX10" fmla="*/ 1160737 w 1315501"/>
              <a:gd name="connsiteY10" fmla="*/ 479163 h 1346083"/>
              <a:gd name="connsiteX11" fmla="*/ 1212269 w 1315501"/>
              <a:gd name="connsiteY11" fmla="*/ 752874 h 1346083"/>
              <a:gd name="connsiteX12" fmla="*/ 1186587 w 1315501"/>
              <a:gd name="connsiteY12" fmla="*/ 775683 h 1346083"/>
              <a:gd name="connsiteX13" fmla="*/ 1186587 w 1315501"/>
              <a:gd name="connsiteY13" fmla="*/ 935517 h 1346083"/>
              <a:gd name="connsiteX14" fmla="*/ 1315502 w 1315501"/>
              <a:gd name="connsiteY14" fmla="*/ 1072372 h 1346083"/>
              <a:gd name="connsiteX15" fmla="*/ 1263970 w 1315501"/>
              <a:gd name="connsiteY15" fmla="*/ 1095182 h 1346083"/>
              <a:gd name="connsiteX16" fmla="*/ 1160737 w 1315501"/>
              <a:gd name="connsiteY16" fmla="*/ 1163609 h 1346083"/>
              <a:gd name="connsiteX17" fmla="*/ 1134886 w 1315501"/>
              <a:gd name="connsiteY17" fmla="*/ 1163609 h 1346083"/>
              <a:gd name="connsiteX18" fmla="*/ 1031822 w 1315501"/>
              <a:gd name="connsiteY18" fmla="*/ 1254846 h 1346083"/>
              <a:gd name="connsiteX19" fmla="*/ 1005972 w 1315501"/>
              <a:gd name="connsiteY19" fmla="*/ 1254846 h 1346083"/>
              <a:gd name="connsiteX20" fmla="*/ 902739 w 1315501"/>
              <a:gd name="connsiteY20" fmla="*/ 1300465 h 1346083"/>
              <a:gd name="connsiteX21" fmla="*/ 877057 w 1315501"/>
              <a:gd name="connsiteY21" fmla="*/ 1300465 h 1346083"/>
              <a:gd name="connsiteX22" fmla="*/ 825357 w 1315501"/>
              <a:gd name="connsiteY22" fmla="*/ 1346083 h 1346083"/>
              <a:gd name="connsiteX23" fmla="*/ 773825 w 1315501"/>
              <a:gd name="connsiteY23" fmla="*/ 1254846 h 1346083"/>
              <a:gd name="connsiteX24" fmla="*/ 696442 w 1315501"/>
              <a:gd name="connsiteY24" fmla="*/ 1209228 h 1346083"/>
              <a:gd name="connsiteX25" fmla="*/ 670761 w 1315501"/>
              <a:gd name="connsiteY25" fmla="*/ 1209228 h 1346083"/>
              <a:gd name="connsiteX26" fmla="*/ 464295 w 1315501"/>
              <a:gd name="connsiteY26" fmla="*/ 1049563 h 1346083"/>
              <a:gd name="connsiteX27" fmla="*/ 283848 w 1315501"/>
              <a:gd name="connsiteY27" fmla="*/ 912708 h 1346083"/>
              <a:gd name="connsiteX28" fmla="*/ 0 w 1315501"/>
              <a:gd name="connsiteY28" fmla="*/ 684446 h 1346083"/>
              <a:gd name="connsiteX29" fmla="*/ 51701 w 1315501"/>
              <a:gd name="connsiteY29" fmla="*/ 616018 h 1346083"/>
              <a:gd name="connsiteX30" fmla="*/ 386912 w 1315501"/>
              <a:gd name="connsiteY30" fmla="*/ 410735 h 1346083"/>
              <a:gd name="connsiteX31" fmla="*/ 412763 w 1315501"/>
              <a:gd name="connsiteY31" fmla="*/ 342308 h 1346083"/>
              <a:gd name="connsiteX32" fmla="*/ 490145 w 1315501"/>
              <a:gd name="connsiteY32" fmla="*/ 319498 h 1346083"/>
              <a:gd name="connsiteX33" fmla="*/ 490145 w 1315501"/>
              <a:gd name="connsiteY33" fmla="*/ 296689 h 1346083"/>
              <a:gd name="connsiteX34" fmla="*/ 438613 w 1315501"/>
              <a:gd name="connsiteY34" fmla="*/ 251071 h 1346083"/>
              <a:gd name="connsiteX35" fmla="*/ 464295 w 1315501"/>
              <a:gd name="connsiteY35" fmla="*/ 114046 h 1346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15501" h="1346083">
                <a:moveTo>
                  <a:pt x="464295" y="114046"/>
                </a:moveTo>
                <a:lnTo>
                  <a:pt x="722293" y="22809"/>
                </a:lnTo>
                <a:lnTo>
                  <a:pt x="1109205" y="0"/>
                </a:lnTo>
                <a:lnTo>
                  <a:pt x="1109205" y="159665"/>
                </a:lnTo>
                <a:lnTo>
                  <a:pt x="1083354" y="205283"/>
                </a:lnTo>
                <a:lnTo>
                  <a:pt x="1083354" y="296689"/>
                </a:lnTo>
                <a:lnTo>
                  <a:pt x="1109205" y="342308"/>
                </a:lnTo>
                <a:lnTo>
                  <a:pt x="1160737" y="342308"/>
                </a:lnTo>
                <a:lnTo>
                  <a:pt x="1186587" y="410735"/>
                </a:lnTo>
                <a:lnTo>
                  <a:pt x="1186587" y="456354"/>
                </a:lnTo>
                <a:lnTo>
                  <a:pt x="1160737" y="479163"/>
                </a:lnTo>
                <a:lnTo>
                  <a:pt x="1212269" y="752874"/>
                </a:lnTo>
                <a:lnTo>
                  <a:pt x="1186587" y="775683"/>
                </a:lnTo>
                <a:lnTo>
                  <a:pt x="1186587" y="935517"/>
                </a:lnTo>
                <a:lnTo>
                  <a:pt x="1315502" y="1072372"/>
                </a:lnTo>
                <a:lnTo>
                  <a:pt x="1263970" y="1095182"/>
                </a:lnTo>
                <a:lnTo>
                  <a:pt x="1160737" y="1163609"/>
                </a:lnTo>
                <a:lnTo>
                  <a:pt x="1134886" y="1163609"/>
                </a:lnTo>
                <a:lnTo>
                  <a:pt x="1031822" y="1254846"/>
                </a:lnTo>
                <a:lnTo>
                  <a:pt x="1005972" y="1254846"/>
                </a:lnTo>
                <a:lnTo>
                  <a:pt x="902739" y="1300465"/>
                </a:lnTo>
                <a:lnTo>
                  <a:pt x="877057" y="1300465"/>
                </a:lnTo>
                <a:lnTo>
                  <a:pt x="825357" y="1346083"/>
                </a:lnTo>
                <a:lnTo>
                  <a:pt x="773825" y="1254846"/>
                </a:lnTo>
                <a:lnTo>
                  <a:pt x="696442" y="1209228"/>
                </a:lnTo>
                <a:lnTo>
                  <a:pt x="670761" y="1209228"/>
                </a:lnTo>
                <a:lnTo>
                  <a:pt x="464295" y="1049563"/>
                </a:lnTo>
                <a:lnTo>
                  <a:pt x="283848" y="912708"/>
                </a:lnTo>
                <a:lnTo>
                  <a:pt x="0" y="684446"/>
                </a:lnTo>
                <a:lnTo>
                  <a:pt x="51701" y="616018"/>
                </a:lnTo>
                <a:lnTo>
                  <a:pt x="386912" y="410735"/>
                </a:lnTo>
                <a:lnTo>
                  <a:pt x="412763" y="342308"/>
                </a:lnTo>
                <a:lnTo>
                  <a:pt x="490145" y="319498"/>
                </a:lnTo>
                <a:lnTo>
                  <a:pt x="490145" y="296689"/>
                </a:lnTo>
                <a:lnTo>
                  <a:pt x="438613" y="251071"/>
                </a:lnTo>
                <a:lnTo>
                  <a:pt x="464295" y="114046"/>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6" name="Freeform: Shape 125">
            <a:extLst>
              <a:ext uri="{FF2B5EF4-FFF2-40B4-BE49-F238E27FC236}">
                <a16:creationId xmlns:a16="http://schemas.microsoft.com/office/drawing/2014/main" id="{2A7C2D4E-AB74-FD08-2B0F-020734C1294D}"/>
              </a:ext>
            </a:extLst>
          </p:cNvPr>
          <p:cNvSpPr/>
          <p:nvPr/>
        </p:nvSpPr>
        <p:spPr>
          <a:xfrm>
            <a:off x="8584642" y="2542921"/>
            <a:ext cx="567318" cy="775629"/>
          </a:xfrm>
          <a:custGeom>
            <a:avLst/>
            <a:gdLst>
              <a:gd name="connsiteX0" fmla="*/ 0 w 567358"/>
              <a:gd name="connsiteY0" fmla="*/ 616018 h 775683"/>
              <a:gd name="connsiteX1" fmla="*/ 103233 w 567358"/>
              <a:gd name="connsiteY1" fmla="*/ 479163 h 775683"/>
              <a:gd name="connsiteX2" fmla="*/ 154765 w 567358"/>
              <a:gd name="connsiteY2" fmla="*/ 501972 h 775683"/>
              <a:gd name="connsiteX3" fmla="*/ 335380 w 567358"/>
              <a:gd name="connsiteY3" fmla="*/ 319498 h 775683"/>
              <a:gd name="connsiteX4" fmla="*/ 335380 w 567358"/>
              <a:gd name="connsiteY4" fmla="*/ 273880 h 775683"/>
              <a:gd name="connsiteX5" fmla="*/ 412763 w 567358"/>
              <a:gd name="connsiteY5" fmla="*/ 159665 h 775683"/>
              <a:gd name="connsiteX6" fmla="*/ 386912 w 567358"/>
              <a:gd name="connsiteY6" fmla="*/ 0 h 775683"/>
              <a:gd name="connsiteX7" fmla="*/ 490145 w 567358"/>
              <a:gd name="connsiteY7" fmla="*/ 91237 h 775683"/>
              <a:gd name="connsiteX8" fmla="*/ 464295 w 567358"/>
              <a:gd name="connsiteY8" fmla="*/ 136855 h 775683"/>
              <a:gd name="connsiteX9" fmla="*/ 490145 w 567358"/>
              <a:gd name="connsiteY9" fmla="*/ 182474 h 775683"/>
              <a:gd name="connsiteX10" fmla="*/ 515827 w 567358"/>
              <a:gd name="connsiteY10" fmla="*/ 228092 h 775683"/>
              <a:gd name="connsiteX11" fmla="*/ 490145 w 567358"/>
              <a:gd name="connsiteY11" fmla="*/ 228092 h 775683"/>
              <a:gd name="connsiteX12" fmla="*/ 464295 w 567358"/>
              <a:gd name="connsiteY12" fmla="*/ 228092 h 775683"/>
              <a:gd name="connsiteX13" fmla="*/ 464295 w 567358"/>
              <a:gd name="connsiteY13" fmla="*/ 250902 h 775683"/>
              <a:gd name="connsiteX14" fmla="*/ 541677 w 567358"/>
              <a:gd name="connsiteY14" fmla="*/ 365117 h 775683"/>
              <a:gd name="connsiteX15" fmla="*/ 490145 w 567358"/>
              <a:gd name="connsiteY15" fmla="*/ 547591 h 775683"/>
              <a:gd name="connsiteX16" fmla="*/ 567359 w 567358"/>
              <a:gd name="connsiteY16" fmla="*/ 752874 h 775683"/>
              <a:gd name="connsiteX17" fmla="*/ 567359 w 567358"/>
              <a:gd name="connsiteY17" fmla="*/ 775683 h 775683"/>
              <a:gd name="connsiteX18" fmla="*/ 412763 w 567358"/>
              <a:gd name="connsiteY18" fmla="*/ 775683 h 775683"/>
              <a:gd name="connsiteX19" fmla="*/ 128915 w 567358"/>
              <a:gd name="connsiteY19" fmla="*/ 775683 h 775683"/>
              <a:gd name="connsiteX20" fmla="*/ 103233 w 567358"/>
              <a:gd name="connsiteY20" fmla="*/ 730065 h 775683"/>
              <a:gd name="connsiteX21" fmla="*/ 0 w 567358"/>
              <a:gd name="connsiteY21" fmla="*/ 616018 h 77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7358" h="775683">
                <a:moveTo>
                  <a:pt x="0" y="616018"/>
                </a:moveTo>
                <a:lnTo>
                  <a:pt x="103233" y="479163"/>
                </a:lnTo>
                <a:lnTo>
                  <a:pt x="154765" y="501972"/>
                </a:lnTo>
                <a:lnTo>
                  <a:pt x="335380" y="319498"/>
                </a:lnTo>
                <a:lnTo>
                  <a:pt x="335380" y="273880"/>
                </a:lnTo>
                <a:lnTo>
                  <a:pt x="412763" y="159665"/>
                </a:lnTo>
                <a:lnTo>
                  <a:pt x="386912" y="0"/>
                </a:lnTo>
                <a:lnTo>
                  <a:pt x="490145" y="91237"/>
                </a:lnTo>
                <a:lnTo>
                  <a:pt x="464295" y="136855"/>
                </a:lnTo>
                <a:lnTo>
                  <a:pt x="490145" y="182474"/>
                </a:lnTo>
                <a:lnTo>
                  <a:pt x="515827" y="228092"/>
                </a:lnTo>
                <a:lnTo>
                  <a:pt x="490145" y="228092"/>
                </a:lnTo>
                <a:lnTo>
                  <a:pt x="464295" y="228092"/>
                </a:lnTo>
                <a:lnTo>
                  <a:pt x="464295" y="250902"/>
                </a:lnTo>
                <a:lnTo>
                  <a:pt x="541677" y="365117"/>
                </a:lnTo>
                <a:lnTo>
                  <a:pt x="490145" y="547591"/>
                </a:lnTo>
                <a:lnTo>
                  <a:pt x="567359" y="752874"/>
                </a:lnTo>
                <a:lnTo>
                  <a:pt x="567359" y="775683"/>
                </a:lnTo>
                <a:lnTo>
                  <a:pt x="412763" y="775683"/>
                </a:lnTo>
                <a:lnTo>
                  <a:pt x="128915" y="775683"/>
                </a:lnTo>
                <a:lnTo>
                  <a:pt x="103233" y="730065"/>
                </a:lnTo>
                <a:lnTo>
                  <a:pt x="0" y="616018"/>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7" name="Freeform: Shape 126">
            <a:extLst>
              <a:ext uri="{FF2B5EF4-FFF2-40B4-BE49-F238E27FC236}">
                <a16:creationId xmlns:a16="http://schemas.microsoft.com/office/drawing/2014/main" id="{B4589C6E-DF42-4650-7E15-4BED78F6CB17}"/>
              </a:ext>
            </a:extLst>
          </p:cNvPr>
          <p:cNvSpPr/>
          <p:nvPr/>
        </p:nvSpPr>
        <p:spPr>
          <a:xfrm>
            <a:off x="10028957" y="3680431"/>
            <a:ext cx="77377" cy="94440"/>
          </a:xfrm>
          <a:custGeom>
            <a:avLst/>
            <a:gdLst>
              <a:gd name="connsiteX0" fmla="*/ 8279 w 77382"/>
              <a:gd name="connsiteY0" fmla="*/ 0 h 94447"/>
              <a:gd name="connsiteX1" fmla="*/ 77382 w 77382"/>
              <a:gd name="connsiteY1" fmla="*/ 3210 h 94447"/>
              <a:gd name="connsiteX2" fmla="*/ 77382 w 77382"/>
              <a:gd name="connsiteY2" fmla="*/ 71638 h 94447"/>
              <a:gd name="connsiteX3" fmla="*/ 51532 w 77382"/>
              <a:gd name="connsiteY3" fmla="*/ 94447 h 94447"/>
              <a:gd name="connsiteX4" fmla="*/ 0 w 77382"/>
              <a:gd name="connsiteY4" fmla="*/ 71638 h 94447"/>
              <a:gd name="connsiteX5" fmla="*/ 8279 w 77382"/>
              <a:gd name="connsiteY5" fmla="*/ 0 h 94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82" h="94447">
                <a:moveTo>
                  <a:pt x="8279" y="0"/>
                </a:moveTo>
                <a:lnTo>
                  <a:pt x="77382" y="3210"/>
                </a:lnTo>
                <a:lnTo>
                  <a:pt x="77382" y="71638"/>
                </a:lnTo>
                <a:lnTo>
                  <a:pt x="51532" y="94447"/>
                </a:lnTo>
                <a:lnTo>
                  <a:pt x="0" y="71638"/>
                </a:lnTo>
                <a:lnTo>
                  <a:pt x="8279" y="0"/>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8" name="Freeform: Shape 127">
            <a:extLst>
              <a:ext uri="{FF2B5EF4-FFF2-40B4-BE49-F238E27FC236}">
                <a16:creationId xmlns:a16="http://schemas.microsoft.com/office/drawing/2014/main" id="{08411E1C-B588-08E1-5B04-CE37D48E6C0D}"/>
              </a:ext>
            </a:extLst>
          </p:cNvPr>
          <p:cNvSpPr/>
          <p:nvPr/>
        </p:nvSpPr>
        <p:spPr>
          <a:xfrm>
            <a:off x="10073221" y="3569601"/>
            <a:ext cx="677808" cy="798436"/>
          </a:xfrm>
          <a:custGeom>
            <a:avLst/>
            <a:gdLst>
              <a:gd name="connsiteX0" fmla="*/ 652175 w 677856"/>
              <a:gd name="connsiteY0" fmla="*/ 273711 h 798492"/>
              <a:gd name="connsiteX1" fmla="*/ 600474 w 677856"/>
              <a:gd name="connsiteY1" fmla="*/ 387757 h 798492"/>
              <a:gd name="connsiteX2" fmla="*/ 626325 w 677856"/>
              <a:gd name="connsiteY2" fmla="*/ 456185 h 798492"/>
              <a:gd name="connsiteX3" fmla="*/ 652175 w 677856"/>
              <a:gd name="connsiteY3" fmla="*/ 638828 h 798492"/>
              <a:gd name="connsiteX4" fmla="*/ 677857 w 677856"/>
              <a:gd name="connsiteY4" fmla="*/ 661637 h 798492"/>
              <a:gd name="connsiteX5" fmla="*/ 677857 w 677856"/>
              <a:gd name="connsiteY5" fmla="*/ 707255 h 798492"/>
              <a:gd name="connsiteX6" fmla="*/ 497410 w 677856"/>
              <a:gd name="connsiteY6" fmla="*/ 798492 h 798492"/>
              <a:gd name="connsiteX7" fmla="*/ 316795 w 677856"/>
              <a:gd name="connsiteY7" fmla="*/ 775683 h 798492"/>
              <a:gd name="connsiteX8" fmla="*/ 290945 w 677856"/>
              <a:gd name="connsiteY8" fmla="*/ 638828 h 798492"/>
              <a:gd name="connsiteX9" fmla="*/ 253943 w 677856"/>
              <a:gd name="connsiteY9" fmla="*/ 593209 h 798492"/>
              <a:gd name="connsiteX10" fmla="*/ 228261 w 677856"/>
              <a:gd name="connsiteY10" fmla="*/ 524781 h 798492"/>
              <a:gd name="connsiteX11" fmla="*/ 136180 w 677856"/>
              <a:gd name="connsiteY11" fmla="*/ 478994 h 798492"/>
              <a:gd name="connsiteX12" fmla="*/ 84648 w 677856"/>
              <a:gd name="connsiteY12" fmla="*/ 524781 h 798492"/>
              <a:gd name="connsiteX13" fmla="*/ 58966 w 677856"/>
              <a:gd name="connsiteY13" fmla="*/ 524781 h 798492"/>
              <a:gd name="connsiteX14" fmla="*/ 0 w 677856"/>
              <a:gd name="connsiteY14" fmla="*/ 342139 h 798492"/>
              <a:gd name="connsiteX15" fmla="*/ 7265 w 677856"/>
              <a:gd name="connsiteY15" fmla="*/ 205283 h 798492"/>
              <a:gd name="connsiteX16" fmla="*/ 33116 w 677856"/>
              <a:gd name="connsiteY16" fmla="*/ 182474 h 798492"/>
              <a:gd name="connsiteX17" fmla="*/ 33116 w 677856"/>
              <a:gd name="connsiteY17" fmla="*/ 114046 h 798492"/>
              <a:gd name="connsiteX18" fmla="*/ 58966 w 677856"/>
              <a:gd name="connsiteY18" fmla="*/ 91237 h 798492"/>
              <a:gd name="connsiteX19" fmla="*/ 58966 w 677856"/>
              <a:gd name="connsiteY19" fmla="*/ 22809 h 798492"/>
              <a:gd name="connsiteX20" fmla="*/ 136180 w 677856"/>
              <a:gd name="connsiteY20" fmla="*/ 22809 h 798492"/>
              <a:gd name="connsiteX21" fmla="*/ 110498 w 677856"/>
              <a:gd name="connsiteY21" fmla="*/ 45618 h 798492"/>
              <a:gd name="connsiteX22" fmla="*/ 136180 w 677856"/>
              <a:gd name="connsiteY22" fmla="*/ 114046 h 798492"/>
              <a:gd name="connsiteX23" fmla="*/ 187880 w 677856"/>
              <a:gd name="connsiteY23" fmla="*/ 114046 h 798492"/>
              <a:gd name="connsiteX24" fmla="*/ 213562 w 677856"/>
              <a:gd name="connsiteY24" fmla="*/ 114046 h 798492"/>
              <a:gd name="connsiteX25" fmla="*/ 265263 w 677856"/>
              <a:gd name="connsiteY25" fmla="*/ 91237 h 798492"/>
              <a:gd name="connsiteX26" fmla="*/ 290945 w 677856"/>
              <a:gd name="connsiteY26" fmla="*/ 45618 h 798492"/>
              <a:gd name="connsiteX27" fmla="*/ 316795 w 677856"/>
              <a:gd name="connsiteY27" fmla="*/ 0 h 798492"/>
              <a:gd name="connsiteX28" fmla="*/ 445710 w 677856"/>
              <a:gd name="connsiteY28" fmla="*/ 45618 h 798492"/>
              <a:gd name="connsiteX29" fmla="*/ 652175 w 677856"/>
              <a:gd name="connsiteY29" fmla="*/ 273711 h 79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77856" h="798492">
                <a:moveTo>
                  <a:pt x="652175" y="273711"/>
                </a:moveTo>
                <a:lnTo>
                  <a:pt x="600474" y="387757"/>
                </a:lnTo>
                <a:lnTo>
                  <a:pt x="626325" y="456185"/>
                </a:lnTo>
                <a:lnTo>
                  <a:pt x="652175" y="638828"/>
                </a:lnTo>
                <a:lnTo>
                  <a:pt x="677857" y="661637"/>
                </a:lnTo>
                <a:lnTo>
                  <a:pt x="677857" y="707255"/>
                </a:lnTo>
                <a:lnTo>
                  <a:pt x="497410" y="798492"/>
                </a:lnTo>
                <a:lnTo>
                  <a:pt x="316795" y="775683"/>
                </a:lnTo>
                <a:lnTo>
                  <a:pt x="290945" y="638828"/>
                </a:lnTo>
                <a:lnTo>
                  <a:pt x="253943" y="593209"/>
                </a:lnTo>
                <a:lnTo>
                  <a:pt x="228261" y="524781"/>
                </a:lnTo>
                <a:lnTo>
                  <a:pt x="136180" y="478994"/>
                </a:lnTo>
                <a:lnTo>
                  <a:pt x="84648" y="524781"/>
                </a:lnTo>
                <a:lnTo>
                  <a:pt x="58966" y="524781"/>
                </a:lnTo>
                <a:lnTo>
                  <a:pt x="0" y="342139"/>
                </a:lnTo>
                <a:lnTo>
                  <a:pt x="7265" y="205283"/>
                </a:lnTo>
                <a:lnTo>
                  <a:pt x="33116" y="182474"/>
                </a:lnTo>
                <a:lnTo>
                  <a:pt x="33116" y="114046"/>
                </a:lnTo>
                <a:lnTo>
                  <a:pt x="58966" y="91237"/>
                </a:lnTo>
                <a:lnTo>
                  <a:pt x="58966" y="22809"/>
                </a:lnTo>
                <a:lnTo>
                  <a:pt x="136180" y="22809"/>
                </a:lnTo>
                <a:lnTo>
                  <a:pt x="110498" y="45618"/>
                </a:lnTo>
                <a:lnTo>
                  <a:pt x="136180" y="114046"/>
                </a:lnTo>
                <a:lnTo>
                  <a:pt x="187880" y="114046"/>
                </a:lnTo>
                <a:lnTo>
                  <a:pt x="213562" y="114046"/>
                </a:lnTo>
                <a:lnTo>
                  <a:pt x="265263" y="91237"/>
                </a:lnTo>
                <a:lnTo>
                  <a:pt x="290945" y="45618"/>
                </a:lnTo>
                <a:lnTo>
                  <a:pt x="316795" y="0"/>
                </a:lnTo>
                <a:lnTo>
                  <a:pt x="445710" y="45618"/>
                </a:lnTo>
                <a:lnTo>
                  <a:pt x="652175" y="273711"/>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9" name="Freeform: Shape 128">
            <a:extLst>
              <a:ext uri="{FF2B5EF4-FFF2-40B4-BE49-F238E27FC236}">
                <a16:creationId xmlns:a16="http://schemas.microsoft.com/office/drawing/2014/main" id="{D785FB0F-67CC-20E1-B03C-689198E4A044}"/>
              </a:ext>
            </a:extLst>
          </p:cNvPr>
          <p:cNvSpPr/>
          <p:nvPr/>
        </p:nvSpPr>
        <p:spPr>
          <a:xfrm>
            <a:off x="7862570" y="2679765"/>
            <a:ext cx="232131" cy="433514"/>
          </a:xfrm>
          <a:custGeom>
            <a:avLst/>
            <a:gdLst>
              <a:gd name="connsiteX0" fmla="*/ 25682 w 232147"/>
              <a:gd name="connsiteY0" fmla="*/ 433545 h 433544"/>
              <a:gd name="connsiteX1" fmla="*/ 0 w 232147"/>
              <a:gd name="connsiteY1" fmla="*/ 296689 h 433544"/>
              <a:gd name="connsiteX2" fmla="*/ 25682 w 232147"/>
              <a:gd name="connsiteY2" fmla="*/ 205452 h 433544"/>
              <a:gd name="connsiteX3" fmla="*/ 25682 w 232147"/>
              <a:gd name="connsiteY3" fmla="*/ 114046 h 433544"/>
              <a:gd name="connsiteX4" fmla="*/ 25682 w 232147"/>
              <a:gd name="connsiteY4" fmla="*/ 45618 h 433544"/>
              <a:gd name="connsiteX5" fmla="*/ 25682 w 232147"/>
              <a:gd name="connsiteY5" fmla="*/ 0 h 433544"/>
              <a:gd name="connsiteX6" fmla="*/ 206297 w 232147"/>
              <a:gd name="connsiteY6" fmla="*/ 22809 h 433544"/>
              <a:gd name="connsiteX7" fmla="*/ 232147 w 232147"/>
              <a:gd name="connsiteY7" fmla="*/ 45618 h 433544"/>
              <a:gd name="connsiteX8" fmla="*/ 232147 w 232147"/>
              <a:gd name="connsiteY8" fmla="*/ 228261 h 433544"/>
              <a:gd name="connsiteX9" fmla="*/ 232147 w 232147"/>
              <a:gd name="connsiteY9" fmla="*/ 410735 h 433544"/>
              <a:gd name="connsiteX10" fmla="*/ 25682 w 232147"/>
              <a:gd name="connsiteY10" fmla="*/ 433545 h 43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147" h="433544">
                <a:moveTo>
                  <a:pt x="25682" y="433545"/>
                </a:moveTo>
                <a:lnTo>
                  <a:pt x="0" y="296689"/>
                </a:lnTo>
                <a:lnTo>
                  <a:pt x="25682" y="205452"/>
                </a:lnTo>
                <a:lnTo>
                  <a:pt x="25682" y="114046"/>
                </a:lnTo>
                <a:lnTo>
                  <a:pt x="25682" y="45618"/>
                </a:lnTo>
                <a:lnTo>
                  <a:pt x="25682" y="0"/>
                </a:lnTo>
                <a:lnTo>
                  <a:pt x="206297" y="22809"/>
                </a:lnTo>
                <a:lnTo>
                  <a:pt x="232147" y="45618"/>
                </a:lnTo>
                <a:lnTo>
                  <a:pt x="232147" y="228261"/>
                </a:lnTo>
                <a:lnTo>
                  <a:pt x="232147" y="410735"/>
                </a:lnTo>
                <a:lnTo>
                  <a:pt x="25682" y="433545"/>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0" name="Freeform: Shape 129">
            <a:extLst>
              <a:ext uri="{FF2B5EF4-FFF2-40B4-BE49-F238E27FC236}">
                <a16:creationId xmlns:a16="http://schemas.microsoft.com/office/drawing/2014/main" id="{EFB0D734-D2E5-9BB6-269B-422AFC12F1F7}"/>
              </a:ext>
            </a:extLst>
          </p:cNvPr>
          <p:cNvSpPr/>
          <p:nvPr/>
        </p:nvSpPr>
        <p:spPr>
          <a:xfrm>
            <a:off x="10157862" y="4048562"/>
            <a:ext cx="335357" cy="684566"/>
          </a:xfrm>
          <a:custGeom>
            <a:avLst/>
            <a:gdLst>
              <a:gd name="connsiteX0" fmla="*/ 0 w 335380"/>
              <a:gd name="connsiteY0" fmla="*/ 45787 h 684614"/>
              <a:gd name="connsiteX1" fmla="*/ 51532 w 335380"/>
              <a:gd name="connsiteY1" fmla="*/ 68597 h 684614"/>
              <a:gd name="connsiteX2" fmla="*/ 128915 w 335380"/>
              <a:gd name="connsiteY2" fmla="*/ 159833 h 684614"/>
              <a:gd name="connsiteX3" fmla="*/ 154765 w 335380"/>
              <a:gd name="connsiteY3" fmla="*/ 410735 h 684614"/>
              <a:gd name="connsiteX4" fmla="*/ 154765 w 335380"/>
              <a:gd name="connsiteY4" fmla="*/ 524781 h 684614"/>
              <a:gd name="connsiteX5" fmla="*/ 180615 w 335380"/>
              <a:gd name="connsiteY5" fmla="*/ 524781 h 684614"/>
              <a:gd name="connsiteX6" fmla="*/ 206297 w 335380"/>
              <a:gd name="connsiteY6" fmla="*/ 593209 h 684614"/>
              <a:gd name="connsiteX7" fmla="*/ 206297 w 335380"/>
              <a:gd name="connsiteY7" fmla="*/ 684615 h 684614"/>
              <a:gd name="connsiteX8" fmla="*/ 257998 w 335380"/>
              <a:gd name="connsiteY8" fmla="*/ 684615 h 684614"/>
              <a:gd name="connsiteX9" fmla="*/ 335380 w 335380"/>
              <a:gd name="connsiteY9" fmla="*/ 593209 h 684614"/>
              <a:gd name="connsiteX10" fmla="*/ 232147 w 335380"/>
              <a:gd name="connsiteY10" fmla="*/ 430503 h 684614"/>
              <a:gd name="connsiteX11" fmla="*/ 195653 w 335380"/>
              <a:gd name="connsiteY11" fmla="*/ 296689 h 684614"/>
              <a:gd name="connsiteX12" fmla="*/ 177067 w 335380"/>
              <a:gd name="connsiteY12" fmla="*/ 159833 h 684614"/>
              <a:gd name="connsiteX13" fmla="*/ 132800 w 335380"/>
              <a:gd name="connsiteY13" fmla="*/ 114215 h 684614"/>
              <a:gd name="connsiteX14" fmla="*/ 107119 w 335380"/>
              <a:gd name="connsiteY14" fmla="*/ 45787 h 684614"/>
              <a:gd name="connsiteX15" fmla="*/ 51532 w 335380"/>
              <a:gd name="connsiteY15" fmla="*/ 0 h 684614"/>
              <a:gd name="connsiteX16" fmla="*/ 0 w 335380"/>
              <a:gd name="connsiteY16" fmla="*/ 45787 h 68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5380" h="684614">
                <a:moveTo>
                  <a:pt x="0" y="45787"/>
                </a:moveTo>
                <a:lnTo>
                  <a:pt x="51532" y="68597"/>
                </a:lnTo>
                <a:lnTo>
                  <a:pt x="128915" y="159833"/>
                </a:lnTo>
                <a:lnTo>
                  <a:pt x="154765" y="410735"/>
                </a:lnTo>
                <a:lnTo>
                  <a:pt x="154765" y="524781"/>
                </a:lnTo>
                <a:lnTo>
                  <a:pt x="180615" y="524781"/>
                </a:lnTo>
                <a:lnTo>
                  <a:pt x="206297" y="593209"/>
                </a:lnTo>
                <a:lnTo>
                  <a:pt x="206297" y="684615"/>
                </a:lnTo>
                <a:lnTo>
                  <a:pt x="257998" y="684615"/>
                </a:lnTo>
                <a:lnTo>
                  <a:pt x="335380" y="593209"/>
                </a:lnTo>
                <a:lnTo>
                  <a:pt x="232147" y="430503"/>
                </a:lnTo>
                <a:lnTo>
                  <a:pt x="195653" y="296689"/>
                </a:lnTo>
                <a:lnTo>
                  <a:pt x="177067" y="159833"/>
                </a:lnTo>
                <a:lnTo>
                  <a:pt x="132800" y="114215"/>
                </a:lnTo>
                <a:lnTo>
                  <a:pt x="107119" y="45787"/>
                </a:lnTo>
                <a:lnTo>
                  <a:pt x="51532" y="0"/>
                </a:lnTo>
                <a:lnTo>
                  <a:pt x="0" y="45787"/>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1" name="Freeform: Shape 130">
            <a:extLst>
              <a:ext uri="{FF2B5EF4-FFF2-40B4-BE49-F238E27FC236}">
                <a16:creationId xmlns:a16="http://schemas.microsoft.com/office/drawing/2014/main" id="{23406EA4-CD3B-F73F-4EB1-567CB57A1314}"/>
              </a:ext>
            </a:extLst>
          </p:cNvPr>
          <p:cNvSpPr/>
          <p:nvPr/>
        </p:nvSpPr>
        <p:spPr>
          <a:xfrm>
            <a:off x="6959893" y="1402201"/>
            <a:ext cx="825298" cy="1026681"/>
          </a:xfrm>
          <a:custGeom>
            <a:avLst/>
            <a:gdLst>
              <a:gd name="connsiteX0" fmla="*/ 541508 w 825356"/>
              <a:gd name="connsiteY0" fmla="*/ 0 h 1026753"/>
              <a:gd name="connsiteX1" fmla="*/ 825357 w 825356"/>
              <a:gd name="connsiteY1" fmla="*/ 228261 h 1026753"/>
              <a:gd name="connsiteX2" fmla="*/ 773656 w 825356"/>
              <a:gd name="connsiteY2" fmla="*/ 251071 h 1026753"/>
              <a:gd name="connsiteX3" fmla="*/ 722124 w 825356"/>
              <a:gd name="connsiteY3" fmla="*/ 251071 h 1026753"/>
              <a:gd name="connsiteX4" fmla="*/ 722124 w 825356"/>
              <a:gd name="connsiteY4" fmla="*/ 387926 h 1026753"/>
              <a:gd name="connsiteX5" fmla="*/ 773656 w 825356"/>
              <a:gd name="connsiteY5" fmla="*/ 433545 h 1026753"/>
              <a:gd name="connsiteX6" fmla="*/ 773656 w 825356"/>
              <a:gd name="connsiteY6" fmla="*/ 889898 h 1026753"/>
              <a:gd name="connsiteX7" fmla="*/ 670592 w 825356"/>
              <a:gd name="connsiteY7" fmla="*/ 935517 h 1026753"/>
              <a:gd name="connsiteX8" fmla="*/ 464295 w 825356"/>
              <a:gd name="connsiteY8" fmla="*/ 912708 h 1026753"/>
              <a:gd name="connsiteX9" fmla="*/ 361062 w 825356"/>
              <a:gd name="connsiteY9" fmla="*/ 935517 h 1026753"/>
              <a:gd name="connsiteX10" fmla="*/ 309530 w 825356"/>
              <a:gd name="connsiteY10" fmla="*/ 981135 h 1026753"/>
              <a:gd name="connsiteX11" fmla="*/ 283679 w 825356"/>
              <a:gd name="connsiteY11" fmla="*/ 1026754 h 1026753"/>
              <a:gd name="connsiteX12" fmla="*/ 128914 w 825356"/>
              <a:gd name="connsiteY12" fmla="*/ 912708 h 1026753"/>
              <a:gd name="connsiteX13" fmla="*/ 0 w 825356"/>
              <a:gd name="connsiteY13" fmla="*/ 889898 h 1026753"/>
              <a:gd name="connsiteX14" fmla="*/ 51532 w 825356"/>
              <a:gd name="connsiteY14" fmla="*/ 775683 h 1026753"/>
              <a:gd name="connsiteX15" fmla="*/ 25682 w 825356"/>
              <a:gd name="connsiteY15" fmla="*/ 570400 h 1026753"/>
              <a:gd name="connsiteX16" fmla="*/ 0 w 825356"/>
              <a:gd name="connsiteY16" fmla="*/ 524782 h 1026753"/>
              <a:gd name="connsiteX17" fmla="*/ 0 w 825356"/>
              <a:gd name="connsiteY17" fmla="*/ 479163 h 1026753"/>
              <a:gd name="connsiteX18" fmla="*/ 257829 w 825356"/>
              <a:gd name="connsiteY18" fmla="*/ 479163 h 1026753"/>
              <a:gd name="connsiteX19" fmla="*/ 257829 w 825356"/>
              <a:gd name="connsiteY19" fmla="*/ 365117 h 1026753"/>
              <a:gd name="connsiteX20" fmla="*/ 335211 w 825356"/>
              <a:gd name="connsiteY20" fmla="*/ 296689 h 1026753"/>
              <a:gd name="connsiteX21" fmla="*/ 361062 w 825356"/>
              <a:gd name="connsiteY21" fmla="*/ 159665 h 1026753"/>
              <a:gd name="connsiteX22" fmla="*/ 386912 w 825356"/>
              <a:gd name="connsiteY22" fmla="*/ 114046 h 1026753"/>
              <a:gd name="connsiteX23" fmla="*/ 541508 w 825356"/>
              <a:gd name="connsiteY23" fmla="*/ 114046 h 1026753"/>
              <a:gd name="connsiteX24" fmla="*/ 541508 w 825356"/>
              <a:gd name="connsiteY24" fmla="*/ 0 h 1026753"/>
              <a:gd name="connsiteX25" fmla="*/ 825357 w 825356"/>
              <a:gd name="connsiteY25" fmla="*/ 228261 h 1026753"/>
              <a:gd name="connsiteX26" fmla="*/ 541508 w 825356"/>
              <a:gd name="connsiteY26" fmla="*/ 0 h 1026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356" h="1026753">
                <a:moveTo>
                  <a:pt x="541508" y="0"/>
                </a:moveTo>
                <a:lnTo>
                  <a:pt x="825357" y="228261"/>
                </a:lnTo>
                <a:lnTo>
                  <a:pt x="773656" y="251071"/>
                </a:lnTo>
                <a:lnTo>
                  <a:pt x="722124" y="251071"/>
                </a:lnTo>
                <a:lnTo>
                  <a:pt x="722124" y="387926"/>
                </a:lnTo>
                <a:lnTo>
                  <a:pt x="773656" y="433545"/>
                </a:lnTo>
                <a:lnTo>
                  <a:pt x="773656" y="889898"/>
                </a:lnTo>
                <a:lnTo>
                  <a:pt x="670592" y="935517"/>
                </a:lnTo>
                <a:lnTo>
                  <a:pt x="464295" y="912708"/>
                </a:lnTo>
                <a:lnTo>
                  <a:pt x="361062" y="935517"/>
                </a:lnTo>
                <a:lnTo>
                  <a:pt x="309530" y="981135"/>
                </a:lnTo>
                <a:lnTo>
                  <a:pt x="283679" y="1026754"/>
                </a:lnTo>
                <a:lnTo>
                  <a:pt x="128914" y="912708"/>
                </a:lnTo>
                <a:lnTo>
                  <a:pt x="0" y="889898"/>
                </a:lnTo>
                <a:lnTo>
                  <a:pt x="51532" y="775683"/>
                </a:lnTo>
                <a:lnTo>
                  <a:pt x="25682" y="570400"/>
                </a:lnTo>
                <a:lnTo>
                  <a:pt x="0" y="524782"/>
                </a:lnTo>
                <a:lnTo>
                  <a:pt x="0" y="479163"/>
                </a:lnTo>
                <a:lnTo>
                  <a:pt x="257829" y="479163"/>
                </a:lnTo>
                <a:lnTo>
                  <a:pt x="257829" y="365117"/>
                </a:lnTo>
                <a:lnTo>
                  <a:pt x="335211" y="296689"/>
                </a:lnTo>
                <a:lnTo>
                  <a:pt x="361062" y="159665"/>
                </a:lnTo>
                <a:lnTo>
                  <a:pt x="386912" y="114046"/>
                </a:lnTo>
                <a:lnTo>
                  <a:pt x="541508" y="114046"/>
                </a:lnTo>
                <a:lnTo>
                  <a:pt x="541508" y="0"/>
                </a:lnTo>
                <a:lnTo>
                  <a:pt x="825357" y="228261"/>
                </a:lnTo>
                <a:lnTo>
                  <a:pt x="541508"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2" name="Freeform: Shape 131">
            <a:extLst>
              <a:ext uri="{FF2B5EF4-FFF2-40B4-BE49-F238E27FC236}">
                <a16:creationId xmlns:a16="http://schemas.microsoft.com/office/drawing/2014/main" id="{998C4C5B-74B7-0DFE-0806-2498C0497623}"/>
              </a:ext>
            </a:extLst>
          </p:cNvPr>
          <p:cNvSpPr/>
          <p:nvPr/>
        </p:nvSpPr>
        <p:spPr>
          <a:xfrm>
            <a:off x="6959893" y="2565728"/>
            <a:ext cx="206282" cy="114038"/>
          </a:xfrm>
          <a:custGeom>
            <a:avLst/>
            <a:gdLst>
              <a:gd name="connsiteX0" fmla="*/ 0 w 206296"/>
              <a:gd name="connsiteY0" fmla="*/ 0 h 114046"/>
              <a:gd name="connsiteX1" fmla="*/ 206297 w 206296"/>
              <a:gd name="connsiteY1" fmla="*/ 0 h 114046"/>
              <a:gd name="connsiteX2" fmla="*/ 180446 w 206296"/>
              <a:gd name="connsiteY2" fmla="*/ 68428 h 114046"/>
              <a:gd name="connsiteX3" fmla="*/ 128914 w 206296"/>
              <a:gd name="connsiteY3" fmla="*/ 114046 h 114046"/>
              <a:gd name="connsiteX4" fmla="*/ 77382 w 206296"/>
              <a:gd name="connsiteY4" fmla="*/ 114046 h 114046"/>
              <a:gd name="connsiteX5" fmla="*/ 25682 w 206296"/>
              <a:gd name="connsiteY5" fmla="*/ 45618 h 114046"/>
              <a:gd name="connsiteX6" fmla="*/ 0 w 206296"/>
              <a:gd name="connsiteY6" fmla="*/ 0 h 11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296" h="114046">
                <a:moveTo>
                  <a:pt x="0" y="0"/>
                </a:moveTo>
                <a:lnTo>
                  <a:pt x="206297" y="0"/>
                </a:lnTo>
                <a:lnTo>
                  <a:pt x="180446" y="68428"/>
                </a:lnTo>
                <a:lnTo>
                  <a:pt x="128914" y="114046"/>
                </a:lnTo>
                <a:lnTo>
                  <a:pt x="77382" y="114046"/>
                </a:lnTo>
                <a:lnTo>
                  <a:pt x="25682" y="45618"/>
                </a:lnTo>
                <a:lnTo>
                  <a:pt x="0" y="0"/>
                </a:lnTo>
                <a:close/>
              </a:path>
            </a:pathLst>
          </a:custGeom>
          <a:solidFill>
            <a:srgbClr val="AACF7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3" name="Freeform: Shape 132">
            <a:extLst>
              <a:ext uri="{FF2B5EF4-FFF2-40B4-BE49-F238E27FC236}">
                <a16:creationId xmlns:a16="http://schemas.microsoft.com/office/drawing/2014/main" id="{6F8C03F2-982A-082F-DE31-98137085462D}"/>
              </a:ext>
            </a:extLst>
          </p:cNvPr>
          <p:cNvSpPr/>
          <p:nvPr/>
        </p:nvSpPr>
        <p:spPr>
          <a:xfrm>
            <a:off x="7037270" y="2542920"/>
            <a:ext cx="489942" cy="387899"/>
          </a:xfrm>
          <a:custGeom>
            <a:avLst/>
            <a:gdLst>
              <a:gd name="connsiteX0" fmla="*/ 0 w 489976"/>
              <a:gd name="connsiteY0" fmla="*/ 136855 h 387926"/>
              <a:gd name="connsiteX1" fmla="*/ 51532 w 489976"/>
              <a:gd name="connsiteY1" fmla="*/ 136855 h 387926"/>
              <a:gd name="connsiteX2" fmla="*/ 103064 w 489976"/>
              <a:gd name="connsiteY2" fmla="*/ 91237 h 387926"/>
              <a:gd name="connsiteX3" fmla="*/ 128914 w 489976"/>
              <a:gd name="connsiteY3" fmla="*/ 22809 h 387926"/>
              <a:gd name="connsiteX4" fmla="*/ 180446 w 489976"/>
              <a:gd name="connsiteY4" fmla="*/ 0 h 387926"/>
              <a:gd name="connsiteX5" fmla="*/ 232147 w 489976"/>
              <a:gd name="connsiteY5" fmla="*/ 45618 h 387926"/>
              <a:gd name="connsiteX6" fmla="*/ 257829 w 489976"/>
              <a:gd name="connsiteY6" fmla="*/ 45618 h 387926"/>
              <a:gd name="connsiteX7" fmla="*/ 412594 w 489976"/>
              <a:gd name="connsiteY7" fmla="*/ 68428 h 387926"/>
              <a:gd name="connsiteX8" fmla="*/ 489976 w 489976"/>
              <a:gd name="connsiteY8" fmla="*/ 159665 h 387926"/>
              <a:gd name="connsiteX9" fmla="*/ 464126 w 489976"/>
              <a:gd name="connsiteY9" fmla="*/ 205283 h 387926"/>
              <a:gd name="connsiteX10" fmla="*/ 489976 w 489976"/>
              <a:gd name="connsiteY10" fmla="*/ 319498 h 387926"/>
              <a:gd name="connsiteX11" fmla="*/ 464126 w 489976"/>
              <a:gd name="connsiteY11" fmla="*/ 387926 h 387926"/>
              <a:gd name="connsiteX12" fmla="*/ 412594 w 489976"/>
              <a:gd name="connsiteY12" fmla="*/ 387926 h 387926"/>
              <a:gd name="connsiteX13" fmla="*/ 361062 w 489976"/>
              <a:gd name="connsiteY13" fmla="*/ 342308 h 387926"/>
              <a:gd name="connsiteX14" fmla="*/ 309530 w 489976"/>
              <a:gd name="connsiteY14" fmla="*/ 319498 h 387926"/>
              <a:gd name="connsiteX15" fmla="*/ 283679 w 489976"/>
              <a:gd name="connsiteY15" fmla="*/ 228092 h 387926"/>
              <a:gd name="connsiteX16" fmla="*/ 206297 w 489976"/>
              <a:gd name="connsiteY16" fmla="*/ 205283 h 387926"/>
              <a:gd name="connsiteX17" fmla="*/ 103064 w 489976"/>
              <a:gd name="connsiteY17" fmla="*/ 296689 h 387926"/>
              <a:gd name="connsiteX18" fmla="*/ 0 w 489976"/>
              <a:gd name="connsiteY18" fmla="*/ 136855 h 38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9976" h="387926">
                <a:moveTo>
                  <a:pt x="0" y="136855"/>
                </a:moveTo>
                <a:lnTo>
                  <a:pt x="51532" y="136855"/>
                </a:lnTo>
                <a:lnTo>
                  <a:pt x="103064" y="91237"/>
                </a:lnTo>
                <a:lnTo>
                  <a:pt x="128914" y="22809"/>
                </a:lnTo>
                <a:lnTo>
                  <a:pt x="180446" y="0"/>
                </a:lnTo>
                <a:lnTo>
                  <a:pt x="232147" y="45618"/>
                </a:lnTo>
                <a:lnTo>
                  <a:pt x="257829" y="45618"/>
                </a:lnTo>
                <a:lnTo>
                  <a:pt x="412594" y="68428"/>
                </a:lnTo>
                <a:lnTo>
                  <a:pt x="489976" y="159665"/>
                </a:lnTo>
                <a:lnTo>
                  <a:pt x="464126" y="205283"/>
                </a:lnTo>
                <a:lnTo>
                  <a:pt x="489976" y="319498"/>
                </a:lnTo>
                <a:lnTo>
                  <a:pt x="464126" y="387926"/>
                </a:lnTo>
                <a:lnTo>
                  <a:pt x="412594" y="387926"/>
                </a:lnTo>
                <a:lnTo>
                  <a:pt x="361062" y="342308"/>
                </a:lnTo>
                <a:lnTo>
                  <a:pt x="309530" y="319498"/>
                </a:lnTo>
                <a:lnTo>
                  <a:pt x="283679" y="228092"/>
                </a:lnTo>
                <a:lnTo>
                  <a:pt x="206297" y="205283"/>
                </a:lnTo>
                <a:lnTo>
                  <a:pt x="103064" y="296689"/>
                </a:lnTo>
                <a:lnTo>
                  <a:pt x="0" y="136855"/>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4" name="Freeform: Shape 133">
            <a:extLst>
              <a:ext uri="{FF2B5EF4-FFF2-40B4-BE49-F238E27FC236}">
                <a16:creationId xmlns:a16="http://schemas.microsoft.com/office/drawing/2014/main" id="{EB45CC45-7678-1F53-FEDB-357BE5FB5BE5}"/>
              </a:ext>
            </a:extLst>
          </p:cNvPr>
          <p:cNvSpPr/>
          <p:nvPr/>
        </p:nvSpPr>
        <p:spPr>
          <a:xfrm>
            <a:off x="7295083" y="2862396"/>
            <a:ext cx="283659" cy="296499"/>
          </a:xfrm>
          <a:custGeom>
            <a:avLst/>
            <a:gdLst>
              <a:gd name="connsiteX0" fmla="*/ 0 w 283679"/>
              <a:gd name="connsiteY0" fmla="*/ 136856 h 296520"/>
              <a:gd name="connsiteX1" fmla="*/ 25850 w 283679"/>
              <a:gd name="connsiteY1" fmla="*/ 22809 h 296520"/>
              <a:gd name="connsiteX2" fmla="*/ 51701 w 283679"/>
              <a:gd name="connsiteY2" fmla="*/ 0 h 296520"/>
              <a:gd name="connsiteX3" fmla="*/ 103233 w 283679"/>
              <a:gd name="connsiteY3" fmla="*/ 22809 h 296520"/>
              <a:gd name="connsiteX4" fmla="*/ 154765 w 283679"/>
              <a:gd name="connsiteY4" fmla="*/ 68428 h 296520"/>
              <a:gd name="connsiteX5" fmla="*/ 206297 w 283679"/>
              <a:gd name="connsiteY5" fmla="*/ 68428 h 296520"/>
              <a:gd name="connsiteX6" fmla="*/ 206297 w 283679"/>
              <a:gd name="connsiteY6" fmla="*/ 136856 h 296520"/>
              <a:gd name="connsiteX7" fmla="*/ 283679 w 283679"/>
              <a:gd name="connsiteY7" fmla="*/ 182474 h 296520"/>
              <a:gd name="connsiteX8" fmla="*/ 283679 w 283679"/>
              <a:gd name="connsiteY8" fmla="*/ 273711 h 296520"/>
              <a:gd name="connsiteX9" fmla="*/ 232147 w 283679"/>
              <a:gd name="connsiteY9" fmla="*/ 296520 h 296520"/>
              <a:gd name="connsiteX10" fmla="*/ 180615 w 283679"/>
              <a:gd name="connsiteY10" fmla="*/ 250902 h 296520"/>
              <a:gd name="connsiteX11" fmla="*/ 0 w 283679"/>
              <a:gd name="connsiteY11" fmla="*/ 136856 h 2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3679" h="296520">
                <a:moveTo>
                  <a:pt x="0" y="136856"/>
                </a:moveTo>
                <a:lnTo>
                  <a:pt x="25850" y="22809"/>
                </a:lnTo>
                <a:lnTo>
                  <a:pt x="51701" y="0"/>
                </a:lnTo>
                <a:lnTo>
                  <a:pt x="103233" y="22809"/>
                </a:lnTo>
                <a:lnTo>
                  <a:pt x="154765" y="68428"/>
                </a:lnTo>
                <a:lnTo>
                  <a:pt x="206297" y="68428"/>
                </a:lnTo>
                <a:lnTo>
                  <a:pt x="206297" y="136856"/>
                </a:lnTo>
                <a:lnTo>
                  <a:pt x="283679" y="182474"/>
                </a:lnTo>
                <a:lnTo>
                  <a:pt x="283679" y="273711"/>
                </a:lnTo>
                <a:lnTo>
                  <a:pt x="232147" y="296520"/>
                </a:lnTo>
                <a:lnTo>
                  <a:pt x="180615" y="250902"/>
                </a:lnTo>
                <a:lnTo>
                  <a:pt x="0" y="136856"/>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5" name="Freeform: Shape 134">
            <a:extLst>
              <a:ext uri="{FF2B5EF4-FFF2-40B4-BE49-F238E27FC236}">
                <a16:creationId xmlns:a16="http://schemas.microsoft.com/office/drawing/2014/main" id="{3FF84CB9-6D6A-8E4C-4B57-90500F28566F}"/>
              </a:ext>
            </a:extLst>
          </p:cNvPr>
          <p:cNvSpPr/>
          <p:nvPr/>
        </p:nvSpPr>
        <p:spPr>
          <a:xfrm>
            <a:off x="7243553" y="1629769"/>
            <a:ext cx="1083109" cy="1072297"/>
          </a:xfrm>
          <a:custGeom>
            <a:avLst/>
            <a:gdLst>
              <a:gd name="connsiteX0" fmla="*/ 541677 w 1083185"/>
              <a:gd name="connsiteY0" fmla="*/ 0 h 1072372"/>
              <a:gd name="connsiteX1" fmla="*/ 722124 w 1083185"/>
              <a:gd name="connsiteY1" fmla="*/ 136855 h 1072372"/>
              <a:gd name="connsiteX2" fmla="*/ 928589 w 1083185"/>
              <a:gd name="connsiteY2" fmla="*/ 296689 h 1072372"/>
              <a:gd name="connsiteX3" fmla="*/ 954271 w 1083185"/>
              <a:gd name="connsiteY3" fmla="*/ 296689 h 1072372"/>
              <a:gd name="connsiteX4" fmla="*/ 1031653 w 1083185"/>
              <a:gd name="connsiteY4" fmla="*/ 342308 h 1072372"/>
              <a:gd name="connsiteX5" fmla="*/ 1083185 w 1083185"/>
              <a:gd name="connsiteY5" fmla="*/ 434051 h 1072372"/>
              <a:gd name="connsiteX6" fmla="*/ 1031653 w 1083185"/>
              <a:gd name="connsiteY6" fmla="*/ 707255 h 1072372"/>
              <a:gd name="connsiteX7" fmla="*/ 851207 w 1083185"/>
              <a:gd name="connsiteY7" fmla="*/ 707255 h 1072372"/>
              <a:gd name="connsiteX8" fmla="*/ 773825 w 1083185"/>
              <a:gd name="connsiteY8" fmla="*/ 775852 h 1072372"/>
              <a:gd name="connsiteX9" fmla="*/ 644741 w 1083185"/>
              <a:gd name="connsiteY9" fmla="*/ 798661 h 1072372"/>
              <a:gd name="connsiteX10" fmla="*/ 386912 w 1083185"/>
              <a:gd name="connsiteY10" fmla="*/ 1072372 h 1072372"/>
              <a:gd name="connsiteX11" fmla="*/ 283679 w 1083185"/>
              <a:gd name="connsiteY11" fmla="*/ 1072372 h 1072372"/>
              <a:gd name="connsiteX12" fmla="*/ 206297 w 1083185"/>
              <a:gd name="connsiteY12" fmla="*/ 981135 h 1072372"/>
              <a:gd name="connsiteX13" fmla="*/ 51532 w 1083185"/>
              <a:gd name="connsiteY13" fmla="*/ 958833 h 1072372"/>
              <a:gd name="connsiteX14" fmla="*/ 25850 w 1083185"/>
              <a:gd name="connsiteY14" fmla="*/ 867089 h 1072372"/>
              <a:gd name="connsiteX15" fmla="*/ 0 w 1083185"/>
              <a:gd name="connsiteY15" fmla="*/ 798661 h 1072372"/>
              <a:gd name="connsiteX16" fmla="*/ 25850 w 1083185"/>
              <a:gd name="connsiteY16" fmla="*/ 752874 h 1072372"/>
              <a:gd name="connsiteX17" fmla="*/ 77382 w 1083185"/>
              <a:gd name="connsiteY17" fmla="*/ 707255 h 1072372"/>
              <a:gd name="connsiteX18" fmla="*/ 180615 w 1083185"/>
              <a:gd name="connsiteY18" fmla="*/ 684446 h 1072372"/>
              <a:gd name="connsiteX19" fmla="*/ 386912 w 1083185"/>
              <a:gd name="connsiteY19" fmla="*/ 707255 h 1072372"/>
              <a:gd name="connsiteX20" fmla="*/ 489976 w 1083185"/>
              <a:gd name="connsiteY20" fmla="*/ 661637 h 1072372"/>
              <a:gd name="connsiteX21" fmla="*/ 489976 w 1083185"/>
              <a:gd name="connsiteY21" fmla="*/ 205452 h 1072372"/>
              <a:gd name="connsiteX22" fmla="*/ 438444 w 1083185"/>
              <a:gd name="connsiteY22" fmla="*/ 159665 h 1072372"/>
              <a:gd name="connsiteX23" fmla="*/ 438444 w 1083185"/>
              <a:gd name="connsiteY23" fmla="*/ 22809 h 1072372"/>
              <a:gd name="connsiteX24" fmla="*/ 489976 w 1083185"/>
              <a:gd name="connsiteY24" fmla="*/ 22809 h 1072372"/>
              <a:gd name="connsiteX25" fmla="*/ 541677 w 1083185"/>
              <a:gd name="connsiteY25" fmla="*/ 0 h 107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83185" h="1072372">
                <a:moveTo>
                  <a:pt x="541677" y="0"/>
                </a:moveTo>
                <a:lnTo>
                  <a:pt x="722124" y="136855"/>
                </a:lnTo>
                <a:lnTo>
                  <a:pt x="928589" y="296689"/>
                </a:lnTo>
                <a:lnTo>
                  <a:pt x="954271" y="296689"/>
                </a:lnTo>
                <a:lnTo>
                  <a:pt x="1031653" y="342308"/>
                </a:lnTo>
                <a:lnTo>
                  <a:pt x="1083185" y="434051"/>
                </a:lnTo>
                <a:lnTo>
                  <a:pt x="1031653" y="707255"/>
                </a:lnTo>
                <a:lnTo>
                  <a:pt x="851207" y="707255"/>
                </a:lnTo>
                <a:lnTo>
                  <a:pt x="773825" y="775852"/>
                </a:lnTo>
                <a:lnTo>
                  <a:pt x="644741" y="798661"/>
                </a:lnTo>
                <a:lnTo>
                  <a:pt x="386912" y="1072372"/>
                </a:lnTo>
                <a:lnTo>
                  <a:pt x="283679" y="1072372"/>
                </a:lnTo>
                <a:lnTo>
                  <a:pt x="206297" y="981135"/>
                </a:lnTo>
                <a:lnTo>
                  <a:pt x="51532" y="958833"/>
                </a:lnTo>
                <a:lnTo>
                  <a:pt x="25850" y="867089"/>
                </a:lnTo>
                <a:lnTo>
                  <a:pt x="0" y="798661"/>
                </a:lnTo>
                <a:lnTo>
                  <a:pt x="25850" y="752874"/>
                </a:lnTo>
                <a:lnTo>
                  <a:pt x="77382" y="707255"/>
                </a:lnTo>
                <a:lnTo>
                  <a:pt x="180615" y="684446"/>
                </a:lnTo>
                <a:lnTo>
                  <a:pt x="386912" y="707255"/>
                </a:lnTo>
                <a:lnTo>
                  <a:pt x="489976" y="661637"/>
                </a:lnTo>
                <a:lnTo>
                  <a:pt x="489976" y="205452"/>
                </a:lnTo>
                <a:lnTo>
                  <a:pt x="438444" y="159665"/>
                </a:lnTo>
                <a:lnTo>
                  <a:pt x="438444" y="22809"/>
                </a:lnTo>
                <a:lnTo>
                  <a:pt x="489976" y="22809"/>
                </a:lnTo>
                <a:lnTo>
                  <a:pt x="541677" y="0"/>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6" name="Freeform: Shape 135">
            <a:extLst>
              <a:ext uri="{FF2B5EF4-FFF2-40B4-BE49-F238E27FC236}">
                <a16:creationId xmlns:a16="http://schemas.microsoft.com/office/drawing/2014/main" id="{1D481588-FE06-16C2-17DB-FED8243688AA}"/>
              </a:ext>
            </a:extLst>
          </p:cNvPr>
          <p:cNvSpPr/>
          <p:nvPr/>
        </p:nvSpPr>
        <p:spPr>
          <a:xfrm>
            <a:off x="7501363" y="2702573"/>
            <a:ext cx="386885" cy="433514"/>
          </a:xfrm>
          <a:custGeom>
            <a:avLst/>
            <a:gdLst>
              <a:gd name="connsiteX0" fmla="*/ 25850 w 386912"/>
              <a:gd name="connsiteY0" fmla="*/ 0 h 433544"/>
              <a:gd name="connsiteX1" fmla="*/ 129083 w 386912"/>
              <a:gd name="connsiteY1" fmla="*/ 0 h 433544"/>
              <a:gd name="connsiteX2" fmla="*/ 257998 w 386912"/>
              <a:gd name="connsiteY2" fmla="*/ 0 h 433544"/>
              <a:gd name="connsiteX3" fmla="*/ 257998 w 386912"/>
              <a:gd name="connsiteY3" fmla="*/ 91237 h 433544"/>
              <a:gd name="connsiteX4" fmla="*/ 386912 w 386912"/>
              <a:gd name="connsiteY4" fmla="*/ 91237 h 433544"/>
              <a:gd name="connsiteX5" fmla="*/ 386912 w 386912"/>
              <a:gd name="connsiteY5" fmla="*/ 182643 h 433544"/>
              <a:gd name="connsiteX6" fmla="*/ 361231 w 386912"/>
              <a:gd name="connsiteY6" fmla="*/ 273880 h 433544"/>
              <a:gd name="connsiteX7" fmla="*/ 386912 w 386912"/>
              <a:gd name="connsiteY7" fmla="*/ 410735 h 433544"/>
              <a:gd name="connsiteX8" fmla="*/ 206466 w 386912"/>
              <a:gd name="connsiteY8" fmla="*/ 410735 h 433544"/>
              <a:gd name="connsiteX9" fmla="*/ 77382 w 386912"/>
              <a:gd name="connsiteY9" fmla="*/ 433544 h 433544"/>
              <a:gd name="connsiteX10" fmla="*/ 77382 w 386912"/>
              <a:gd name="connsiteY10" fmla="*/ 342308 h 433544"/>
              <a:gd name="connsiteX11" fmla="*/ 0 w 386912"/>
              <a:gd name="connsiteY11" fmla="*/ 296689 h 433544"/>
              <a:gd name="connsiteX12" fmla="*/ 0 w 386912"/>
              <a:gd name="connsiteY12" fmla="*/ 228261 h 433544"/>
              <a:gd name="connsiteX13" fmla="*/ 25850 w 386912"/>
              <a:gd name="connsiteY13" fmla="*/ 159834 h 433544"/>
              <a:gd name="connsiteX14" fmla="*/ 0 w 386912"/>
              <a:gd name="connsiteY14" fmla="*/ 45619 h 433544"/>
              <a:gd name="connsiteX15" fmla="*/ 25850 w 386912"/>
              <a:gd name="connsiteY15" fmla="*/ 0 h 43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6912" h="433544">
                <a:moveTo>
                  <a:pt x="25850" y="0"/>
                </a:moveTo>
                <a:lnTo>
                  <a:pt x="129083" y="0"/>
                </a:lnTo>
                <a:lnTo>
                  <a:pt x="257998" y="0"/>
                </a:lnTo>
                <a:lnTo>
                  <a:pt x="257998" y="91237"/>
                </a:lnTo>
                <a:lnTo>
                  <a:pt x="386912" y="91237"/>
                </a:lnTo>
                <a:lnTo>
                  <a:pt x="386912" y="182643"/>
                </a:lnTo>
                <a:lnTo>
                  <a:pt x="361231" y="273880"/>
                </a:lnTo>
                <a:lnTo>
                  <a:pt x="386912" y="410735"/>
                </a:lnTo>
                <a:lnTo>
                  <a:pt x="206466" y="410735"/>
                </a:lnTo>
                <a:lnTo>
                  <a:pt x="77382" y="433544"/>
                </a:lnTo>
                <a:lnTo>
                  <a:pt x="77382" y="342308"/>
                </a:lnTo>
                <a:lnTo>
                  <a:pt x="0" y="296689"/>
                </a:lnTo>
                <a:lnTo>
                  <a:pt x="0" y="228261"/>
                </a:lnTo>
                <a:lnTo>
                  <a:pt x="25850" y="159834"/>
                </a:lnTo>
                <a:lnTo>
                  <a:pt x="0" y="45619"/>
                </a:lnTo>
                <a:lnTo>
                  <a:pt x="25850" y="0"/>
                </a:lnTo>
                <a:close/>
              </a:path>
            </a:pathLst>
          </a:custGeom>
          <a:solidFill>
            <a:srgbClr val="00205C"/>
          </a:solidFill>
          <a:ln w="8443" cap="flat">
            <a:solidFill>
              <a:schemeClr val="bg1"/>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7" name="Freeform: Shape 136">
            <a:extLst>
              <a:ext uri="{FF2B5EF4-FFF2-40B4-BE49-F238E27FC236}">
                <a16:creationId xmlns:a16="http://schemas.microsoft.com/office/drawing/2014/main" id="{39407E1C-FBCC-AE05-3211-E5145BA448DA}"/>
              </a:ext>
            </a:extLst>
          </p:cNvPr>
          <p:cNvSpPr/>
          <p:nvPr/>
        </p:nvSpPr>
        <p:spPr>
          <a:xfrm>
            <a:off x="7630438" y="2406075"/>
            <a:ext cx="567318" cy="387730"/>
          </a:xfrm>
          <a:custGeom>
            <a:avLst/>
            <a:gdLst>
              <a:gd name="connsiteX0" fmla="*/ 386912 w 567358"/>
              <a:gd name="connsiteY0" fmla="*/ 0 h 387757"/>
              <a:gd name="connsiteX1" fmla="*/ 464295 w 567358"/>
              <a:gd name="connsiteY1" fmla="*/ 91237 h 387757"/>
              <a:gd name="connsiteX2" fmla="*/ 489976 w 567358"/>
              <a:gd name="connsiteY2" fmla="*/ 136855 h 387757"/>
              <a:gd name="connsiteX3" fmla="*/ 515827 w 567358"/>
              <a:gd name="connsiteY3" fmla="*/ 159665 h 387757"/>
              <a:gd name="connsiteX4" fmla="*/ 541677 w 567358"/>
              <a:gd name="connsiteY4" fmla="*/ 159665 h 387757"/>
              <a:gd name="connsiteX5" fmla="*/ 567359 w 567358"/>
              <a:gd name="connsiteY5" fmla="*/ 205283 h 387757"/>
              <a:gd name="connsiteX6" fmla="*/ 438444 w 567358"/>
              <a:gd name="connsiteY6" fmla="*/ 296520 h 387757"/>
              <a:gd name="connsiteX7" fmla="*/ 257829 w 567358"/>
              <a:gd name="connsiteY7" fmla="*/ 273711 h 387757"/>
              <a:gd name="connsiteX8" fmla="*/ 257829 w 567358"/>
              <a:gd name="connsiteY8" fmla="*/ 296520 h 387757"/>
              <a:gd name="connsiteX9" fmla="*/ 257829 w 567358"/>
              <a:gd name="connsiteY9" fmla="*/ 387757 h 387757"/>
              <a:gd name="connsiteX10" fmla="*/ 128914 w 567358"/>
              <a:gd name="connsiteY10" fmla="*/ 387757 h 387757"/>
              <a:gd name="connsiteX11" fmla="*/ 128914 w 567358"/>
              <a:gd name="connsiteY11" fmla="*/ 296520 h 387757"/>
              <a:gd name="connsiteX12" fmla="*/ 0 w 567358"/>
              <a:gd name="connsiteY12" fmla="*/ 296520 h 387757"/>
              <a:gd name="connsiteX13" fmla="*/ 128914 w 567358"/>
              <a:gd name="connsiteY13" fmla="*/ 159665 h 387757"/>
              <a:gd name="connsiteX14" fmla="*/ 257829 w 567358"/>
              <a:gd name="connsiteY14" fmla="*/ 22809 h 387757"/>
              <a:gd name="connsiteX15" fmla="*/ 361062 w 567358"/>
              <a:gd name="connsiteY15" fmla="*/ 0 h 387757"/>
              <a:gd name="connsiteX16" fmla="*/ 386912 w 567358"/>
              <a:gd name="connsiteY16" fmla="*/ 0 h 38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7358" h="387757">
                <a:moveTo>
                  <a:pt x="386912" y="0"/>
                </a:moveTo>
                <a:lnTo>
                  <a:pt x="464295" y="91237"/>
                </a:lnTo>
                <a:lnTo>
                  <a:pt x="489976" y="136855"/>
                </a:lnTo>
                <a:lnTo>
                  <a:pt x="515827" y="159665"/>
                </a:lnTo>
                <a:lnTo>
                  <a:pt x="541677" y="159665"/>
                </a:lnTo>
                <a:lnTo>
                  <a:pt x="567359" y="205283"/>
                </a:lnTo>
                <a:lnTo>
                  <a:pt x="438444" y="296520"/>
                </a:lnTo>
                <a:lnTo>
                  <a:pt x="257829" y="273711"/>
                </a:lnTo>
                <a:lnTo>
                  <a:pt x="257829" y="296520"/>
                </a:lnTo>
                <a:lnTo>
                  <a:pt x="257829" y="387757"/>
                </a:lnTo>
                <a:lnTo>
                  <a:pt x="128914" y="387757"/>
                </a:lnTo>
                <a:lnTo>
                  <a:pt x="128914" y="296520"/>
                </a:lnTo>
                <a:lnTo>
                  <a:pt x="0" y="296520"/>
                </a:lnTo>
                <a:lnTo>
                  <a:pt x="128914" y="159665"/>
                </a:lnTo>
                <a:lnTo>
                  <a:pt x="257829" y="22809"/>
                </a:lnTo>
                <a:lnTo>
                  <a:pt x="361062" y="0"/>
                </a:lnTo>
                <a:lnTo>
                  <a:pt x="386912" y="0"/>
                </a:lnTo>
                <a:close/>
              </a:path>
            </a:pathLst>
          </a:custGeom>
          <a:solidFill>
            <a:srgbClr val="00205C"/>
          </a:solidFill>
          <a:ln w="8443" cap="flat">
            <a:solidFill>
              <a:schemeClr val="bg1"/>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8" name="Freeform: Shape 137">
            <a:extLst>
              <a:ext uri="{FF2B5EF4-FFF2-40B4-BE49-F238E27FC236}">
                <a16:creationId xmlns:a16="http://schemas.microsoft.com/office/drawing/2014/main" id="{9AAC4A1B-9EF0-3BC8-D016-8CBD30800D86}"/>
              </a:ext>
            </a:extLst>
          </p:cNvPr>
          <p:cNvSpPr/>
          <p:nvPr/>
        </p:nvSpPr>
        <p:spPr>
          <a:xfrm>
            <a:off x="8017323" y="1790099"/>
            <a:ext cx="1057429" cy="844051"/>
          </a:xfrm>
          <a:custGeom>
            <a:avLst/>
            <a:gdLst>
              <a:gd name="connsiteX0" fmla="*/ 309361 w 1057503"/>
              <a:gd name="connsiteY0" fmla="*/ 273711 h 844110"/>
              <a:gd name="connsiteX1" fmla="*/ 335211 w 1057503"/>
              <a:gd name="connsiteY1" fmla="*/ 228092 h 844110"/>
              <a:gd name="connsiteX2" fmla="*/ 386743 w 1057503"/>
              <a:gd name="connsiteY2" fmla="*/ 228092 h 844110"/>
              <a:gd name="connsiteX3" fmla="*/ 489976 w 1057503"/>
              <a:gd name="connsiteY3" fmla="*/ 182474 h 844110"/>
              <a:gd name="connsiteX4" fmla="*/ 515827 w 1057503"/>
              <a:gd name="connsiteY4" fmla="*/ 182474 h 844110"/>
              <a:gd name="connsiteX5" fmla="*/ 618891 w 1057503"/>
              <a:gd name="connsiteY5" fmla="*/ 91237 h 844110"/>
              <a:gd name="connsiteX6" fmla="*/ 644741 w 1057503"/>
              <a:gd name="connsiteY6" fmla="*/ 91237 h 844110"/>
              <a:gd name="connsiteX7" fmla="*/ 747974 w 1057503"/>
              <a:gd name="connsiteY7" fmla="*/ 22809 h 844110"/>
              <a:gd name="connsiteX8" fmla="*/ 799506 w 1057503"/>
              <a:gd name="connsiteY8" fmla="*/ 0 h 844110"/>
              <a:gd name="connsiteX9" fmla="*/ 825357 w 1057503"/>
              <a:gd name="connsiteY9" fmla="*/ 22809 h 844110"/>
              <a:gd name="connsiteX10" fmla="*/ 876889 w 1057503"/>
              <a:gd name="connsiteY10" fmla="*/ 22809 h 844110"/>
              <a:gd name="connsiteX11" fmla="*/ 928421 w 1057503"/>
              <a:gd name="connsiteY11" fmla="*/ 68428 h 844110"/>
              <a:gd name="connsiteX12" fmla="*/ 980121 w 1057503"/>
              <a:gd name="connsiteY12" fmla="*/ 68428 h 844110"/>
              <a:gd name="connsiteX13" fmla="*/ 1031654 w 1057503"/>
              <a:gd name="connsiteY13" fmla="*/ 114046 h 844110"/>
              <a:gd name="connsiteX14" fmla="*/ 1031654 w 1057503"/>
              <a:gd name="connsiteY14" fmla="*/ 182474 h 844110"/>
              <a:gd name="connsiteX15" fmla="*/ 1057504 w 1057503"/>
              <a:gd name="connsiteY15" fmla="*/ 364948 h 844110"/>
              <a:gd name="connsiteX16" fmla="*/ 1057504 w 1057503"/>
              <a:gd name="connsiteY16" fmla="*/ 410735 h 844110"/>
              <a:gd name="connsiteX17" fmla="*/ 902739 w 1057503"/>
              <a:gd name="connsiteY17" fmla="*/ 547591 h 844110"/>
              <a:gd name="connsiteX18" fmla="*/ 876889 w 1057503"/>
              <a:gd name="connsiteY18" fmla="*/ 616019 h 844110"/>
              <a:gd name="connsiteX19" fmla="*/ 825357 w 1057503"/>
              <a:gd name="connsiteY19" fmla="*/ 684446 h 844110"/>
              <a:gd name="connsiteX20" fmla="*/ 747974 w 1057503"/>
              <a:gd name="connsiteY20" fmla="*/ 661637 h 844110"/>
              <a:gd name="connsiteX21" fmla="*/ 696273 w 1057503"/>
              <a:gd name="connsiteY21" fmla="*/ 707255 h 844110"/>
              <a:gd name="connsiteX22" fmla="*/ 618891 w 1057503"/>
              <a:gd name="connsiteY22" fmla="*/ 707255 h 844110"/>
              <a:gd name="connsiteX23" fmla="*/ 464126 w 1057503"/>
              <a:gd name="connsiteY23" fmla="*/ 661637 h 844110"/>
              <a:gd name="connsiteX24" fmla="*/ 386743 w 1057503"/>
              <a:gd name="connsiteY24" fmla="*/ 661637 h 844110"/>
              <a:gd name="connsiteX25" fmla="*/ 309361 w 1057503"/>
              <a:gd name="connsiteY25" fmla="*/ 775683 h 844110"/>
              <a:gd name="connsiteX26" fmla="*/ 283679 w 1057503"/>
              <a:gd name="connsiteY26" fmla="*/ 821302 h 844110"/>
              <a:gd name="connsiteX27" fmla="*/ 257829 w 1057503"/>
              <a:gd name="connsiteY27" fmla="*/ 844111 h 844110"/>
              <a:gd name="connsiteX28" fmla="*/ 180446 w 1057503"/>
              <a:gd name="connsiteY28" fmla="*/ 821302 h 844110"/>
              <a:gd name="connsiteX29" fmla="*/ 154765 w 1057503"/>
              <a:gd name="connsiteY29" fmla="*/ 775683 h 844110"/>
              <a:gd name="connsiteX30" fmla="*/ 128915 w 1057503"/>
              <a:gd name="connsiteY30" fmla="*/ 775683 h 844110"/>
              <a:gd name="connsiteX31" fmla="*/ 103064 w 1057503"/>
              <a:gd name="connsiteY31" fmla="*/ 775683 h 844110"/>
              <a:gd name="connsiteX32" fmla="*/ 77382 w 1057503"/>
              <a:gd name="connsiteY32" fmla="*/ 707255 h 844110"/>
              <a:gd name="connsiteX33" fmla="*/ 0 w 1057503"/>
              <a:gd name="connsiteY33" fmla="*/ 616019 h 844110"/>
              <a:gd name="connsiteX34" fmla="*/ 77382 w 1057503"/>
              <a:gd name="connsiteY34" fmla="*/ 547591 h 844110"/>
              <a:gd name="connsiteX35" fmla="*/ 257829 w 1057503"/>
              <a:gd name="connsiteY35" fmla="*/ 547591 h 844110"/>
              <a:gd name="connsiteX36" fmla="*/ 309361 w 1057503"/>
              <a:gd name="connsiteY36" fmla="*/ 273711 h 844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7503" h="844110">
                <a:moveTo>
                  <a:pt x="309361" y="273711"/>
                </a:moveTo>
                <a:lnTo>
                  <a:pt x="335211" y="228092"/>
                </a:lnTo>
                <a:lnTo>
                  <a:pt x="386743" y="228092"/>
                </a:lnTo>
                <a:lnTo>
                  <a:pt x="489976" y="182474"/>
                </a:lnTo>
                <a:lnTo>
                  <a:pt x="515827" y="182474"/>
                </a:lnTo>
                <a:lnTo>
                  <a:pt x="618891" y="91237"/>
                </a:lnTo>
                <a:lnTo>
                  <a:pt x="644741" y="91237"/>
                </a:lnTo>
                <a:lnTo>
                  <a:pt x="747974" y="22809"/>
                </a:lnTo>
                <a:lnTo>
                  <a:pt x="799506" y="0"/>
                </a:lnTo>
                <a:lnTo>
                  <a:pt x="825357" y="22809"/>
                </a:lnTo>
                <a:lnTo>
                  <a:pt x="876889" y="22809"/>
                </a:lnTo>
                <a:lnTo>
                  <a:pt x="928421" y="68428"/>
                </a:lnTo>
                <a:lnTo>
                  <a:pt x="980121" y="68428"/>
                </a:lnTo>
                <a:lnTo>
                  <a:pt x="1031654" y="114046"/>
                </a:lnTo>
                <a:lnTo>
                  <a:pt x="1031654" y="182474"/>
                </a:lnTo>
                <a:lnTo>
                  <a:pt x="1057504" y="364948"/>
                </a:lnTo>
                <a:lnTo>
                  <a:pt x="1057504" y="410735"/>
                </a:lnTo>
                <a:lnTo>
                  <a:pt x="902739" y="547591"/>
                </a:lnTo>
                <a:lnTo>
                  <a:pt x="876889" y="616019"/>
                </a:lnTo>
                <a:lnTo>
                  <a:pt x="825357" y="684446"/>
                </a:lnTo>
                <a:lnTo>
                  <a:pt x="747974" y="661637"/>
                </a:lnTo>
                <a:lnTo>
                  <a:pt x="696273" y="707255"/>
                </a:lnTo>
                <a:lnTo>
                  <a:pt x="618891" y="707255"/>
                </a:lnTo>
                <a:lnTo>
                  <a:pt x="464126" y="661637"/>
                </a:lnTo>
                <a:lnTo>
                  <a:pt x="386743" y="661637"/>
                </a:lnTo>
                <a:lnTo>
                  <a:pt x="309361" y="775683"/>
                </a:lnTo>
                <a:lnTo>
                  <a:pt x="283679" y="821302"/>
                </a:lnTo>
                <a:lnTo>
                  <a:pt x="257829" y="844111"/>
                </a:lnTo>
                <a:lnTo>
                  <a:pt x="180446" y="821302"/>
                </a:lnTo>
                <a:lnTo>
                  <a:pt x="154765" y="775683"/>
                </a:lnTo>
                <a:lnTo>
                  <a:pt x="128915" y="775683"/>
                </a:lnTo>
                <a:lnTo>
                  <a:pt x="103064" y="775683"/>
                </a:lnTo>
                <a:lnTo>
                  <a:pt x="77382" y="707255"/>
                </a:lnTo>
                <a:lnTo>
                  <a:pt x="0" y="616019"/>
                </a:lnTo>
                <a:lnTo>
                  <a:pt x="77382" y="547591"/>
                </a:lnTo>
                <a:lnTo>
                  <a:pt x="257829" y="547591"/>
                </a:lnTo>
                <a:lnTo>
                  <a:pt x="309361" y="273711"/>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9" name="Freeform: Shape 138">
            <a:extLst>
              <a:ext uri="{FF2B5EF4-FFF2-40B4-BE49-F238E27FC236}">
                <a16:creationId xmlns:a16="http://schemas.microsoft.com/office/drawing/2014/main" id="{B9473209-681A-5589-84D8-FA20A39E9D03}"/>
              </a:ext>
            </a:extLst>
          </p:cNvPr>
          <p:cNvSpPr/>
          <p:nvPr/>
        </p:nvSpPr>
        <p:spPr>
          <a:xfrm>
            <a:off x="8223605" y="2406075"/>
            <a:ext cx="773770" cy="775629"/>
          </a:xfrm>
          <a:custGeom>
            <a:avLst/>
            <a:gdLst>
              <a:gd name="connsiteX0" fmla="*/ 25850 w 773824"/>
              <a:gd name="connsiteY0" fmla="*/ 616018 h 775683"/>
              <a:gd name="connsiteX1" fmla="*/ 0 w 773824"/>
              <a:gd name="connsiteY1" fmla="*/ 410735 h 775683"/>
              <a:gd name="connsiteX2" fmla="*/ 51532 w 773824"/>
              <a:gd name="connsiteY2" fmla="*/ 364948 h 775683"/>
              <a:gd name="connsiteX3" fmla="*/ 77382 w 773824"/>
              <a:gd name="connsiteY3" fmla="*/ 205283 h 775683"/>
              <a:gd name="connsiteX4" fmla="*/ 103064 w 773824"/>
              <a:gd name="connsiteY4" fmla="*/ 159665 h 775683"/>
              <a:gd name="connsiteX5" fmla="*/ 180446 w 773824"/>
              <a:gd name="connsiteY5" fmla="*/ 45618 h 775683"/>
              <a:gd name="connsiteX6" fmla="*/ 257829 w 773824"/>
              <a:gd name="connsiteY6" fmla="*/ 45618 h 775683"/>
              <a:gd name="connsiteX7" fmla="*/ 412594 w 773824"/>
              <a:gd name="connsiteY7" fmla="*/ 91237 h 775683"/>
              <a:gd name="connsiteX8" fmla="*/ 489976 w 773824"/>
              <a:gd name="connsiteY8" fmla="*/ 91237 h 775683"/>
              <a:gd name="connsiteX9" fmla="*/ 541677 w 773824"/>
              <a:gd name="connsiteY9" fmla="*/ 45618 h 775683"/>
              <a:gd name="connsiteX10" fmla="*/ 619060 w 773824"/>
              <a:gd name="connsiteY10" fmla="*/ 68428 h 775683"/>
              <a:gd name="connsiteX11" fmla="*/ 670592 w 773824"/>
              <a:gd name="connsiteY11" fmla="*/ 0 h 775683"/>
              <a:gd name="connsiteX12" fmla="*/ 747974 w 773824"/>
              <a:gd name="connsiteY12" fmla="*/ 68428 h 775683"/>
              <a:gd name="connsiteX13" fmla="*/ 746622 w 773824"/>
              <a:gd name="connsiteY13" fmla="*/ 142262 h 775683"/>
              <a:gd name="connsiteX14" fmla="*/ 773824 w 773824"/>
              <a:gd name="connsiteY14" fmla="*/ 296520 h 775683"/>
              <a:gd name="connsiteX15" fmla="*/ 696442 w 773824"/>
              <a:gd name="connsiteY15" fmla="*/ 410735 h 775683"/>
              <a:gd name="connsiteX16" fmla="*/ 696442 w 773824"/>
              <a:gd name="connsiteY16" fmla="*/ 456354 h 775683"/>
              <a:gd name="connsiteX17" fmla="*/ 515827 w 773824"/>
              <a:gd name="connsiteY17" fmla="*/ 638828 h 775683"/>
              <a:gd name="connsiteX18" fmla="*/ 464295 w 773824"/>
              <a:gd name="connsiteY18" fmla="*/ 616018 h 775683"/>
              <a:gd name="connsiteX19" fmla="*/ 361062 w 773824"/>
              <a:gd name="connsiteY19" fmla="*/ 752874 h 775683"/>
              <a:gd name="connsiteX20" fmla="*/ 206297 w 773824"/>
              <a:gd name="connsiteY20" fmla="*/ 775683 h 775683"/>
              <a:gd name="connsiteX21" fmla="*/ 128914 w 773824"/>
              <a:gd name="connsiteY21" fmla="*/ 616018 h 775683"/>
              <a:gd name="connsiteX22" fmla="*/ 25850 w 773824"/>
              <a:gd name="connsiteY22" fmla="*/ 638828 h 775683"/>
              <a:gd name="connsiteX23" fmla="*/ 25850 w 773824"/>
              <a:gd name="connsiteY23" fmla="*/ 616018 h 77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73824" h="775683">
                <a:moveTo>
                  <a:pt x="25850" y="616018"/>
                </a:moveTo>
                <a:lnTo>
                  <a:pt x="0" y="410735"/>
                </a:lnTo>
                <a:lnTo>
                  <a:pt x="51532" y="364948"/>
                </a:lnTo>
                <a:lnTo>
                  <a:pt x="77382" y="205283"/>
                </a:lnTo>
                <a:lnTo>
                  <a:pt x="103064" y="159665"/>
                </a:lnTo>
                <a:lnTo>
                  <a:pt x="180446" y="45618"/>
                </a:lnTo>
                <a:lnTo>
                  <a:pt x="257829" y="45618"/>
                </a:lnTo>
                <a:lnTo>
                  <a:pt x="412594" y="91237"/>
                </a:lnTo>
                <a:lnTo>
                  <a:pt x="489976" y="91237"/>
                </a:lnTo>
                <a:lnTo>
                  <a:pt x="541677" y="45618"/>
                </a:lnTo>
                <a:lnTo>
                  <a:pt x="619060" y="68428"/>
                </a:lnTo>
                <a:lnTo>
                  <a:pt x="670592" y="0"/>
                </a:lnTo>
                <a:lnTo>
                  <a:pt x="747974" y="68428"/>
                </a:lnTo>
                <a:lnTo>
                  <a:pt x="746622" y="142262"/>
                </a:lnTo>
                <a:lnTo>
                  <a:pt x="773824" y="296520"/>
                </a:lnTo>
                <a:lnTo>
                  <a:pt x="696442" y="410735"/>
                </a:lnTo>
                <a:lnTo>
                  <a:pt x="696442" y="456354"/>
                </a:lnTo>
                <a:lnTo>
                  <a:pt x="515827" y="638828"/>
                </a:lnTo>
                <a:lnTo>
                  <a:pt x="464295" y="616018"/>
                </a:lnTo>
                <a:lnTo>
                  <a:pt x="361062" y="752874"/>
                </a:lnTo>
                <a:lnTo>
                  <a:pt x="206297" y="775683"/>
                </a:lnTo>
                <a:lnTo>
                  <a:pt x="128914" y="616018"/>
                </a:lnTo>
                <a:lnTo>
                  <a:pt x="25850" y="638828"/>
                </a:lnTo>
                <a:lnTo>
                  <a:pt x="25850" y="616018"/>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id="{B120B08C-2B16-3112-F30B-938EE7B0635C}"/>
              </a:ext>
            </a:extLst>
          </p:cNvPr>
          <p:cNvSpPr/>
          <p:nvPr/>
        </p:nvSpPr>
        <p:spPr>
          <a:xfrm>
            <a:off x="8687869" y="3318549"/>
            <a:ext cx="154753" cy="91231"/>
          </a:xfrm>
          <a:custGeom>
            <a:avLst/>
            <a:gdLst>
              <a:gd name="connsiteX0" fmla="*/ 25682 w 154764"/>
              <a:gd name="connsiteY0" fmla="*/ 0 h 91237"/>
              <a:gd name="connsiteX1" fmla="*/ 154765 w 154764"/>
              <a:gd name="connsiteY1" fmla="*/ 0 h 91237"/>
              <a:gd name="connsiteX2" fmla="*/ 128914 w 154764"/>
              <a:gd name="connsiteY2" fmla="*/ 91237 h 91237"/>
              <a:gd name="connsiteX3" fmla="*/ 0 w 154764"/>
              <a:gd name="connsiteY3" fmla="*/ 91237 h 91237"/>
              <a:gd name="connsiteX4" fmla="*/ 25682 w 154764"/>
              <a:gd name="connsiteY4" fmla="*/ 0 h 91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764" h="91237">
                <a:moveTo>
                  <a:pt x="25682" y="0"/>
                </a:moveTo>
                <a:lnTo>
                  <a:pt x="154765" y="0"/>
                </a:lnTo>
                <a:lnTo>
                  <a:pt x="128914" y="91237"/>
                </a:lnTo>
                <a:lnTo>
                  <a:pt x="0" y="91237"/>
                </a:lnTo>
                <a:lnTo>
                  <a:pt x="25682"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1" name="Freeform: Shape 140">
            <a:extLst>
              <a:ext uri="{FF2B5EF4-FFF2-40B4-BE49-F238E27FC236}">
                <a16:creationId xmlns:a16="http://schemas.microsoft.com/office/drawing/2014/main" id="{E659548B-AFC5-F68C-6662-CE475E0FE128}"/>
              </a:ext>
            </a:extLst>
          </p:cNvPr>
          <p:cNvSpPr/>
          <p:nvPr/>
        </p:nvSpPr>
        <p:spPr>
          <a:xfrm>
            <a:off x="8636171" y="3318549"/>
            <a:ext cx="412733" cy="479129"/>
          </a:xfrm>
          <a:custGeom>
            <a:avLst/>
            <a:gdLst>
              <a:gd name="connsiteX0" fmla="*/ 51701 w 412762"/>
              <a:gd name="connsiteY0" fmla="*/ 91237 h 479163"/>
              <a:gd name="connsiteX1" fmla="*/ 180615 w 412762"/>
              <a:gd name="connsiteY1" fmla="*/ 91237 h 479163"/>
              <a:gd name="connsiteX2" fmla="*/ 206466 w 412762"/>
              <a:gd name="connsiteY2" fmla="*/ 0 h 479163"/>
              <a:gd name="connsiteX3" fmla="*/ 361231 w 412762"/>
              <a:gd name="connsiteY3" fmla="*/ 0 h 479163"/>
              <a:gd name="connsiteX4" fmla="*/ 412763 w 412762"/>
              <a:gd name="connsiteY4" fmla="*/ 114215 h 479163"/>
              <a:gd name="connsiteX5" fmla="*/ 386912 w 412762"/>
              <a:gd name="connsiteY5" fmla="*/ 205452 h 479163"/>
              <a:gd name="connsiteX6" fmla="*/ 412763 w 412762"/>
              <a:gd name="connsiteY6" fmla="*/ 251071 h 479163"/>
              <a:gd name="connsiteX7" fmla="*/ 361231 w 412762"/>
              <a:gd name="connsiteY7" fmla="*/ 387926 h 479163"/>
              <a:gd name="connsiteX8" fmla="*/ 283848 w 412762"/>
              <a:gd name="connsiteY8" fmla="*/ 387926 h 479163"/>
              <a:gd name="connsiteX9" fmla="*/ 154765 w 412762"/>
              <a:gd name="connsiteY9" fmla="*/ 479163 h 479163"/>
              <a:gd name="connsiteX10" fmla="*/ 0 w 412762"/>
              <a:gd name="connsiteY10" fmla="*/ 251071 h 479163"/>
              <a:gd name="connsiteX11" fmla="*/ 51701 w 412762"/>
              <a:gd name="connsiteY11" fmla="*/ 91237 h 479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2762" h="479163">
                <a:moveTo>
                  <a:pt x="51701" y="91237"/>
                </a:moveTo>
                <a:lnTo>
                  <a:pt x="180615" y="91237"/>
                </a:lnTo>
                <a:lnTo>
                  <a:pt x="206466" y="0"/>
                </a:lnTo>
                <a:lnTo>
                  <a:pt x="361231" y="0"/>
                </a:lnTo>
                <a:lnTo>
                  <a:pt x="412763" y="114215"/>
                </a:lnTo>
                <a:lnTo>
                  <a:pt x="386912" y="205452"/>
                </a:lnTo>
                <a:lnTo>
                  <a:pt x="412763" y="251071"/>
                </a:lnTo>
                <a:lnTo>
                  <a:pt x="361231" y="387926"/>
                </a:lnTo>
                <a:lnTo>
                  <a:pt x="283848" y="387926"/>
                </a:lnTo>
                <a:lnTo>
                  <a:pt x="154765" y="479163"/>
                </a:lnTo>
                <a:lnTo>
                  <a:pt x="0" y="251071"/>
                </a:lnTo>
                <a:lnTo>
                  <a:pt x="51701" y="91237"/>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2" name="Freeform: Shape 141">
            <a:extLst>
              <a:ext uri="{FF2B5EF4-FFF2-40B4-BE49-F238E27FC236}">
                <a16:creationId xmlns:a16="http://schemas.microsoft.com/office/drawing/2014/main" id="{BAA5CB1E-E0C0-A07C-AB68-5575FC59FB5D}"/>
              </a:ext>
            </a:extLst>
          </p:cNvPr>
          <p:cNvSpPr/>
          <p:nvPr/>
        </p:nvSpPr>
        <p:spPr>
          <a:xfrm>
            <a:off x="8894151" y="1904137"/>
            <a:ext cx="747922" cy="1003874"/>
          </a:xfrm>
          <a:custGeom>
            <a:avLst/>
            <a:gdLst>
              <a:gd name="connsiteX0" fmla="*/ 154765 w 747974"/>
              <a:gd name="connsiteY0" fmla="*/ 0 h 1003944"/>
              <a:gd name="connsiteX1" fmla="*/ 180615 w 747974"/>
              <a:gd name="connsiteY1" fmla="*/ 0 h 1003944"/>
              <a:gd name="connsiteX2" fmla="*/ 386912 w 747974"/>
              <a:gd name="connsiteY2" fmla="*/ 68428 h 1003944"/>
              <a:gd name="connsiteX3" fmla="*/ 438444 w 747974"/>
              <a:gd name="connsiteY3" fmla="*/ 114046 h 1003944"/>
              <a:gd name="connsiteX4" fmla="*/ 489976 w 747974"/>
              <a:gd name="connsiteY4" fmla="*/ 114046 h 1003944"/>
              <a:gd name="connsiteX5" fmla="*/ 567359 w 747974"/>
              <a:gd name="connsiteY5" fmla="*/ 159665 h 1003944"/>
              <a:gd name="connsiteX6" fmla="*/ 619060 w 747974"/>
              <a:gd name="connsiteY6" fmla="*/ 205283 h 1003944"/>
              <a:gd name="connsiteX7" fmla="*/ 747974 w 747974"/>
              <a:gd name="connsiteY7" fmla="*/ 228092 h 1003944"/>
              <a:gd name="connsiteX8" fmla="*/ 747974 w 747974"/>
              <a:gd name="connsiteY8" fmla="*/ 433545 h 1003944"/>
              <a:gd name="connsiteX9" fmla="*/ 696442 w 747974"/>
              <a:gd name="connsiteY9" fmla="*/ 456354 h 1003944"/>
              <a:gd name="connsiteX10" fmla="*/ 670592 w 747974"/>
              <a:gd name="connsiteY10" fmla="*/ 524782 h 1003944"/>
              <a:gd name="connsiteX11" fmla="*/ 670592 w 747974"/>
              <a:gd name="connsiteY11" fmla="*/ 638828 h 1003944"/>
              <a:gd name="connsiteX12" fmla="*/ 722124 w 747974"/>
              <a:gd name="connsiteY12" fmla="*/ 798492 h 1003944"/>
              <a:gd name="connsiteX13" fmla="*/ 670592 w 747974"/>
              <a:gd name="connsiteY13" fmla="*/ 844111 h 1003944"/>
              <a:gd name="connsiteX14" fmla="*/ 412594 w 747974"/>
              <a:gd name="connsiteY14" fmla="*/ 935517 h 1003944"/>
              <a:gd name="connsiteX15" fmla="*/ 438444 w 747974"/>
              <a:gd name="connsiteY15" fmla="*/ 981135 h 1003944"/>
              <a:gd name="connsiteX16" fmla="*/ 309530 w 747974"/>
              <a:gd name="connsiteY16" fmla="*/ 1003944 h 1003944"/>
              <a:gd name="connsiteX17" fmla="*/ 309530 w 747974"/>
              <a:gd name="connsiteY17" fmla="*/ 981135 h 1003944"/>
              <a:gd name="connsiteX18" fmla="*/ 232147 w 747974"/>
              <a:gd name="connsiteY18" fmla="*/ 1003944 h 1003944"/>
              <a:gd name="connsiteX19" fmla="*/ 154765 w 747974"/>
              <a:gd name="connsiteY19" fmla="*/ 889729 h 1003944"/>
              <a:gd name="connsiteX20" fmla="*/ 154765 w 747974"/>
              <a:gd name="connsiteY20" fmla="*/ 866920 h 1003944"/>
              <a:gd name="connsiteX21" fmla="*/ 180615 w 747974"/>
              <a:gd name="connsiteY21" fmla="*/ 866920 h 1003944"/>
              <a:gd name="connsiteX22" fmla="*/ 206297 w 747974"/>
              <a:gd name="connsiteY22" fmla="*/ 866920 h 1003944"/>
              <a:gd name="connsiteX23" fmla="*/ 154765 w 747974"/>
              <a:gd name="connsiteY23" fmla="*/ 775683 h 1003944"/>
              <a:gd name="connsiteX24" fmla="*/ 180615 w 747974"/>
              <a:gd name="connsiteY24" fmla="*/ 730065 h 1003944"/>
              <a:gd name="connsiteX25" fmla="*/ 77382 w 747974"/>
              <a:gd name="connsiteY25" fmla="*/ 638828 h 1003944"/>
              <a:gd name="connsiteX26" fmla="*/ 77382 w 747974"/>
              <a:gd name="connsiteY26" fmla="*/ 570400 h 1003944"/>
              <a:gd name="connsiteX27" fmla="*/ 0 w 747974"/>
              <a:gd name="connsiteY27" fmla="*/ 501972 h 1003944"/>
              <a:gd name="connsiteX28" fmla="*/ 25850 w 747974"/>
              <a:gd name="connsiteY28" fmla="*/ 433545 h 1003944"/>
              <a:gd name="connsiteX29" fmla="*/ 180615 w 747974"/>
              <a:gd name="connsiteY29" fmla="*/ 296689 h 1003944"/>
              <a:gd name="connsiteX30" fmla="*/ 180615 w 747974"/>
              <a:gd name="connsiteY30" fmla="*/ 273711 h 1003944"/>
              <a:gd name="connsiteX31" fmla="*/ 154765 w 747974"/>
              <a:gd name="connsiteY31" fmla="*/ 68428 h 1003944"/>
              <a:gd name="connsiteX32" fmla="*/ 154765 w 747974"/>
              <a:gd name="connsiteY32" fmla="*/ 0 h 100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7974" h="1003944">
                <a:moveTo>
                  <a:pt x="154765" y="0"/>
                </a:moveTo>
                <a:lnTo>
                  <a:pt x="180615" y="0"/>
                </a:lnTo>
                <a:lnTo>
                  <a:pt x="386912" y="68428"/>
                </a:lnTo>
                <a:lnTo>
                  <a:pt x="438444" y="114046"/>
                </a:lnTo>
                <a:lnTo>
                  <a:pt x="489976" y="114046"/>
                </a:lnTo>
                <a:lnTo>
                  <a:pt x="567359" y="159665"/>
                </a:lnTo>
                <a:lnTo>
                  <a:pt x="619060" y="205283"/>
                </a:lnTo>
                <a:lnTo>
                  <a:pt x="747974" y="228092"/>
                </a:lnTo>
                <a:lnTo>
                  <a:pt x="747974" y="433545"/>
                </a:lnTo>
                <a:lnTo>
                  <a:pt x="696442" y="456354"/>
                </a:lnTo>
                <a:lnTo>
                  <a:pt x="670592" y="524782"/>
                </a:lnTo>
                <a:lnTo>
                  <a:pt x="670592" y="638828"/>
                </a:lnTo>
                <a:lnTo>
                  <a:pt x="722124" y="798492"/>
                </a:lnTo>
                <a:lnTo>
                  <a:pt x="670592" y="844111"/>
                </a:lnTo>
                <a:lnTo>
                  <a:pt x="412594" y="935517"/>
                </a:lnTo>
                <a:lnTo>
                  <a:pt x="438444" y="981135"/>
                </a:lnTo>
                <a:lnTo>
                  <a:pt x="309530" y="1003944"/>
                </a:lnTo>
                <a:lnTo>
                  <a:pt x="309530" y="981135"/>
                </a:lnTo>
                <a:lnTo>
                  <a:pt x="232147" y="1003944"/>
                </a:lnTo>
                <a:lnTo>
                  <a:pt x="154765" y="889729"/>
                </a:lnTo>
                <a:lnTo>
                  <a:pt x="154765" y="866920"/>
                </a:lnTo>
                <a:lnTo>
                  <a:pt x="180615" y="866920"/>
                </a:lnTo>
                <a:lnTo>
                  <a:pt x="206297" y="866920"/>
                </a:lnTo>
                <a:lnTo>
                  <a:pt x="154765" y="775683"/>
                </a:lnTo>
                <a:lnTo>
                  <a:pt x="180615" y="730065"/>
                </a:lnTo>
                <a:lnTo>
                  <a:pt x="77382" y="638828"/>
                </a:lnTo>
                <a:lnTo>
                  <a:pt x="77382" y="570400"/>
                </a:lnTo>
                <a:lnTo>
                  <a:pt x="0" y="501972"/>
                </a:lnTo>
                <a:lnTo>
                  <a:pt x="25850" y="433545"/>
                </a:lnTo>
                <a:lnTo>
                  <a:pt x="180615" y="296689"/>
                </a:lnTo>
                <a:lnTo>
                  <a:pt x="180615" y="273711"/>
                </a:lnTo>
                <a:lnTo>
                  <a:pt x="154765" y="68428"/>
                </a:lnTo>
                <a:lnTo>
                  <a:pt x="154765" y="0"/>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3" name="Freeform: Shape 142">
            <a:extLst>
              <a:ext uri="{FF2B5EF4-FFF2-40B4-BE49-F238E27FC236}">
                <a16:creationId xmlns:a16="http://schemas.microsoft.com/office/drawing/2014/main" id="{8BA46CE0-428D-FA0B-32DA-9CC805C0F8BA}"/>
              </a:ext>
            </a:extLst>
          </p:cNvPr>
          <p:cNvSpPr/>
          <p:nvPr/>
        </p:nvSpPr>
        <p:spPr>
          <a:xfrm>
            <a:off x="9074753" y="2702573"/>
            <a:ext cx="825298" cy="615975"/>
          </a:xfrm>
          <a:custGeom>
            <a:avLst/>
            <a:gdLst>
              <a:gd name="connsiteX0" fmla="*/ 77214 w 825356"/>
              <a:gd name="connsiteY0" fmla="*/ 616018 h 616018"/>
              <a:gd name="connsiteX1" fmla="*/ 77214 w 825356"/>
              <a:gd name="connsiteY1" fmla="*/ 593209 h 616018"/>
              <a:gd name="connsiteX2" fmla="*/ 0 w 825356"/>
              <a:gd name="connsiteY2" fmla="*/ 387926 h 616018"/>
              <a:gd name="connsiteX3" fmla="*/ 51532 w 825356"/>
              <a:gd name="connsiteY3" fmla="*/ 205452 h 616018"/>
              <a:gd name="connsiteX4" fmla="*/ 128915 w 825356"/>
              <a:gd name="connsiteY4" fmla="*/ 182643 h 616018"/>
              <a:gd name="connsiteX5" fmla="*/ 128915 w 825356"/>
              <a:gd name="connsiteY5" fmla="*/ 205452 h 616018"/>
              <a:gd name="connsiteX6" fmla="*/ 257829 w 825356"/>
              <a:gd name="connsiteY6" fmla="*/ 182643 h 616018"/>
              <a:gd name="connsiteX7" fmla="*/ 231979 w 825356"/>
              <a:gd name="connsiteY7" fmla="*/ 137024 h 616018"/>
              <a:gd name="connsiteX8" fmla="*/ 489976 w 825356"/>
              <a:gd name="connsiteY8" fmla="*/ 45619 h 616018"/>
              <a:gd name="connsiteX9" fmla="*/ 541508 w 825356"/>
              <a:gd name="connsiteY9" fmla="*/ 0 h 616018"/>
              <a:gd name="connsiteX10" fmla="*/ 593209 w 825356"/>
              <a:gd name="connsiteY10" fmla="*/ 91237 h 616018"/>
              <a:gd name="connsiteX11" fmla="*/ 618891 w 825356"/>
              <a:gd name="connsiteY11" fmla="*/ 137024 h 616018"/>
              <a:gd name="connsiteX12" fmla="*/ 696273 w 825356"/>
              <a:gd name="connsiteY12" fmla="*/ 137024 h 616018"/>
              <a:gd name="connsiteX13" fmla="*/ 722124 w 825356"/>
              <a:gd name="connsiteY13" fmla="*/ 251071 h 616018"/>
              <a:gd name="connsiteX14" fmla="*/ 747974 w 825356"/>
              <a:gd name="connsiteY14" fmla="*/ 296689 h 616018"/>
              <a:gd name="connsiteX15" fmla="*/ 799506 w 825356"/>
              <a:gd name="connsiteY15" fmla="*/ 319498 h 616018"/>
              <a:gd name="connsiteX16" fmla="*/ 825357 w 825356"/>
              <a:gd name="connsiteY16" fmla="*/ 342308 h 616018"/>
              <a:gd name="connsiteX17" fmla="*/ 825357 w 825356"/>
              <a:gd name="connsiteY17" fmla="*/ 410735 h 616018"/>
              <a:gd name="connsiteX18" fmla="*/ 670592 w 825356"/>
              <a:gd name="connsiteY18" fmla="*/ 410735 h 616018"/>
              <a:gd name="connsiteX19" fmla="*/ 567359 w 825356"/>
              <a:gd name="connsiteY19" fmla="*/ 433544 h 616018"/>
              <a:gd name="connsiteX20" fmla="*/ 438444 w 825356"/>
              <a:gd name="connsiteY20" fmla="*/ 479163 h 616018"/>
              <a:gd name="connsiteX21" fmla="*/ 386743 w 825356"/>
              <a:gd name="connsiteY21" fmla="*/ 410735 h 616018"/>
              <a:gd name="connsiteX22" fmla="*/ 335212 w 825356"/>
              <a:gd name="connsiteY22" fmla="*/ 410735 h 616018"/>
              <a:gd name="connsiteX23" fmla="*/ 257829 w 825356"/>
              <a:gd name="connsiteY23" fmla="*/ 524782 h 616018"/>
              <a:gd name="connsiteX24" fmla="*/ 128915 w 825356"/>
              <a:gd name="connsiteY24" fmla="*/ 524782 h 616018"/>
              <a:gd name="connsiteX25" fmla="*/ 77214 w 825356"/>
              <a:gd name="connsiteY25" fmla="*/ 616018 h 61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25356" h="616018">
                <a:moveTo>
                  <a:pt x="77214" y="616018"/>
                </a:moveTo>
                <a:lnTo>
                  <a:pt x="77214" y="593209"/>
                </a:lnTo>
                <a:lnTo>
                  <a:pt x="0" y="387926"/>
                </a:lnTo>
                <a:lnTo>
                  <a:pt x="51532" y="205452"/>
                </a:lnTo>
                <a:lnTo>
                  <a:pt x="128915" y="182643"/>
                </a:lnTo>
                <a:lnTo>
                  <a:pt x="128915" y="205452"/>
                </a:lnTo>
                <a:lnTo>
                  <a:pt x="257829" y="182643"/>
                </a:lnTo>
                <a:lnTo>
                  <a:pt x="231979" y="137024"/>
                </a:lnTo>
                <a:lnTo>
                  <a:pt x="489976" y="45619"/>
                </a:lnTo>
                <a:lnTo>
                  <a:pt x="541508" y="0"/>
                </a:lnTo>
                <a:lnTo>
                  <a:pt x="593209" y="91237"/>
                </a:lnTo>
                <a:lnTo>
                  <a:pt x="618891" y="137024"/>
                </a:lnTo>
                <a:lnTo>
                  <a:pt x="696273" y="137024"/>
                </a:lnTo>
                <a:lnTo>
                  <a:pt x="722124" y="251071"/>
                </a:lnTo>
                <a:lnTo>
                  <a:pt x="747974" y="296689"/>
                </a:lnTo>
                <a:lnTo>
                  <a:pt x="799506" y="319498"/>
                </a:lnTo>
                <a:lnTo>
                  <a:pt x="825357" y="342308"/>
                </a:lnTo>
                <a:lnTo>
                  <a:pt x="825357" y="410735"/>
                </a:lnTo>
                <a:lnTo>
                  <a:pt x="670592" y="410735"/>
                </a:lnTo>
                <a:lnTo>
                  <a:pt x="567359" y="433544"/>
                </a:lnTo>
                <a:lnTo>
                  <a:pt x="438444" y="479163"/>
                </a:lnTo>
                <a:lnTo>
                  <a:pt x="386743" y="410735"/>
                </a:lnTo>
                <a:lnTo>
                  <a:pt x="335212" y="410735"/>
                </a:lnTo>
                <a:lnTo>
                  <a:pt x="257829" y="524782"/>
                </a:lnTo>
                <a:lnTo>
                  <a:pt x="128915" y="524782"/>
                </a:lnTo>
                <a:lnTo>
                  <a:pt x="77214" y="616018"/>
                </a:lnTo>
                <a:close/>
              </a:path>
            </a:pathLst>
          </a:custGeom>
          <a:solidFill>
            <a:srgbClr val="00205C"/>
          </a:solidFill>
          <a:ln w="8443" cap="flat">
            <a:solidFill>
              <a:schemeClr val="bg1"/>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4" name="Freeform: Shape 143">
            <a:extLst>
              <a:ext uri="{FF2B5EF4-FFF2-40B4-BE49-F238E27FC236}">
                <a16:creationId xmlns:a16="http://schemas.microsoft.com/office/drawing/2014/main" id="{30BB6500-AD9A-62DC-639D-0E9D61F80069}"/>
              </a:ext>
            </a:extLst>
          </p:cNvPr>
          <p:cNvSpPr/>
          <p:nvPr/>
        </p:nvSpPr>
        <p:spPr>
          <a:xfrm>
            <a:off x="8790925" y="3227319"/>
            <a:ext cx="541639" cy="635910"/>
          </a:xfrm>
          <a:custGeom>
            <a:avLst/>
            <a:gdLst>
              <a:gd name="connsiteX0" fmla="*/ 0 w 541677"/>
              <a:gd name="connsiteY0" fmla="*/ 570400 h 635955"/>
              <a:gd name="connsiteX1" fmla="*/ 129083 w 541677"/>
              <a:gd name="connsiteY1" fmla="*/ 479163 h 635955"/>
              <a:gd name="connsiteX2" fmla="*/ 206466 w 541677"/>
              <a:gd name="connsiteY2" fmla="*/ 479163 h 635955"/>
              <a:gd name="connsiteX3" fmla="*/ 257998 w 541677"/>
              <a:gd name="connsiteY3" fmla="*/ 342307 h 635955"/>
              <a:gd name="connsiteX4" fmla="*/ 232147 w 541677"/>
              <a:gd name="connsiteY4" fmla="*/ 296689 h 635955"/>
              <a:gd name="connsiteX5" fmla="*/ 257998 w 541677"/>
              <a:gd name="connsiteY5" fmla="*/ 205452 h 635955"/>
              <a:gd name="connsiteX6" fmla="*/ 206466 w 541677"/>
              <a:gd name="connsiteY6" fmla="*/ 91237 h 635955"/>
              <a:gd name="connsiteX7" fmla="*/ 361062 w 541677"/>
              <a:gd name="connsiteY7" fmla="*/ 91237 h 635955"/>
              <a:gd name="connsiteX8" fmla="*/ 412763 w 541677"/>
              <a:gd name="connsiteY8" fmla="*/ 0 h 635955"/>
              <a:gd name="connsiteX9" fmla="*/ 541677 w 541677"/>
              <a:gd name="connsiteY9" fmla="*/ 0 h 635955"/>
              <a:gd name="connsiteX10" fmla="*/ 490145 w 541677"/>
              <a:gd name="connsiteY10" fmla="*/ 205452 h 635955"/>
              <a:gd name="connsiteX11" fmla="*/ 490145 w 541677"/>
              <a:gd name="connsiteY11" fmla="*/ 273880 h 635955"/>
              <a:gd name="connsiteX12" fmla="*/ 361062 w 541677"/>
              <a:gd name="connsiteY12" fmla="*/ 433545 h 635955"/>
              <a:gd name="connsiteX13" fmla="*/ 361062 w 541677"/>
              <a:gd name="connsiteY13" fmla="*/ 501972 h 635955"/>
              <a:gd name="connsiteX14" fmla="*/ 309530 w 541677"/>
              <a:gd name="connsiteY14" fmla="*/ 570400 h 635955"/>
              <a:gd name="connsiteX15" fmla="*/ 212886 w 541677"/>
              <a:gd name="connsiteY15" fmla="*/ 613146 h 635955"/>
              <a:gd name="connsiteX16" fmla="*/ 141924 w 541677"/>
              <a:gd name="connsiteY16" fmla="*/ 621763 h 635955"/>
              <a:gd name="connsiteX17" fmla="*/ 90392 w 541677"/>
              <a:gd name="connsiteY17" fmla="*/ 601826 h 635955"/>
              <a:gd name="connsiteX18" fmla="*/ 41901 w 541677"/>
              <a:gd name="connsiteY18" fmla="*/ 635955 h 635955"/>
              <a:gd name="connsiteX19" fmla="*/ 0 w 541677"/>
              <a:gd name="connsiteY19" fmla="*/ 570400 h 635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1677" h="635955">
                <a:moveTo>
                  <a:pt x="0" y="570400"/>
                </a:moveTo>
                <a:lnTo>
                  <a:pt x="129083" y="479163"/>
                </a:lnTo>
                <a:lnTo>
                  <a:pt x="206466" y="479163"/>
                </a:lnTo>
                <a:lnTo>
                  <a:pt x="257998" y="342307"/>
                </a:lnTo>
                <a:lnTo>
                  <a:pt x="232147" y="296689"/>
                </a:lnTo>
                <a:lnTo>
                  <a:pt x="257998" y="205452"/>
                </a:lnTo>
                <a:lnTo>
                  <a:pt x="206466" y="91237"/>
                </a:lnTo>
                <a:lnTo>
                  <a:pt x="361062" y="91237"/>
                </a:lnTo>
                <a:lnTo>
                  <a:pt x="412763" y="0"/>
                </a:lnTo>
                <a:lnTo>
                  <a:pt x="541677" y="0"/>
                </a:lnTo>
                <a:lnTo>
                  <a:pt x="490145" y="205452"/>
                </a:lnTo>
                <a:lnTo>
                  <a:pt x="490145" y="273880"/>
                </a:lnTo>
                <a:lnTo>
                  <a:pt x="361062" y="433545"/>
                </a:lnTo>
                <a:lnTo>
                  <a:pt x="361062" y="501972"/>
                </a:lnTo>
                <a:lnTo>
                  <a:pt x="309530" y="570400"/>
                </a:lnTo>
                <a:lnTo>
                  <a:pt x="212886" y="613146"/>
                </a:lnTo>
                <a:lnTo>
                  <a:pt x="141924" y="621763"/>
                </a:lnTo>
                <a:lnTo>
                  <a:pt x="90392" y="601826"/>
                </a:lnTo>
                <a:lnTo>
                  <a:pt x="41901" y="635955"/>
                </a:lnTo>
                <a:lnTo>
                  <a:pt x="0" y="57040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5" name="Freeform: Shape 144">
            <a:extLst>
              <a:ext uri="{FF2B5EF4-FFF2-40B4-BE49-F238E27FC236}">
                <a16:creationId xmlns:a16="http://schemas.microsoft.com/office/drawing/2014/main" id="{2F3D612D-EEE2-28CF-90E4-242B0250A981}"/>
              </a:ext>
            </a:extLst>
          </p:cNvPr>
          <p:cNvSpPr/>
          <p:nvPr/>
        </p:nvSpPr>
        <p:spPr>
          <a:xfrm>
            <a:off x="8852252" y="3113280"/>
            <a:ext cx="1305610" cy="1414411"/>
          </a:xfrm>
          <a:custGeom>
            <a:avLst/>
            <a:gdLst>
              <a:gd name="connsiteX0" fmla="*/ 74003 w 1305702"/>
              <a:gd name="connsiteY0" fmla="*/ 738682 h 1414510"/>
              <a:gd name="connsiteX1" fmla="*/ 145134 w 1305702"/>
              <a:gd name="connsiteY1" fmla="*/ 727192 h 1414510"/>
              <a:gd name="connsiteX2" fmla="*/ 248198 w 1305702"/>
              <a:gd name="connsiteY2" fmla="*/ 684446 h 1414510"/>
              <a:gd name="connsiteX3" fmla="*/ 299730 w 1305702"/>
              <a:gd name="connsiteY3" fmla="*/ 616018 h 1414510"/>
              <a:gd name="connsiteX4" fmla="*/ 299730 w 1305702"/>
              <a:gd name="connsiteY4" fmla="*/ 547591 h 1414510"/>
              <a:gd name="connsiteX5" fmla="*/ 428814 w 1305702"/>
              <a:gd name="connsiteY5" fmla="*/ 387926 h 1414510"/>
              <a:gd name="connsiteX6" fmla="*/ 428814 w 1305702"/>
              <a:gd name="connsiteY6" fmla="*/ 342307 h 1414510"/>
              <a:gd name="connsiteX7" fmla="*/ 428814 w 1305702"/>
              <a:gd name="connsiteY7" fmla="*/ 319498 h 1414510"/>
              <a:gd name="connsiteX8" fmla="*/ 480346 w 1305702"/>
              <a:gd name="connsiteY8" fmla="*/ 114046 h 1414510"/>
              <a:gd name="connsiteX9" fmla="*/ 557728 w 1305702"/>
              <a:gd name="connsiteY9" fmla="*/ 0 h 1414510"/>
              <a:gd name="connsiteX10" fmla="*/ 609260 w 1305702"/>
              <a:gd name="connsiteY10" fmla="*/ 0 h 1414510"/>
              <a:gd name="connsiteX11" fmla="*/ 660961 w 1305702"/>
              <a:gd name="connsiteY11" fmla="*/ 68428 h 1414510"/>
              <a:gd name="connsiteX12" fmla="*/ 789875 w 1305702"/>
              <a:gd name="connsiteY12" fmla="*/ 22809 h 1414510"/>
              <a:gd name="connsiteX13" fmla="*/ 893108 w 1305702"/>
              <a:gd name="connsiteY13" fmla="*/ 0 h 1414510"/>
              <a:gd name="connsiteX14" fmla="*/ 1047873 w 1305702"/>
              <a:gd name="connsiteY14" fmla="*/ 0 h 1414510"/>
              <a:gd name="connsiteX15" fmla="*/ 1099405 w 1305702"/>
              <a:gd name="connsiteY15" fmla="*/ 45618 h 1414510"/>
              <a:gd name="connsiteX16" fmla="*/ 1228320 w 1305702"/>
              <a:gd name="connsiteY16" fmla="*/ 68428 h 1414510"/>
              <a:gd name="connsiteX17" fmla="*/ 1305702 w 1305702"/>
              <a:gd name="connsiteY17" fmla="*/ 136855 h 1414510"/>
              <a:gd name="connsiteX18" fmla="*/ 1305702 w 1305702"/>
              <a:gd name="connsiteY18" fmla="*/ 228092 h 1414510"/>
              <a:gd name="connsiteX19" fmla="*/ 1254170 w 1305702"/>
              <a:gd name="connsiteY19" fmla="*/ 319498 h 1414510"/>
              <a:gd name="connsiteX20" fmla="*/ 1202469 w 1305702"/>
              <a:gd name="connsiteY20" fmla="*/ 410735 h 1414510"/>
              <a:gd name="connsiteX21" fmla="*/ 1202469 w 1305702"/>
              <a:gd name="connsiteY21" fmla="*/ 479163 h 1414510"/>
              <a:gd name="connsiteX22" fmla="*/ 1184053 w 1305702"/>
              <a:gd name="connsiteY22" fmla="*/ 661637 h 1414510"/>
              <a:gd name="connsiteX23" fmla="*/ 1191318 w 1305702"/>
              <a:gd name="connsiteY23" fmla="*/ 844111 h 1414510"/>
              <a:gd name="connsiteX24" fmla="*/ 1280021 w 1305702"/>
              <a:gd name="connsiteY24" fmla="*/ 981135 h 1414510"/>
              <a:gd name="connsiteX25" fmla="*/ 1202469 w 1305702"/>
              <a:gd name="connsiteY25" fmla="*/ 1003944 h 1414510"/>
              <a:gd name="connsiteX26" fmla="*/ 1150937 w 1305702"/>
              <a:gd name="connsiteY26" fmla="*/ 1003944 h 1414510"/>
              <a:gd name="connsiteX27" fmla="*/ 1150937 w 1305702"/>
              <a:gd name="connsiteY27" fmla="*/ 1072372 h 1414510"/>
              <a:gd name="connsiteX28" fmla="*/ 1150937 w 1305702"/>
              <a:gd name="connsiteY28" fmla="*/ 1277655 h 1414510"/>
              <a:gd name="connsiteX29" fmla="*/ 1202469 w 1305702"/>
              <a:gd name="connsiteY29" fmla="*/ 1277655 h 1414510"/>
              <a:gd name="connsiteX30" fmla="*/ 1176788 w 1305702"/>
              <a:gd name="connsiteY30" fmla="*/ 1414511 h 1414510"/>
              <a:gd name="connsiteX31" fmla="*/ 1073555 w 1305702"/>
              <a:gd name="connsiteY31" fmla="*/ 1300465 h 1414510"/>
              <a:gd name="connsiteX32" fmla="*/ 1022023 w 1305702"/>
              <a:gd name="connsiteY32" fmla="*/ 1323274 h 1414510"/>
              <a:gd name="connsiteX33" fmla="*/ 867258 w 1305702"/>
              <a:gd name="connsiteY33" fmla="*/ 1209228 h 1414510"/>
              <a:gd name="connsiteX34" fmla="*/ 686642 w 1305702"/>
              <a:gd name="connsiteY34" fmla="*/ 1209228 h 1414510"/>
              <a:gd name="connsiteX35" fmla="*/ 712493 w 1305702"/>
              <a:gd name="connsiteY35" fmla="*/ 1140800 h 1414510"/>
              <a:gd name="connsiteX36" fmla="*/ 686642 w 1305702"/>
              <a:gd name="connsiteY36" fmla="*/ 1095181 h 1414510"/>
              <a:gd name="connsiteX37" fmla="*/ 635111 w 1305702"/>
              <a:gd name="connsiteY37" fmla="*/ 935348 h 1414510"/>
              <a:gd name="connsiteX38" fmla="*/ 583579 w 1305702"/>
              <a:gd name="connsiteY38" fmla="*/ 935348 h 1414510"/>
              <a:gd name="connsiteX39" fmla="*/ 531878 w 1305702"/>
              <a:gd name="connsiteY39" fmla="*/ 981135 h 1414510"/>
              <a:gd name="connsiteX40" fmla="*/ 428814 w 1305702"/>
              <a:gd name="connsiteY40" fmla="*/ 981135 h 1414510"/>
              <a:gd name="connsiteX41" fmla="*/ 325581 w 1305702"/>
              <a:gd name="connsiteY41" fmla="*/ 821302 h 1414510"/>
              <a:gd name="connsiteX42" fmla="*/ 119284 w 1305702"/>
              <a:gd name="connsiteY42" fmla="*/ 821302 h 1414510"/>
              <a:gd name="connsiteX43" fmla="*/ 12841 w 1305702"/>
              <a:gd name="connsiteY43" fmla="*/ 821302 h 1414510"/>
              <a:gd name="connsiteX44" fmla="*/ 0 w 1305702"/>
              <a:gd name="connsiteY44" fmla="*/ 801365 h 1414510"/>
              <a:gd name="connsiteX45" fmla="*/ 74003 w 1305702"/>
              <a:gd name="connsiteY45" fmla="*/ 738682 h 141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305702" h="1414510">
                <a:moveTo>
                  <a:pt x="74003" y="738682"/>
                </a:moveTo>
                <a:lnTo>
                  <a:pt x="145134" y="727192"/>
                </a:lnTo>
                <a:lnTo>
                  <a:pt x="248198" y="684446"/>
                </a:lnTo>
                <a:lnTo>
                  <a:pt x="299730" y="616018"/>
                </a:lnTo>
                <a:lnTo>
                  <a:pt x="299730" y="547591"/>
                </a:lnTo>
                <a:lnTo>
                  <a:pt x="428814" y="387926"/>
                </a:lnTo>
                <a:lnTo>
                  <a:pt x="428814" y="342307"/>
                </a:lnTo>
                <a:lnTo>
                  <a:pt x="428814" y="319498"/>
                </a:lnTo>
                <a:lnTo>
                  <a:pt x="480346" y="114046"/>
                </a:lnTo>
                <a:lnTo>
                  <a:pt x="557728" y="0"/>
                </a:lnTo>
                <a:lnTo>
                  <a:pt x="609260" y="0"/>
                </a:lnTo>
                <a:lnTo>
                  <a:pt x="660961" y="68428"/>
                </a:lnTo>
                <a:lnTo>
                  <a:pt x="789875" y="22809"/>
                </a:lnTo>
                <a:lnTo>
                  <a:pt x="893108" y="0"/>
                </a:lnTo>
                <a:lnTo>
                  <a:pt x="1047873" y="0"/>
                </a:lnTo>
                <a:lnTo>
                  <a:pt x="1099405" y="45618"/>
                </a:lnTo>
                <a:lnTo>
                  <a:pt x="1228320" y="68428"/>
                </a:lnTo>
                <a:lnTo>
                  <a:pt x="1305702" y="136855"/>
                </a:lnTo>
                <a:lnTo>
                  <a:pt x="1305702" y="228092"/>
                </a:lnTo>
                <a:lnTo>
                  <a:pt x="1254170" y="319498"/>
                </a:lnTo>
                <a:lnTo>
                  <a:pt x="1202469" y="410735"/>
                </a:lnTo>
                <a:lnTo>
                  <a:pt x="1202469" y="479163"/>
                </a:lnTo>
                <a:lnTo>
                  <a:pt x="1184053" y="661637"/>
                </a:lnTo>
                <a:lnTo>
                  <a:pt x="1191318" y="844111"/>
                </a:lnTo>
                <a:lnTo>
                  <a:pt x="1280021" y="981135"/>
                </a:lnTo>
                <a:lnTo>
                  <a:pt x="1202469" y="1003944"/>
                </a:lnTo>
                <a:lnTo>
                  <a:pt x="1150937" y="1003944"/>
                </a:lnTo>
                <a:lnTo>
                  <a:pt x="1150937" y="1072372"/>
                </a:lnTo>
                <a:lnTo>
                  <a:pt x="1150937" y="1277655"/>
                </a:lnTo>
                <a:lnTo>
                  <a:pt x="1202469" y="1277655"/>
                </a:lnTo>
                <a:lnTo>
                  <a:pt x="1176788" y="1414511"/>
                </a:lnTo>
                <a:lnTo>
                  <a:pt x="1073555" y="1300465"/>
                </a:lnTo>
                <a:lnTo>
                  <a:pt x="1022023" y="1323274"/>
                </a:lnTo>
                <a:lnTo>
                  <a:pt x="867258" y="1209228"/>
                </a:lnTo>
                <a:lnTo>
                  <a:pt x="686642" y="1209228"/>
                </a:lnTo>
                <a:lnTo>
                  <a:pt x="712493" y="1140800"/>
                </a:lnTo>
                <a:lnTo>
                  <a:pt x="686642" y="1095181"/>
                </a:lnTo>
                <a:lnTo>
                  <a:pt x="635111" y="935348"/>
                </a:lnTo>
                <a:lnTo>
                  <a:pt x="583579" y="935348"/>
                </a:lnTo>
                <a:lnTo>
                  <a:pt x="531878" y="981135"/>
                </a:lnTo>
                <a:lnTo>
                  <a:pt x="428814" y="981135"/>
                </a:lnTo>
                <a:lnTo>
                  <a:pt x="325581" y="821302"/>
                </a:lnTo>
                <a:lnTo>
                  <a:pt x="119284" y="821302"/>
                </a:lnTo>
                <a:lnTo>
                  <a:pt x="12841" y="821302"/>
                </a:lnTo>
                <a:lnTo>
                  <a:pt x="0" y="801365"/>
                </a:lnTo>
                <a:lnTo>
                  <a:pt x="74003" y="738682"/>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6" name="Freeform: Shape 145">
            <a:extLst>
              <a:ext uri="{FF2B5EF4-FFF2-40B4-BE49-F238E27FC236}">
                <a16:creationId xmlns:a16="http://schemas.microsoft.com/office/drawing/2014/main" id="{229140A7-CE09-69A6-CD1B-5E282D234BCB}"/>
              </a:ext>
            </a:extLst>
          </p:cNvPr>
          <p:cNvSpPr/>
          <p:nvPr/>
        </p:nvSpPr>
        <p:spPr>
          <a:xfrm>
            <a:off x="10054637" y="3135581"/>
            <a:ext cx="343635" cy="456828"/>
          </a:xfrm>
          <a:custGeom>
            <a:avLst/>
            <a:gdLst>
              <a:gd name="connsiteX0" fmla="*/ 103233 w 343659"/>
              <a:gd name="connsiteY0" fmla="*/ 114553 h 456860"/>
              <a:gd name="connsiteX1" fmla="*/ 154765 w 343659"/>
              <a:gd name="connsiteY1" fmla="*/ 91744 h 456860"/>
              <a:gd name="connsiteX2" fmla="*/ 206466 w 343659"/>
              <a:gd name="connsiteY2" fmla="*/ 91744 h 456860"/>
              <a:gd name="connsiteX3" fmla="*/ 257998 w 343659"/>
              <a:gd name="connsiteY3" fmla="*/ 46126 h 456860"/>
              <a:gd name="connsiteX4" fmla="*/ 283848 w 343659"/>
              <a:gd name="connsiteY4" fmla="*/ 46126 h 456860"/>
              <a:gd name="connsiteX5" fmla="*/ 313754 w 343659"/>
              <a:gd name="connsiteY5" fmla="*/ 19937 h 456860"/>
              <a:gd name="connsiteX6" fmla="*/ 343659 w 343659"/>
              <a:gd name="connsiteY6" fmla="*/ 0 h 456860"/>
              <a:gd name="connsiteX7" fmla="*/ 339604 w 343659"/>
              <a:gd name="connsiteY7" fmla="*/ 99685 h 456860"/>
              <a:gd name="connsiteX8" fmla="*/ 335380 w 343659"/>
              <a:gd name="connsiteY8" fmla="*/ 205790 h 456860"/>
              <a:gd name="connsiteX9" fmla="*/ 283848 w 343659"/>
              <a:gd name="connsiteY9" fmla="*/ 342815 h 456860"/>
              <a:gd name="connsiteX10" fmla="*/ 206466 w 343659"/>
              <a:gd name="connsiteY10" fmla="*/ 365624 h 456860"/>
              <a:gd name="connsiteX11" fmla="*/ 154765 w 343659"/>
              <a:gd name="connsiteY11" fmla="*/ 456861 h 456860"/>
              <a:gd name="connsiteX12" fmla="*/ 0 w 343659"/>
              <a:gd name="connsiteY12" fmla="*/ 456861 h 456860"/>
              <a:gd name="connsiteX13" fmla="*/ 0 w 343659"/>
              <a:gd name="connsiteY13" fmla="*/ 388433 h 456860"/>
              <a:gd name="connsiteX14" fmla="*/ 46294 w 343659"/>
              <a:gd name="connsiteY14" fmla="*/ 311051 h 456860"/>
              <a:gd name="connsiteX15" fmla="*/ 74510 w 343659"/>
              <a:gd name="connsiteY15" fmla="*/ 310375 h 456860"/>
              <a:gd name="connsiteX16" fmla="*/ 113877 w 343659"/>
              <a:gd name="connsiteY16" fmla="*/ 234006 h 456860"/>
              <a:gd name="connsiteX17" fmla="*/ 103233 w 343659"/>
              <a:gd name="connsiteY17" fmla="*/ 205790 h 456860"/>
              <a:gd name="connsiteX18" fmla="*/ 103233 w 343659"/>
              <a:gd name="connsiteY18" fmla="*/ 160172 h 456860"/>
              <a:gd name="connsiteX19" fmla="*/ 103233 w 343659"/>
              <a:gd name="connsiteY19" fmla="*/ 114553 h 45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3659" h="456860">
                <a:moveTo>
                  <a:pt x="103233" y="114553"/>
                </a:moveTo>
                <a:lnTo>
                  <a:pt x="154765" y="91744"/>
                </a:lnTo>
                <a:lnTo>
                  <a:pt x="206466" y="91744"/>
                </a:lnTo>
                <a:lnTo>
                  <a:pt x="257998" y="46126"/>
                </a:lnTo>
                <a:lnTo>
                  <a:pt x="283848" y="46126"/>
                </a:lnTo>
                <a:lnTo>
                  <a:pt x="313754" y="19937"/>
                </a:lnTo>
                <a:lnTo>
                  <a:pt x="343659" y="0"/>
                </a:lnTo>
                <a:lnTo>
                  <a:pt x="339604" y="99685"/>
                </a:lnTo>
                <a:lnTo>
                  <a:pt x="335380" y="205790"/>
                </a:lnTo>
                <a:lnTo>
                  <a:pt x="283848" y="342815"/>
                </a:lnTo>
                <a:lnTo>
                  <a:pt x="206466" y="365624"/>
                </a:lnTo>
                <a:lnTo>
                  <a:pt x="154765" y="456861"/>
                </a:lnTo>
                <a:lnTo>
                  <a:pt x="0" y="456861"/>
                </a:lnTo>
                <a:lnTo>
                  <a:pt x="0" y="388433"/>
                </a:lnTo>
                <a:lnTo>
                  <a:pt x="46294" y="311051"/>
                </a:lnTo>
                <a:lnTo>
                  <a:pt x="74510" y="310375"/>
                </a:lnTo>
                <a:lnTo>
                  <a:pt x="113877" y="234006"/>
                </a:lnTo>
                <a:lnTo>
                  <a:pt x="103233" y="205790"/>
                </a:lnTo>
                <a:lnTo>
                  <a:pt x="103233" y="160172"/>
                </a:lnTo>
                <a:lnTo>
                  <a:pt x="103233" y="114553"/>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7" name="Freeform: Shape 146">
            <a:extLst>
              <a:ext uri="{FF2B5EF4-FFF2-40B4-BE49-F238E27FC236}">
                <a16:creationId xmlns:a16="http://schemas.microsoft.com/office/drawing/2014/main" id="{925DA88A-7514-1166-B9DA-A747A76C7743}"/>
              </a:ext>
            </a:extLst>
          </p:cNvPr>
          <p:cNvSpPr/>
          <p:nvPr/>
        </p:nvSpPr>
        <p:spPr>
          <a:xfrm>
            <a:off x="10041797" y="3592410"/>
            <a:ext cx="90386" cy="91229"/>
          </a:xfrm>
          <a:custGeom>
            <a:avLst/>
            <a:gdLst>
              <a:gd name="connsiteX0" fmla="*/ 12841 w 90392"/>
              <a:gd name="connsiteY0" fmla="*/ 0 h 91236"/>
              <a:gd name="connsiteX1" fmla="*/ 90392 w 90392"/>
              <a:gd name="connsiteY1" fmla="*/ 0 h 91236"/>
              <a:gd name="connsiteX2" fmla="*/ 90392 w 90392"/>
              <a:gd name="connsiteY2" fmla="*/ 68428 h 91236"/>
              <a:gd name="connsiteX3" fmla="*/ 64542 w 90392"/>
              <a:gd name="connsiteY3" fmla="*/ 91237 h 91236"/>
              <a:gd name="connsiteX4" fmla="*/ 0 w 90392"/>
              <a:gd name="connsiteY4" fmla="*/ 91237 h 91236"/>
              <a:gd name="connsiteX5" fmla="*/ 12841 w 90392"/>
              <a:gd name="connsiteY5" fmla="*/ 0 h 9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92" h="91236">
                <a:moveTo>
                  <a:pt x="12841" y="0"/>
                </a:moveTo>
                <a:lnTo>
                  <a:pt x="90392" y="0"/>
                </a:lnTo>
                <a:lnTo>
                  <a:pt x="90392" y="68428"/>
                </a:lnTo>
                <a:lnTo>
                  <a:pt x="64542" y="91237"/>
                </a:lnTo>
                <a:lnTo>
                  <a:pt x="0" y="91237"/>
                </a:lnTo>
                <a:lnTo>
                  <a:pt x="12841"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8" name="Freeform: Shape 147">
            <a:extLst>
              <a:ext uri="{FF2B5EF4-FFF2-40B4-BE49-F238E27FC236}">
                <a16:creationId xmlns:a16="http://schemas.microsoft.com/office/drawing/2014/main" id="{9ED8C66A-4761-A3E6-233D-69F663188A0B}"/>
              </a:ext>
            </a:extLst>
          </p:cNvPr>
          <p:cNvSpPr/>
          <p:nvPr/>
        </p:nvSpPr>
        <p:spPr>
          <a:xfrm>
            <a:off x="10854255" y="2520112"/>
            <a:ext cx="154753" cy="182460"/>
          </a:xfrm>
          <a:custGeom>
            <a:avLst/>
            <a:gdLst>
              <a:gd name="connsiteX0" fmla="*/ 77382 w 154764"/>
              <a:gd name="connsiteY0" fmla="*/ 0 h 182473"/>
              <a:gd name="connsiteX1" fmla="*/ 0 w 154764"/>
              <a:gd name="connsiteY1" fmla="*/ 45618 h 182473"/>
              <a:gd name="connsiteX2" fmla="*/ 0 w 154764"/>
              <a:gd name="connsiteY2" fmla="*/ 159665 h 182473"/>
              <a:gd name="connsiteX3" fmla="*/ 25850 w 154764"/>
              <a:gd name="connsiteY3" fmla="*/ 182474 h 182473"/>
              <a:gd name="connsiteX4" fmla="*/ 103064 w 154764"/>
              <a:gd name="connsiteY4" fmla="*/ 182474 h 182473"/>
              <a:gd name="connsiteX5" fmla="*/ 154765 w 154764"/>
              <a:gd name="connsiteY5" fmla="*/ 114046 h 182473"/>
              <a:gd name="connsiteX6" fmla="*/ 103064 w 154764"/>
              <a:gd name="connsiteY6" fmla="*/ 91237 h 182473"/>
              <a:gd name="connsiteX7" fmla="*/ 103064 w 154764"/>
              <a:gd name="connsiteY7" fmla="*/ 45618 h 182473"/>
              <a:gd name="connsiteX8" fmla="*/ 77382 w 154764"/>
              <a:gd name="connsiteY8" fmla="*/ 0 h 18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64" h="182473">
                <a:moveTo>
                  <a:pt x="77382" y="0"/>
                </a:moveTo>
                <a:lnTo>
                  <a:pt x="0" y="45618"/>
                </a:lnTo>
                <a:lnTo>
                  <a:pt x="0" y="159665"/>
                </a:lnTo>
                <a:lnTo>
                  <a:pt x="25850" y="182474"/>
                </a:lnTo>
                <a:lnTo>
                  <a:pt x="103064" y="182474"/>
                </a:lnTo>
                <a:lnTo>
                  <a:pt x="154765" y="114046"/>
                </a:lnTo>
                <a:lnTo>
                  <a:pt x="103064" y="91237"/>
                </a:lnTo>
                <a:lnTo>
                  <a:pt x="103064" y="45618"/>
                </a:lnTo>
                <a:lnTo>
                  <a:pt x="77382"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9" name="Freeform: Shape 148">
            <a:extLst>
              <a:ext uri="{FF2B5EF4-FFF2-40B4-BE49-F238E27FC236}">
                <a16:creationId xmlns:a16="http://schemas.microsoft.com/office/drawing/2014/main" id="{D112A07C-D527-84F5-0F74-7A3749C048E1}"/>
              </a:ext>
            </a:extLst>
          </p:cNvPr>
          <p:cNvSpPr/>
          <p:nvPr/>
        </p:nvSpPr>
        <p:spPr>
          <a:xfrm>
            <a:off x="10802728" y="2565728"/>
            <a:ext cx="670544" cy="1003874"/>
          </a:xfrm>
          <a:custGeom>
            <a:avLst/>
            <a:gdLst>
              <a:gd name="connsiteX0" fmla="*/ 206297 w 670591"/>
              <a:gd name="connsiteY0" fmla="*/ 68428 h 1003944"/>
              <a:gd name="connsiteX1" fmla="*/ 257829 w 670591"/>
              <a:gd name="connsiteY1" fmla="*/ 114046 h 1003944"/>
              <a:gd name="connsiteX2" fmla="*/ 644741 w 670591"/>
              <a:gd name="connsiteY2" fmla="*/ 0 h 1003944"/>
              <a:gd name="connsiteX3" fmla="*/ 670592 w 670591"/>
              <a:gd name="connsiteY3" fmla="*/ 22809 h 1003944"/>
              <a:gd name="connsiteX4" fmla="*/ 593209 w 670591"/>
              <a:gd name="connsiteY4" fmla="*/ 365117 h 1003944"/>
              <a:gd name="connsiteX5" fmla="*/ 464126 w 670591"/>
              <a:gd name="connsiteY5" fmla="*/ 570400 h 1003944"/>
              <a:gd name="connsiteX6" fmla="*/ 361062 w 670591"/>
              <a:gd name="connsiteY6" fmla="*/ 752874 h 1003944"/>
              <a:gd name="connsiteX7" fmla="*/ 257829 w 670591"/>
              <a:gd name="connsiteY7" fmla="*/ 775683 h 1003944"/>
              <a:gd name="connsiteX8" fmla="*/ 77382 w 670591"/>
              <a:gd name="connsiteY8" fmla="*/ 1003944 h 1003944"/>
              <a:gd name="connsiteX9" fmla="*/ 51532 w 670591"/>
              <a:gd name="connsiteY9" fmla="*/ 1003944 h 1003944"/>
              <a:gd name="connsiteX10" fmla="*/ 0 w 670591"/>
              <a:gd name="connsiteY10" fmla="*/ 981135 h 1003944"/>
              <a:gd name="connsiteX11" fmla="*/ 25681 w 670591"/>
              <a:gd name="connsiteY11" fmla="*/ 684446 h 1003944"/>
              <a:gd name="connsiteX12" fmla="*/ 51532 w 670591"/>
              <a:gd name="connsiteY12" fmla="*/ 638828 h 1003944"/>
              <a:gd name="connsiteX13" fmla="*/ 77382 w 670591"/>
              <a:gd name="connsiteY13" fmla="*/ 593209 h 1003944"/>
              <a:gd name="connsiteX14" fmla="*/ 180446 w 670591"/>
              <a:gd name="connsiteY14" fmla="*/ 593209 h 1003944"/>
              <a:gd name="connsiteX15" fmla="*/ 438444 w 670591"/>
              <a:gd name="connsiteY15" fmla="*/ 296689 h 1003944"/>
              <a:gd name="connsiteX16" fmla="*/ 283679 w 670591"/>
              <a:gd name="connsiteY16" fmla="*/ 251071 h 1003944"/>
              <a:gd name="connsiteX17" fmla="*/ 231978 w 670591"/>
              <a:gd name="connsiteY17" fmla="*/ 251071 h 1003944"/>
              <a:gd name="connsiteX18" fmla="*/ 206297 w 670591"/>
              <a:gd name="connsiteY18" fmla="*/ 228092 h 1003944"/>
              <a:gd name="connsiteX19" fmla="*/ 180446 w 670591"/>
              <a:gd name="connsiteY19" fmla="*/ 228092 h 1003944"/>
              <a:gd name="connsiteX20" fmla="*/ 180446 w 670591"/>
              <a:gd name="connsiteY20" fmla="*/ 205283 h 1003944"/>
              <a:gd name="connsiteX21" fmla="*/ 154596 w 670591"/>
              <a:gd name="connsiteY21" fmla="*/ 136855 h 1003944"/>
              <a:gd name="connsiteX22" fmla="*/ 206297 w 670591"/>
              <a:gd name="connsiteY22" fmla="*/ 68428 h 100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0591" h="1003944">
                <a:moveTo>
                  <a:pt x="206297" y="68428"/>
                </a:moveTo>
                <a:lnTo>
                  <a:pt x="257829" y="114046"/>
                </a:lnTo>
                <a:lnTo>
                  <a:pt x="644741" y="0"/>
                </a:lnTo>
                <a:lnTo>
                  <a:pt x="670592" y="22809"/>
                </a:lnTo>
                <a:lnTo>
                  <a:pt x="593209" y="365117"/>
                </a:lnTo>
                <a:lnTo>
                  <a:pt x="464126" y="570400"/>
                </a:lnTo>
                <a:lnTo>
                  <a:pt x="361062" y="752874"/>
                </a:lnTo>
                <a:lnTo>
                  <a:pt x="257829" y="775683"/>
                </a:lnTo>
                <a:lnTo>
                  <a:pt x="77382" y="1003944"/>
                </a:lnTo>
                <a:lnTo>
                  <a:pt x="51532" y="1003944"/>
                </a:lnTo>
                <a:lnTo>
                  <a:pt x="0" y="981135"/>
                </a:lnTo>
                <a:lnTo>
                  <a:pt x="25681" y="684446"/>
                </a:lnTo>
                <a:lnTo>
                  <a:pt x="51532" y="638828"/>
                </a:lnTo>
                <a:lnTo>
                  <a:pt x="77382" y="593209"/>
                </a:lnTo>
                <a:lnTo>
                  <a:pt x="180446" y="593209"/>
                </a:lnTo>
                <a:lnTo>
                  <a:pt x="438444" y="296689"/>
                </a:lnTo>
                <a:lnTo>
                  <a:pt x="283679" y="251071"/>
                </a:lnTo>
                <a:lnTo>
                  <a:pt x="231978" y="251071"/>
                </a:lnTo>
                <a:lnTo>
                  <a:pt x="206297" y="228092"/>
                </a:lnTo>
                <a:lnTo>
                  <a:pt x="180446" y="228092"/>
                </a:lnTo>
                <a:lnTo>
                  <a:pt x="180446" y="205283"/>
                </a:lnTo>
                <a:lnTo>
                  <a:pt x="154596" y="136855"/>
                </a:lnTo>
                <a:lnTo>
                  <a:pt x="206297" y="68428"/>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0" name="Freeform: Shape 149">
            <a:extLst>
              <a:ext uri="{FF2B5EF4-FFF2-40B4-BE49-F238E27FC236}">
                <a16:creationId xmlns:a16="http://schemas.microsoft.com/office/drawing/2014/main" id="{FFDF1E0C-EFC3-DFA5-AE35-9C725A3E88FD}"/>
              </a:ext>
            </a:extLst>
          </p:cNvPr>
          <p:cNvSpPr/>
          <p:nvPr/>
        </p:nvSpPr>
        <p:spPr>
          <a:xfrm>
            <a:off x="9719449" y="4687514"/>
            <a:ext cx="541639" cy="501768"/>
          </a:xfrm>
          <a:custGeom>
            <a:avLst/>
            <a:gdLst>
              <a:gd name="connsiteX0" fmla="*/ 0 w 541677"/>
              <a:gd name="connsiteY0" fmla="*/ 136856 h 501803"/>
              <a:gd name="connsiteX1" fmla="*/ 154765 w 541677"/>
              <a:gd name="connsiteY1" fmla="*/ 159665 h 501803"/>
              <a:gd name="connsiteX2" fmla="*/ 283680 w 541677"/>
              <a:gd name="connsiteY2" fmla="*/ 0 h 501803"/>
              <a:gd name="connsiteX3" fmla="*/ 386912 w 541677"/>
              <a:gd name="connsiteY3" fmla="*/ 0 h 501803"/>
              <a:gd name="connsiteX4" fmla="*/ 412763 w 541677"/>
              <a:gd name="connsiteY4" fmla="*/ 22809 h 501803"/>
              <a:gd name="connsiteX5" fmla="*/ 464295 w 541677"/>
              <a:gd name="connsiteY5" fmla="*/ 22809 h 501803"/>
              <a:gd name="connsiteX6" fmla="*/ 541677 w 541677"/>
              <a:gd name="connsiteY6" fmla="*/ 114046 h 501803"/>
              <a:gd name="connsiteX7" fmla="*/ 489976 w 541677"/>
              <a:gd name="connsiteY7" fmla="*/ 456185 h 501803"/>
              <a:gd name="connsiteX8" fmla="*/ 412763 w 541677"/>
              <a:gd name="connsiteY8" fmla="*/ 501803 h 501803"/>
              <a:gd name="connsiteX9" fmla="*/ 361062 w 541677"/>
              <a:gd name="connsiteY9" fmla="*/ 501803 h 501803"/>
              <a:gd name="connsiteX10" fmla="*/ 0 w 541677"/>
              <a:gd name="connsiteY10" fmla="*/ 159665 h 501803"/>
              <a:gd name="connsiteX11" fmla="*/ 0 w 541677"/>
              <a:gd name="connsiteY11" fmla="*/ 136856 h 501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1677" h="501803">
                <a:moveTo>
                  <a:pt x="0" y="136856"/>
                </a:moveTo>
                <a:lnTo>
                  <a:pt x="154765" y="159665"/>
                </a:lnTo>
                <a:lnTo>
                  <a:pt x="283680" y="0"/>
                </a:lnTo>
                <a:lnTo>
                  <a:pt x="386912" y="0"/>
                </a:lnTo>
                <a:lnTo>
                  <a:pt x="412763" y="22809"/>
                </a:lnTo>
                <a:lnTo>
                  <a:pt x="464295" y="22809"/>
                </a:lnTo>
                <a:lnTo>
                  <a:pt x="541677" y="114046"/>
                </a:lnTo>
                <a:lnTo>
                  <a:pt x="489976" y="456185"/>
                </a:lnTo>
                <a:lnTo>
                  <a:pt x="412763" y="501803"/>
                </a:lnTo>
                <a:lnTo>
                  <a:pt x="361062" y="501803"/>
                </a:lnTo>
                <a:lnTo>
                  <a:pt x="0" y="159665"/>
                </a:lnTo>
                <a:lnTo>
                  <a:pt x="0" y="136856"/>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1" name="Freeform: Shape 150">
            <a:extLst>
              <a:ext uri="{FF2B5EF4-FFF2-40B4-BE49-F238E27FC236}">
                <a16:creationId xmlns:a16="http://schemas.microsoft.com/office/drawing/2014/main" id="{99DE0A0D-FD1D-CA22-8A9B-EE9E6DF60158}"/>
              </a:ext>
            </a:extLst>
          </p:cNvPr>
          <p:cNvSpPr/>
          <p:nvPr/>
        </p:nvSpPr>
        <p:spPr>
          <a:xfrm>
            <a:off x="8842622" y="4778744"/>
            <a:ext cx="876827" cy="912474"/>
          </a:xfrm>
          <a:custGeom>
            <a:avLst/>
            <a:gdLst>
              <a:gd name="connsiteX0" fmla="*/ 0 w 876888"/>
              <a:gd name="connsiteY0" fmla="*/ 0 h 912538"/>
              <a:gd name="connsiteX1" fmla="*/ 464126 w 876888"/>
              <a:gd name="connsiteY1" fmla="*/ 45618 h 912538"/>
              <a:gd name="connsiteX2" fmla="*/ 618891 w 876888"/>
              <a:gd name="connsiteY2" fmla="*/ 68428 h 912538"/>
              <a:gd name="connsiteX3" fmla="*/ 799506 w 876888"/>
              <a:gd name="connsiteY3" fmla="*/ 68428 h 912538"/>
              <a:gd name="connsiteX4" fmla="*/ 825356 w 876888"/>
              <a:gd name="connsiteY4" fmla="*/ 45618 h 912538"/>
              <a:gd name="connsiteX5" fmla="*/ 876888 w 876888"/>
              <a:gd name="connsiteY5" fmla="*/ 45618 h 912538"/>
              <a:gd name="connsiteX6" fmla="*/ 876888 w 876888"/>
              <a:gd name="connsiteY6" fmla="*/ 91237 h 912538"/>
              <a:gd name="connsiteX7" fmla="*/ 825356 w 876888"/>
              <a:gd name="connsiteY7" fmla="*/ 114046 h 912538"/>
              <a:gd name="connsiteX8" fmla="*/ 644741 w 876888"/>
              <a:gd name="connsiteY8" fmla="*/ 114046 h 912538"/>
              <a:gd name="connsiteX9" fmla="*/ 644741 w 876888"/>
              <a:gd name="connsiteY9" fmla="*/ 387757 h 912538"/>
              <a:gd name="connsiteX10" fmla="*/ 567359 w 876888"/>
              <a:gd name="connsiteY10" fmla="*/ 387757 h 912538"/>
              <a:gd name="connsiteX11" fmla="*/ 567359 w 876888"/>
              <a:gd name="connsiteY11" fmla="*/ 821302 h 912538"/>
              <a:gd name="connsiteX12" fmla="*/ 438444 w 876888"/>
              <a:gd name="connsiteY12" fmla="*/ 912538 h 912538"/>
              <a:gd name="connsiteX13" fmla="*/ 386743 w 876888"/>
              <a:gd name="connsiteY13" fmla="*/ 866920 h 912538"/>
              <a:gd name="connsiteX14" fmla="*/ 309361 w 876888"/>
              <a:gd name="connsiteY14" fmla="*/ 889729 h 912538"/>
              <a:gd name="connsiteX15" fmla="*/ 280469 w 876888"/>
              <a:gd name="connsiteY15" fmla="*/ 835494 h 912538"/>
              <a:gd name="connsiteX16" fmla="*/ 103064 w 876888"/>
              <a:gd name="connsiteY16" fmla="*/ 205283 h 912538"/>
              <a:gd name="connsiteX17" fmla="*/ 0 w 876888"/>
              <a:gd name="connsiteY17" fmla="*/ 68428 h 912538"/>
              <a:gd name="connsiteX18" fmla="*/ 0 w 876888"/>
              <a:gd name="connsiteY18" fmla="*/ 0 h 91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6888" h="912538">
                <a:moveTo>
                  <a:pt x="0" y="0"/>
                </a:moveTo>
                <a:lnTo>
                  <a:pt x="464126" y="45618"/>
                </a:lnTo>
                <a:lnTo>
                  <a:pt x="618891" y="68428"/>
                </a:lnTo>
                <a:lnTo>
                  <a:pt x="799506" y="68428"/>
                </a:lnTo>
                <a:lnTo>
                  <a:pt x="825356" y="45618"/>
                </a:lnTo>
                <a:lnTo>
                  <a:pt x="876888" y="45618"/>
                </a:lnTo>
                <a:lnTo>
                  <a:pt x="876888" y="91237"/>
                </a:lnTo>
                <a:lnTo>
                  <a:pt x="825356" y="114046"/>
                </a:lnTo>
                <a:lnTo>
                  <a:pt x="644741" y="114046"/>
                </a:lnTo>
                <a:lnTo>
                  <a:pt x="644741" y="387757"/>
                </a:lnTo>
                <a:lnTo>
                  <a:pt x="567359" y="387757"/>
                </a:lnTo>
                <a:lnTo>
                  <a:pt x="567359" y="821302"/>
                </a:lnTo>
                <a:lnTo>
                  <a:pt x="438444" y="912538"/>
                </a:lnTo>
                <a:lnTo>
                  <a:pt x="386743" y="866920"/>
                </a:lnTo>
                <a:lnTo>
                  <a:pt x="309361" y="889729"/>
                </a:lnTo>
                <a:lnTo>
                  <a:pt x="280469" y="835494"/>
                </a:lnTo>
                <a:lnTo>
                  <a:pt x="103064" y="205283"/>
                </a:lnTo>
                <a:lnTo>
                  <a:pt x="0" y="68428"/>
                </a:lnTo>
                <a:lnTo>
                  <a:pt x="0"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2" name="Freeform: Shape 151">
            <a:extLst>
              <a:ext uri="{FF2B5EF4-FFF2-40B4-BE49-F238E27FC236}">
                <a16:creationId xmlns:a16="http://schemas.microsoft.com/office/drawing/2014/main" id="{50052FB8-FBCC-572E-4E13-658CDBB071F6}"/>
              </a:ext>
            </a:extLst>
          </p:cNvPr>
          <p:cNvSpPr/>
          <p:nvPr/>
        </p:nvSpPr>
        <p:spPr>
          <a:xfrm>
            <a:off x="10064436" y="5479869"/>
            <a:ext cx="72646" cy="97312"/>
          </a:xfrm>
          <a:custGeom>
            <a:avLst/>
            <a:gdLst>
              <a:gd name="connsiteX0" fmla="*/ 16051 w 72651"/>
              <a:gd name="connsiteY0" fmla="*/ 6083 h 97319"/>
              <a:gd name="connsiteX1" fmla="*/ 50180 w 72651"/>
              <a:gd name="connsiteY1" fmla="*/ 0 h 97319"/>
              <a:gd name="connsiteX2" fmla="*/ 72652 w 72651"/>
              <a:gd name="connsiteY2" fmla="*/ 57108 h 97319"/>
              <a:gd name="connsiteX3" fmla="*/ 41902 w 72651"/>
              <a:gd name="connsiteY3" fmla="*/ 97320 h 97319"/>
              <a:gd name="connsiteX4" fmla="*/ 0 w 72651"/>
              <a:gd name="connsiteY4" fmla="*/ 77383 h 97319"/>
              <a:gd name="connsiteX5" fmla="*/ 16051 w 72651"/>
              <a:gd name="connsiteY5" fmla="*/ 6083 h 9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651" h="97319">
                <a:moveTo>
                  <a:pt x="16051" y="6083"/>
                </a:moveTo>
                <a:lnTo>
                  <a:pt x="50180" y="0"/>
                </a:lnTo>
                <a:lnTo>
                  <a:pt x="72652" y="57108"/>
                </a:lnTo>
                <a:lnTo>
                  <a:pt x="41902" y="97320"/>
                </a:lnTo>
                <a:lnTo>
                  <a:pt x="0" y="77383"/>
                </a:lnTo>
                <a:lnTo>
                  <a:pt x="16051" y="6083"/>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3" name="Freeform: Shape 152">
            <a:extLst>
              <a:ext uri="{FF2B5EF4-FFF2-40B4-BE49-F238E27FC236}">
                <a16:creationId xmlns:a16="http://schemas.microsoft.com/office/drawing/2014/main" id="{237A5A60-FA50-0E0B-C603-04A915DF53E2}"/>
              </a:ext>
            </a:extLst>
          </p:cNvPr>
          <p:cNvSpPr/>
          <p:nvPr/>
        </p:nvSpPr>
        <p:spPr>
          <a:xfrm>
            <a:off x="9925732" y="5645604"/>
            <a:ext cx="103225" cy="114038"/>
          </a:xfrm>
          <a:custGeom>
            <a:avLst/>
            <a:gdLst>
              <a:gd name="connsiteX0" fmla="*/ 25850 w 103232"/>
              <a:gd name="connsiteY0" fmla="*/ 0 h 114046"/>
              <a:gd name="connsiteX1" fmla="*/ 103233 w 103232"/>
              <a:gd name="connsiteY1" fmla="*/ 0 h 114046"/>
              <a:gd name="connsiteX2" fmla="*/ 103233 w 103232"/>
              <a:gd name="connsiteY2" fmla="*/ 45619 h 114046"/>
              <a:gd name="connsiteX3" fmla="*/ 51701 w 103232"/>
              <a:gd name="connsiteY3" fmla="*/ 114046 h 114046"/>
              <a:gd name="connsiteX4" fmla="*/ 0 w 103232"/>
              <a:gd name="connsiteY4" fmla="*/ 68428 h 114046"/>
              <a:gd name="connsiteX5" fmla="*/ 25850 w 103232"/>
              <a:gd name="connsiteY5" fmla="*/ 0 h 11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232" h="114046">
                <a:moveTo>
                  <a:pt x="25850" y="0"/>
                </a:moveTo>
                <a:lnTo>
                  <a:pt x="103233" y="0"/>
                </a:lnTo>
                <a:lnTo>
                  <a:pt x="103233" y="45619"/>
                </a:lnTo>
                <a:lnTo>
                  <a:pt x="51701" y="114046"/>
                </a:lnTo>
                <a:lnTo>
                  <a:pt x="0" y="68428"/>
                </a:lnTo>
                <a:lnTo>
                  <a:pt x="25850"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4" name="Freeform: Shape 153">
            <a:extLst>
              <a:ext uri="{FF2B5EF4-FFF2-40B4-BE49-F238E27FC236}">
                <a16:creationId xmlns:a16="http://schemas.microsoft.com/office/drawing/2014/main" id="{5D428AA6-1585-F6EE-3791-5603371F106C}"/>
              </a:ext>
            </a:extLst>
          </p:cNvPr>
          <p:cNvSpPr/>
          <p:nvPr/>
        </p:nvSpPr>
        <p:spPr>
          <a:xfrm>
            <a:off x="10905784" y="4413652"/>
            <a:ext cx="541639" cy="1003874"/>
          </a:xfrm>
          <a:custGeom>
            <a:avLst/>
            <a:gdLst>
              <a:gd name="connsiteX0" fmla="*/ 464295 w 541677"/>
              <a:gd name="connsiteY0" fmla="*/ 0 h 1003944"/>
              <a:gd name="connsiteX1" fmla="*/ 515827 w 541677"/>
              <a:gd name="connsiteY1" fmla="*/ 45618 h 1003944"/>
              <a:gd name="connsiteX2" fmla="*/ 541677 w 541677"/>
              <a:gd name="connsiteY2" fmla="*/ 296689 h 1003944"/>
              <a:gd name="connsiteX3" fmla="*/ 464295 w 541677"/>
              <a:gd name="connsiteY3" fmla="*/ 273880 h 1003944"/>
              <a:gd name="connsiteX4" fmla="*/ 464295 w 541677"/>
              <a:gd name="connsiteY4" fmla="*/ 433544 h 1003944"/>
              <a:gd name="connsiteX5" fmla="*/ 283680 w 541677"/>
              <a:gd name="connsiteY5" fmla="*/ 958326 h 1003944"/>
              <a:gd name="connsiteX6" fmla="*/ 128915 w 541677"/>
              <a:gd name="connsiteY6" fmla="*/ 1003944 h 1003944"/>
              <a:gd name="connsiteX7" fmla="*/ 51532 w 541677"/>
              <a:gd name="connsiteY7" fmla="*/ 958326 h 1003944"/>
              <a:gd name="connsiteX8" fmla="*/ 0 w 541677"/>
              <a:gd name="connsiteY8" fmla="*/ 730065 h 1003944"/>
              <a:gd name="connsiteX9" fmla="*/ 103233 w 541677"/>
              <a:gd name="connsiteY9" fmla="*/ 616018 h 1003944"/>
              <a:gd name="connsiteX10" fmla="*/ 103233 w 541677"/>
              <a:gd name="connsiteY10" fmla="*/ 593209 h 1003944"/>
              <a:gd name="connsiteX11" fmla="*/ 77382 w 541677"/>
              <a:gd name="connsiteY11" fmla="*/ 479163 h 1003944"/>
              <a:gd name="connsiteX12" fmla="*/ 128915 w 541677"/>
              <a:gd name="connsiteY12" fmla="*/ 319498 h 1003944"/>
              <a:gd name="connsiteX13" fmla="*/ 257998 w 541677"/>
              <a:gd name="connsiteY13" fmla="*/ 273880 h 1003944"/>
              <a:gd name="connsiteX14" fmla="*/ 283680 w 541677"/>
              <a:gd name="connsiteY14" fmla="*/ 251071 h 1003944"/>
              <a:gd name="connsiteX15" fmla="*/ 438444 w 541677"/>
              <a:gd name="connsiteY15" fmla="*/ 0 h 1003944"/>
              <a:gd name="connsiteX16" fmla="*/ 464295 w 541677"/>
              <a:gd name="connsiteY16" fmla="*/ 0 h 100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1677" h="1003944">
                <a:moveTo>
                  <a:pt x="464295" y="0"/>
                </a:moveTo>
                <a:lnTo>
                  <a:pt x="515827" y="45618"/>
                </a:lnTo>
                <a:lnTo>
                  <a:pt x="541677" y="296689"/>
                </a:lnTo>
                <a:lnTo>
                  <a:pt x="464295" y="273880"/>
                </a:lnTo>
                <a:lnTo>
                  <a:pt x="464295" y="433544"/>
                </a:lnTo>
                <a:lnTo>
                  <a:pt x="283680" y="958326"/>
                </a:lnTo>
                <a:lnTo>
                  <a:pt x="128915" y="1003944"/>
                </a:lnTo>
                <a:lnTo>
                  <a:pt x="51532" y="958326"/>
                </a:lnTo>
                <a:lnTo>
                  <a:pt x="0" y="730065"/>
                </a:lnTo>
                <a:lnTo>
                  <a:pt x="103233" y="616018"/>
                </a:lnTo>
                <a:lnTo>
                  <a:pt x="103233" y="593209"/>
                </a:lnTo>
                <a:lnTo>
                  <a:pt x="77382" y="479163"/>
                </a:lnTo>
                <a:lnTo>
                  <a:pt x="128915" y="319498"/>
                </a:lnTo>
                <a:lnTo>
                  <a:pt x="257998" y="273880"/>
                </a:lnTo>
                <a:lnTo>
                  <a:pt x="283680" y="251071"/>
                </a:lnTo>
                <a:lnTo>
                  <a:pt x="438444" y="0"/>
                </a:lnTo>
                <a:lnTo>
                  <a:pt x="464295"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5" name="Freeform: Shape 154">
            <a:extLst>
              <a:ext uri="{FF2B5EF4-FFF2-40B4-BE49-F238E27FC236}">
                <a16:creationId xmlns:a16="http://schemas.microsoft.com/office/drawing/2014/main" id="{4138A1E5-7AF4-20BA-E74A-D48EC91C05A2}"/>
              </a:ext>
            </a:extLst>
          </p:cNvPr>
          <p:cNvSpPr/>
          <p:nvPr/>
        </p:nvSpPr>
        <p:spPr>
          <a:xfrm>
            <a:off x="6959893" y="2451691"/>
            <a:ext cx="180433" cy="68422"/>
          </a:xfrm>
          <a:custGeom>
            <a:avLst/>
            <a:gdLst>
              <a:gd name="connsiteX0" fmla="*/ 0 w 180446"/>
              <a:gd name="connsiteY0" fmla="*/ 0 h 68427"/>
              <a:gd name="connsiteX1" fmla="*/ 154765 w 180446"/>
              <a:gd name="connsiteY1" fmla="*/ 0 h 68427"/>
              <a:gd name="connsiteX2" fmla="*/ 180446 w 180446"/>
              <a:gd name="connsiteY2" fmla="*/ 22809 h 68427"/>
              <a:gd name="connsiteX3" fmla="*/ 154765 w 180446"/>
              <a:gd name="connsiteY3" fmla="*/ 45618 h 68427"/>
              <a:gd name="connsiteX4" fmla="*/ 0 w 180446"/>
              <a:gd name="connsiteY4" fmla="*/ 68428 h 68427"/>
              <a:gd name="connsiteX5" fmla="*/ 0 w 180446"/>
              <a:gd name="connsiteY5" fmla="*/ 0 h 68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446" h="68427">
                <a:moveTo>
                  <a:pt x="0" y="0"/>
                </a:moveTo>
                <a:lnTo>
                  <a:pt x="154765" y="0"/>
                </a:lnTo>
                <a:lnTo>
                  <a:pt x="180446" y="22809"/>
                </a:lnTo>
                <a:lnTo>
                  <a:pt x="154765" y="45618"/>
                </a:lnTo>
                <a:lnTo>
                  <a:pt x="0" y="68428"/>
                </a:lnTo>
                <a:lnTo>
                  <a:pt x="0" y="0"/>
                </a:lnTo>
                <a:close/>
              </a:path>
            </a:pathLst>
          </a:custGeom>
          <a:solidFill>
            <a:srgbClr val="AACF7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6" name="Freeform: Shape 155">
            <a:extLst>
              <a:ext uri="{FF2B5EF4-FFF2-40B4-BE49-F238E27FC236}">
                <a16:creationId xmlns:a16="http://schemas.microsoft.com/office/drawing/2014/main" id="{2A0A406B-2956-0709-FB11-03732020A12D}"/>
              </a:ext>
            </a:extLst>
          </p:cNvPr>
          <p:cNvSpPr/>
          <p:nvPr/>
        </p:nvSpPr>
        <p:spPr>
          <a:xfrm>
            <a:off x="6908196" y="2292036"/>
            <a:ext cx="386885" cy="296499"/>
          </a:xfrm>
          <a:custGeom>
            <a:avLst/>
            <a:gdLst>
              <a:gd name="connsiteX0" fmla="*/ 51701 w 386912"/>
              <a:gd name="connsiteY0" fmla="*/ 0 h 296520"/>
              <a:gd name="connsiteX1" fmla="*/ 180615 w 386912"/>
              <a:gd name="connsiteY1" fmla="*/ 22809 h 296520"/>
              <a:gd name="connsiteX2" fmla="*/ 335380 w 386912"/>
              <a:gd name="connsiteY2" fmla="*/ 136855 h 296520"/>
              <a:gd name="connsiteX3" fmla="*/ 361231 w 386912"/>
              <a:gd name="connsiteY3" fmla="*/ 205283 h 296520"/>
              <a:gd name="connsiteX4" fmla="*/ 386912 w 386912"/>
              <a:gd name="connsiteY4" fmla="*/ 296520 h 296520"/>
              <a:gd name="connsiteX5" fmla="*/ 361231 w 386912"/>
              <a:gd name="connsiteY5" fmla="*/ 296520 h 296520"/>
              <a:gd name="connsiteX6" fmla="*/ 309530 w 386912"/>
              <a:gd name="connsiteY6" fmla="*/ 250902 h 296520"/>
              <a:gd name="connsiteX7" fmla="*/ 257998 w 386912"/>
              <a:gd name="connsiteY7" fmla="*/ 273711 h 296520"/>
              <a:gd name="connsiteX8" fmla="*/ 77382 w 386912"/>
              <a:gd name="connsiteY8" fmla="*/ 273711 h 296520"/>
              <a:gd name="connsiteX9" fmla="*/ 51701 w 386912"/>
              <a:gd name="connsiteY9" fmla="*/ 273711 h 296520"/>
              <a:gd name="connsiteX10" fmla="*/ 51701 w 386912"/>
              <a:gd name="connsiteY10" fmla="*/ 228092 h 296520"/>
              <a:gd name="connsiteX11" fmla="*/ 206466 w 386912"/>
              <a:gd name="connsiteY11" fmla="*/ 205283 h 296520"/>
              <a:gd name="connsiteX12" fmla="*/ 232147 w 386912"/>
              <a:gd name="connsiteY12" fmla="*/ 182474 h 296520"/>
              <a:gd name="connsiteX13" fmla="*/ 206466 w 386912"/>
              <a:gd name="connsiteY13" fmla="*/ 159665 h 296520"/>
              <a:gd name="connsiteX14" fmla="*/ 51701 w 386912"/>
              <a:gd name="connsiteY14" fmla="*/ 159665 h 296520"/>
              <a:gd name="connsiteX15" fmla="*/ 0 w 386912"/>
              <a:gd name="connsiteY15" fmla="*/ 114046 h 296520"/>
              <a:gd name="connsiteX16" fmla="*/ 51701 w 386912"/>
              <a:gd name="connsiteY16" fmla="*/ 0 h 2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6912" h="296520">
                <a:moveTo>
                  <a:pt x="51701" y="0"/>
                </a:moveTo>
                <a:lnTo>
                  <a:pt x="180615" y="22809"/>
                </a:lnTo>
                <a:lnTo>
                  <a:pt x="335380" y="136855"/>
                </a:lnTo>
                <a:lnTo>
                  <a:pt x="361231" y="205283"/>
                </a:lnTo>
                <a:lnTo>
                  <a:pt x="386912" y="296520"/>
                </a:lnTo>
                <a:lnTo>
                  <a:pt x="361231" y="296520"/>
                </a:lnTo>
                <a:lnTo>
                  <a:pt x="309530" y="250902"/>
                </a:lnTo>
                <a:lnTo>
                  <a:pt x="257998" y="273711"/>
                </a:lnTo>
                <a:lnTo>
                  <a:pt x="77382" y="273711"/>
                </a:lnTo>
                <a:lnTo>
                  <a:pt x="51701" y="273711"/>
                </a:lnTo>
                <a:lnTo>
                  <a:pt x="51701" y="228092"/>
                </a:lnTo>
                <a:lnTo>
                  <a:pt x="206466" y="205283"/>
                </a:lnTo>
                <a:lnTo>
                  <a:pt x="232147" y="182474"/>
                </a:lnTo>
                <a:lnTo>
                  <a:pt x="206466" y="159665"/>
                </a:lnTo>
                <a:lnTo>
                  <a:pt x="51701" y="159665"/>
                </a:lnTo>
                <a:lnTo>
                  <a:pt x="0" y="114046"/>
                </a:lnTo>
                <a:lnTo>
                  <a:pt x="51701" y="0"/>
                </a:lnTo>
                <a:close/>
              </a:path>
            </a:pathLst>
          </a:custGeom>
          <a:solidFill>
            <a:schemeClr val="bg1"/>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7" name="Freeform: Shape 156">
            <a:extLst>
              <a:ext uri="{FF2B5EF4-FFF2-40B4-BE49-F238E27FC236}">
                <a16:creationId xmlns:a16="http://schemas.microsoft.com/office/drawing/2014/main" id="{AA16A215-D474-1E6B-3BE2-651B44640064}"/>
              </a:ext>
            </a:extLst>
          </p:cNvPr>
          <p:cNvSpPr/>
          <p:nvPr/>
        </p:nvSpPr>
        <p:spPr>
          <a:xfrm>
            <a:off x="7140329" y="2748189"/>
            <a:ext cx="206450" cy="251052"/>
          </a:xfrm>
          <a:custGeom>
            <a:avLst/>
            <a:gdLst>
              <a:gd name="connsiteX0" fmla="*/ 0 w 206465"/>
              <a:gd name="connsiteY0" fmla="*/ 91406 h 251070"/>
              <a:gd name="connsiteX1" fmla="*/ 103233 w 206465"/>
              <a:gd name="connsiteY1" fmla="*/ 0 h 251070"/>
              <a:gd name="connsiteX2" fmla="*/ 180615 w 206465"/>
              <a:gd name="connsiteY2" fmla="*/ 22809 h 251070"/>
              <a:gd name="connsiteX3" fmla="*/ 206466 w 206465"/>
              <a:gd name="connsiteY3" fmla="*/ 114215 h 251070"/>
              <a:gd name="connsiteX4" fmla="*/ 180615 w 206465"/>
              <a:gd name="connsiteY4" fmla="*/ 137024 h 251070"/>
              <a:gd name="connsiteX5" fmla="*/ 154765 w 206465"/>
              <a:gd name="connsiteY5" fmla="*/ 251071 h 251070"/>
              <a:gd name="connsiteX6" fmla="*/ 129083 w 206465"/>
              <a:gd name="connsiteY6" fmla="*/ 228261 h 251070"/>
              <a:gd name="connsiteX7" fmla="*/ 77382 w 206465"/>
              <a:gd name="connsiteY7" fmla="*/ 159833 h 251070"/>
              <a:gd name="connsiteX8" fmla="*/ 0 w 206465"/>
              <a:gd name="connsiteY8" fmla="*/ 91406 h 25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465" h="251070">
                <a:moveTo>
                  <a:pt x="0" y="91406"/>
                </a:moveTo>
                <a:lnTo>
                  <a:pt x="103233" y="0"/>
                </a:lnTo>
                <a:lnTo>
                  <a:pt x="180615" y="22809"/>
                </a:lnTo>
                <a:lnTo>
                  <a:pt x="206466" y="114215"/>
                </a:lnTo>
                <a:lnTo>
                  <a:pt x="180615" y="137024"/>
                </a:lnTo>
                <a:lnTo>
                  <a:pt x="154765" y="251071"/>
                </a:lnTo>
                <a:lnTo>
                  <a:pt x="129083" y="228261"/>
                </a:lnTo>
                <a:lnTo>
                  <a:pt x="77382" y="159833"/>
                </a:lnTo>
                <a:lnTo>
                  <a:pt x="0" y="91406"/>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8" name="Freeform: Shape 157">
            <a:extLst>
              <a:ext uri="{FF2B5EF4-FFF2-40B4-BE49-F238E27FC236}">
                <a16:creationId xmlns:a16="http://schemas.microsoft.com/office/drawing/2014/main" id="{696829D2-66DF-8544-5B2C-E0E80954390D}"/>
              </a:ext>
            </a:extLst>
          </p:cNvPr>
          <p:cNvSpPr/>
          <p:nvPr/>
        </p:nvSpPr>
        <p:spPr>
          <a:xfrm>
            <a:off x="8413839" y="3438331"/>
            <a:ext cx="38688" cy="45615"/>
          </a:xfrm>
          <a:custGeom>
            <a:avLst/>
            <a:gdLst>
              <a:gd name="connsiteX0" fmla="*/ 0 w 38691"/>
              <a:gd name="connsiteY0" fmla="*/ 0 h 45618"/>
              <a:gd name="connsiteX1" fmla="*/ 25682 w 38691"/>
              <a:gd name="connsiteY1" fmla="*/ 0 h 45618"/>
              <a:gd name="connsiteX2" fmla="*/ 38691 w 38691"/>
              <a:gd name="connsiteY2" fmla="*/ 40043 h 45618"/>
              <a:gd name="connsiteX3" fmla="*/ 0 w 38691"/>
              <a:gd name="connsiteY3" fmla="*/ 45619 h 45618"/>
              <a:gd name="connsiteX4" fmla="*/ 0 w 38691"/>
              <a:gd name="connsiteY4" fmla="*/ 0 h 45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1" h="45618">
                <a:moveTo>
                  <a:pt x="0" y="0"/>
                </a:moveTo>
                <a:lnTo>
                  <a:pt x="25682" y="0"/>
                </a:lnTo>
                <a:lnTo>
                  <a:pt x="38691" y="40043"/>
                </a:lnTo>
                <a:lnTo>
                  <a:pt x="0" y="45619"/>
                </a:lnTo>
                <a:lnTo>
                  <a:pt x="0"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9" name="Freeform: Shape 158">
            <a:extLst>
              <a:ext uri="{FF2B5EF4-FFF2-40B4-BE49-F238E27FC236}">
                <a16:creationId xmlns:a16="http://schemas.microsoft.com/office/drawing/2014/main" id="{D279107A-1911-6923-A055-88F2E74962F4}"/>
              </a:ext>
            </a:extLst>
          </p:cNvPr>
          <p:cNvSpPr/>
          <p:nvPr/>
        </p:nvSpPr>
        <p:spPr>
          <a:xfrm>
            <a:off x="10493219" y="2155191"/>
            <a:ext cx="438413" cy="393474"/>
          </a:xfrm>
          <a:custGeom>
            <a:avLst/>
            <a:gdLst>
              <a:gd name="connsiteX0" fmla="*/ 128915 w 438444"/>
              <a:gd name="connsiteY0" fmla="*/ 0 h 393501"/>
              <a:gd name="connsiteX1" fmla="*/ 180446 w 438444"/>
              <a:gd name="connsiteY1" fmla="*/ 182474 h 393501"/>
              <a:gd name="connsiteX2" fmla="*/ 232147 w 438444"/>
              <a:gd name="connsiteY2" fmla="*/ 182474 h 393501"/>
              <a:gd name="connsiteX3" fmla="*/ 309530 w 438444"/>
              <a:gd name="connsiteY3" fmla="*/ 250902 h 393501"/>
              <a:gd name="connsiteX4" fmla="*/ 335211 w 438444"/>
              <a:gd name="connsiteY4" fmla="*/ 273711 h 393501"/>
              <a:gd name="connsiteX5" fmla="*/ 412594 w 438444"/>
              <a:gd name="connsiteY5" fmla="*/ 319329 h 393501"/>
              <a:gd name="connsiteX6" fmla="*/ 438444 w 438444"/>
              <a:gd name="connsiteY6" fmla="*/ 364948 h 393501"/>
              <a:gd name="connsiteX7" fmla="*/ 393333 w 438444"/>
              <a:gd name="connsiteY7" fmla="*/ 393502 h 393501"/>
              <a:gd name="connsiteX8" fmla="*/ 367482 w 438444"/>
              <a:gd name="connsiteY8" fmla="*/ 356331 h 393501"/>
              <a:gd name="connsiteX9" fmla="*/ 312740 w 438444"/>
              <a:gd name="connsiteY9" fmla="*/ 319329 h 393501"/>
              <a:gd name="connsiteX10" fmla="*/ 248198 w 438444"/>
              <a:gd name="connsiteY10" fmla="*/ 287903 h 393501"/>
              <a:gd name="connsiteX11" fmla="*/ 164395 w 438444"/>
              <a:gd name="connsiteY11" fmla="*/ 262222 h 393501"/>
              <a:gd name="connsiteX12" fmla="*/ 90223 w 438444"/>
              <a:gd name="connsiteY12" fmla="*/ 239413 h 393501"/>
              <a:gd name="connsiteX13" fmla="*/ 61162 w 438444"/>
              <a:gd name="connsiteY13" fmla="*/ 279455 h 393501"/>
              <a:gd name="connsiteX14" fmla="*/ 0 w 438444"/>
              <a:gd name="connsiteY14" fmla="*/ 273711 h 393501"/>
              <a:gd name="connsiteX15" fmla="*/ 25682 w 438444"/>
              <a:gd name="connsiteY15" fmla="*/ 228092 h 393501"/>
              <a:gd name="connsiteX16" fmla="*/ 25682 w 438444"/>
              <a:gd name="connsiteY16" fmla="*/ 136856 h 393501"/>
              <a:gd name="connsiteX17" fmla="*/ 25682 w 438444"/>
              <a:gd name="connsiteY17" fmla="*/ 68428 h 393501"/>
              <a:gd name="connsiteX18" fmla="*/ 128915 w 438444"/>
              <a:gd name="connsiteY18" fmla="*/ 0 h 39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8444" h="393501">
                <a:moveTo>
                  <a:pt x="128915" y="0"/>
                </a:moveTo>
                <a:lnTo>
                  <a:pt x="180446" y="182474"/>
                </a:lnTo>
                <a:lnTo>
                  <a:pt x="232147" y="182474"/>
                </a:lnTo>
                <a:lnTo>
                  <a:pt x="309530" y="250902"/>
                </a:lnTo>
                <a:lnTo>
                  <a:pt x="335211" y="273711"/>
                </a:lnTo>
                <a:lnTo>
                  <a:pt x="412594" y="319329"/>
                </a:lnTo>
                <a:lnTo>
                  <a:pt x="438444" y="364948"/>
                </a:lnTo>
                <a:lnTo>
                  <a:pt x="393333" y="393502"/>
                </a:lnTo>
                <a:lnTo>
                  <a:pt x="367482" y="356331"/>
                </a:lnTo>
                <a:lnTo>
                  <a:pt x="312740" y="319329"/>
                </a:lnTo>
                <a:lnTo>
                  <a:pt x="248198" y="287903"/>
                </a:lnTo>
                <a:lnTo>
                  <a:pt x="164395" y="262222"/>
                </a:lnTo>
                <a:lnTo>
                  <a:pt x="90223" y="239413"/>
                </a:lnTo>
                <a:lnTo>
                  <a:pt x="61162" y="279455"/>
                </a:lnTo>
                <a:lnTo>
                  <a:pt x="0" y="273711"/>
                </a:lnTo>
                <a:lnTo>
                  <a:pt x="25682" y="228092"/>
                </a:lnTo>
                <a:lnTo>
                  <a:pt x="25682" y="136856"/>
                </a:lnTo>
                <a:lnTo>
                  <a:pt x="25682" y="68428"/>
                </a:lnTo>
                <a:lnTo>
                  <a:pt x="128915"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0" name="Freeform: Shape 159">
            <a:extLst>
              <a:ext uri="{FF2B5EF4-FFF2-40B4-BE49-F238E27FC236}">
                <a16:creationId xmlns:a16="http://schemas.microsoft.com/office/drawing/2014/main" id="{DFD45C95-7723-C2DA-7C0B-9F9051026AA0}"/>
              </a:ext>
            </a:extLst>
          </p:cNvPr>
          <p:cNvSpPr/>
          <p:nvPr/>
        </p:nvSpPr>
        <p:spPr>
          <a:xfrm>
            <a:off x="10364145" y="2394587"/>
            <a:ext cx="876995" cy="809924"/>
          </a:xfrm>
          <a:custGeom>
            <a:avLst/>
            <a:gdLst>
              <a:gd name="connsiteX0" fmla="*/ 441823 w 877057"/>
              <a:gd name="connsiteY0" fmla="*/ 79917 h 809981"/>
              <a:gd name="connsiteX1" fmla="*/ 496566 w 877057"/>
              <a:gd name="connsiteY1" fmla="*/ 117087 h 809981"/>
              <a:gd name="connsiteX2" fmla="*/ 522416 w 877057"/>
              <a:gd name="connsiteY2" fmla="*/ 154089 h 809981"/>
              <a:gd name="connsiteX3" fmla="*/ 490145 w 877057"/>
              <a:gd name="connsiteY3" fmla="*/ 171154 h 809981"/>
              <a:gd name="connsiteX4" fmla="*/ 490145 w 877057"/>
              <a:gd name="connsiteY4" fmla="*/ 285200 h 809981"/>
              <a:gd name="connsiteX5" fmla="*/ 515996 w 877057"/>
              <a:gd name="connsiteY5" fmla="*/ 308009 h 809981"/>
              <a:gd name="connsiteX6" fmla="*/ 593209 w 877057"/>
              <a:gd name="connsiteY6" fmla="*/ 308009 h 809981"/>
              <a:gd name="connsiteX7" fmla="*/ 619060 w 877057"/>
              <a:gd name="connsiteY7" fmla="*/ 376437 h 809981"/>
              <a:gd name="connsiteX8" fmla="*/ 619060 w 877057"/>
              <a:gd name="connsiteY8" fmla="*/ 399246 h 809981"/>
              <a:gd name="connsiteX9" fmla="*/ 644910 w 877057"/>
              <a:gd name="connsiteY9" fmla="*/ 399246 h 809981"/>
              <a:gd name="connsiteX10" fmla="*/ 670592 w 877057"/>
              <a:gd name="connsiteY10" fmla="*/ 422224 h 809981"/>
              <a:gd name="connsiteX11" fmla="*/ 722293 w 877057"/>
              <a:gd name="connsiteY11" fmla="*/ 422224 h 809981"/>
              <a:gd name="connsiteX12" fmla="*/ 877057 w 877057"/>
              <a:gd name="connsiteY12" fmla="*/ 467843 h 809981"/>
              <a:gd name="connsiteX13" fmla="*/ 619060 w 877057"/>
              <a:gd name="connsiteY13" fmla="*/ 764363 h 809981"/>
              <a:gd name="connsiteX14" fmla="*/ 515996 w 877057"/>
              <a:gd name="connsiteY14" fmla="*/ 764363 h 809981"/>
              <a:gd name="connsiteX15" fmla="*/ 438613 w 877057"/>
              <a:gd name="connsiteY15" fmla="*/ 809981 h 809981"/>
              <a:gd name="connsiteX16" fmla="*/ 335380 w 877057"/>
              <a:gd name="connsiteY16" fmla="*/ 809981 h 809981"/>
              <a:gd name="connsiteX17" fmla="*/ 232147 w 877057"/>
              <a:gd name="connsiteY17" fmla="*/ 787172 h 809981"/>
              <a:gd name="connsiteX18" fmla="*/ 77382 w 877057"/>
              <a:gd name="connsiteY18" fmla="*/ 695935 h 809981"/>
              <a:gd name="connsiteX19" fmla="*/ 51701 w 877057"/>
              <a:gd name="connsiteY19" fmla="*/ 627507 h 809981"/>
              <a:gd name="connsiteX20" fmla="*/ 25850 w 877057"/>
              <a:gd name="connsiteY20" fmla="*/ 604698 h 809981"/>
              <a:gd name="connsiteX21" fmla="*/ 0 w 877057"/>
              <a:gd name="connsiteY21" fmla="*/ 559080 h 809981"/>
              <a:gd name="connsiteX22" fmla="*/ 25850 w 877057"/>
              <a:gd name="connsiteY22" fmla="*/ 353628 h 809981"/>
              <a:gd name="connsiteX23" fmla="*/ 25850 w 877057"/>
              <a:gd name="connsiteY23" fmla="*/ 285200 h 809981"/>
              <a:gd name="connsiteX24" fmla="*/ 103233 w 877057"/>
              <a:gd name="connsiteY24" fmla="*/ 125535 h 809981"/>
              <a:gd name="connsiteX25" fmla="*/ 129083 w 877057"/>
              <a:gd name="connsiteY25" fmla="*/ 125535 h 809981"/>
              <a:gd name="connsiteX26" fmla="*/ 129083 w 877057"/>
              <a:gd name="connsiteY26" fmla="*/ 79917 h 809981"/>
              <a:gd name="connsiteX27" fmla="*/ 129083 w 877057"/>
              <a:gd name="connsiteY27" fmla="*/ 34298 h 809981"/>
              <a:gd name="connsiteX28" fmla="*/ 190246 w 877057"/>
              <a:gd name="connsiteY28" fmla="*/ 40043 h 809981"/>
              <a:gd name="connsiteX29" fmla="*/ 219307 w 877057"/>
              <a:gd name="connsiteY29" fmla="*/ 0 h 809981"/>
              <a:gd name="connsiteX30" fmla="*/ 293479 w 877057"/>
              <a:gd name="connsiteY30" fmla="*/ 22809 h 809981"/>
              <a:gd name="connsiteX31" fmla="*/ 377282 w 877057"/>
              <a:gd name="connsiteY31" fmla="*/ 48491 h 809981"/>
              <a:gd name="connsiteX32" fmla="*/ 441823 w 877057"/>
              <a:gd name="connsiteY32" fmla="*/ 79917 h 809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77057" h="809981">
                <a:moveTo>
                  <a:pt x="441823" y="79917"/>
                </a:moveTo>
                <a:lnTo>
                  <a:pt x="496566" y="117087"/>
                </a:lnTo>
                <a:lnTo>
                  <a:pt x="522416" y="154089"/>
                </a:lnTo>
                <a:lnTo>
                  <a:pt x="490145" y="171154"/>
                </a:lnTo>
                <a:lnTo>
                  <a:pt x="490145" y="285200"/>
                </a:lnTo>
                <a:lnTo>
                  <a:pt x="515996" y="308009"/>
                </a:lnTo>
                <a:lnTo>
                  <a:pt x="593209" y="308009"/>
                </a:lnTo>
                <a:lnTo>
                  <a:pt x="619060" y="376437"/>
                </a:lnTo>
                <a:lnTo>
                  <a:pt x="619060" y="399246"/>
                </a:lnTo>
                <a:lnTo>
                  <a:pt x="644910" y="399246"/>
                </a:lnTo>
                <a:lnTo>
                  <a:pt x="670592" y="422224"/>
                </a:lnTo>
                <a:lnTo>
                  <a:pt x="722293" y="422224"/>
                </a:lnTo>
                <a:lnTo>
                  <a:pt x="877057" y="467843"/>
                </a:lnTo>
                <a:lnTo>
                  <a:pt x="619060" y="764363"/>
                </a:lnTo>
                <a:lnTo>
                  <a:pt x="515996" y="764363"/>
                </a:lnTo>
                <a:lnTo>
                  <a:pt x="438613" y="809981"/>
                </a:lnTo>
                <a:lnTo>
                  <a:pt x="335380" y="809981"/>
                </a:lnTo>
                <a:lnTo>
                  <a:pt x="232147" y="787172"/>
                </a:lnTo>
                <a:lnTo>
                  <a:pt x="77382" y="695935"/>
                </a:lnTo>
                <a:lnTo>
                  <a:pt x="51701" y="627507"/>
                </a:lnTo>
                <a:lnTo>
                  <a:pt x="25850" y="604698"/>
                </a:lnTo>
                <a:lnTo>
                  <a:pt x="0" y="559080"/>
                </a:lnTo>
                <a:lnTo>
                  <a:pt x="25850" y="353628"/>
                </a:lnTo>
                <a:lnTo>
                  <a:pt x="25850" y="285200"/>
                </a:lnTo>
                <a:lnTo>
                  <a:pt x="103233" y="125535"/>
                </a:lnTo>
                <a:lnTo>
                  <a:pt x="129083" y="125535"/>
                </a:lnTo>
                <a:lnTo>
                  <a:pt x="129083" y="79917"/>
                </a:lnTo>
                <a:lnTo>
                  <a:pt x="129083" y="34298"/>
                </a:lnTo>
                <a:lnTo>
                  <a:pt x="190246" y="40043"/>
                </a:lnTo>
                <a:lnTo>
                  <a:pt x="219307" y="0"/>
                </a:lnTo>
                <a:lnTo>
                  <a:pt x="293479" y="22809"/>
                </a:lnTo>
                <a:lnTo>
                  <a:pt x="377282" y="48491"/>
                </a:lnTo>
                <a:lnTo>
                  <a:pt x="441823" y="79917"/>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1" name="Freeform: Shape 160">
            <a:extLst>
              <a:ext uri="{FF2B5EF4-FFF2-40B4-BE49-F238E27FC236}">
                <a16:creationId xmlns:a16="http://schemas.microsoft.com/office/drawing/2014/main" id="{CEE901D2-12CB-BD73-CE68-13B762673717}"/>
              </a:ext>
            </a:extLst>
          </p:cNvPr>
          <p:cNvSpPr/>
          <p:nvPr/>
        </p:nvSpPr>
        <p:spPr>
          <a:xfrm>
            <a:off x="11600825" y="4946676"/>
            <a:ext cx="57948" cy="79912"/>
          </a:xfrm>
          <a:custGeom>
            <a:avLst/>
            <a:gdLst>
              <a:gd name="connsiteX0" fmla="*/ 0 w 57952"/>
              <a:gd name="connsiteY0" fmla="*/ 22809 h 79917"/>
              <a:gd name="connsiteX1" fmla="*/ 51532 w 57952"/>
              <a:gd name="connsiteY1" fmla="*/ 0 h 79917"/>
              <a:gd name="connsiteX2" fmla="*/ 57952 w 57952"/>
              <a:gd name="connsiteY2" fmla="*/ 79917 h 79917"/>
              <a:gd name="connsiteX3" fmla="*/ 6420 w 57952"/>
              <a:gd name="connsiteY3" fmla="*/ 74173 h 79917"/>
              <a:gd name="connsiteX4" fmla="*/ 0 w 57952"/>
              <a:gd name="connsiteY4" fmla="*/ 22809 h 7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52" h="79917">
                <a:moveTo>
                  <a:pt x="0" y="22809"/>
                </a:moveTo>
                <a:lnTo>
                  <a:pt x="51532" y="0"/>
                </a:lnTo>
                <a:lnTo>
                  <a:pt x="57952" y="79917"/>
                </a:lnTo>
                <a:lnTo>
                  <a:pt x="6420" y="74173"/>
                </a:lnTo>
                <a:lnTo>
                  <a:pt x="0" y="22809"/>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2" name="Freeform: Shape 161">
            <a:extLst>
              <a:ext uri="{FF2B5EF4-FFF2-40B4-BE49-F238E27FC236}">
                <a16:creationId xmlns:a16="http://schemas.microsoft.com/office/drawing/2014/main" id="{457D56EA-B72F-A9BF-3CE7-29F8E6D2F641}"/>
              </a:ext>
            </a:extLst>
          </p:cNvPr>
          <p:cNvSpPr/>
          <p:nvPr/>
        </p:nvSpPr>
        <p:spPr>
          <a:xfrm>
            <a:off x="11792410" y="4869975"/>
            <a:ext cx="80586" cy="77038"/>
          </a:xfrm>
          <a:custGeom>
            <a:avLst/>
            <a:gdLst>
              <a:gd name="connsiteX0" fmla="*/ 16051 w 80592"/>
              <a:gd name="connsiteY0" fmla="*/ 0 h 77044"/>
              <a:gd name="connsiteX1" fmla="*/ 80593 w 80592"/>
              <a:gd name="connsiteY1" fmla="*/ 28554 h 77044"/>
              <a:gd name="connsiteX2" fmla="*/ 51532 w 80592"/>
              <a:gd name="connsiteY2" fmla="*/ 77045 h 77044"/>
              <a:gd name="connsiteX3" fmla="*/ 0 w 80592"/>
              <a:gd name="connsiteY3" fmla="*/ 71300 h 77044"/>
              <a:gd name="connsiteX4" fmla="*/ 16051 w 80592"/>
              <a:gd name="connsiteY4" fmla="*/ 0 h 77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92" h="77044">
                <a:moveTo>
                  <a:pt x="16051" y="0"/>
                </a:moveTo>
                <a:lnTo>
                  <a:pt x="80593" y="28554"/>
                </a:lnTo>
                <a:lnTo>
                  <a:pt x="51532" y="77045"/>
                </a:lnTo>
                <a:lnTo>
                  <a:pt x="0" y="71300"/>
                </a:lnTo>
                <a:lnTo>
                  <a:pt x="16051"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3" name="Freeform: Shape 162">
            <a:extLst>
              <a:ext uri="{FF2B5EF4-FFF2-40B4-BE49-F238E27FC236}">
                <a16:creationId xmlns:a16="http://schemas.microsoft.com/office/drawing/2014/main" id="{E5FF5C6C-1112-399C-7330-CEE49EB7A64E}"/>
              </a:ext>
            </a:extLst>
          </p:cNvPr>
          <p:cNvSpPr/>
          <p:nvPr/>
        </p:nvSpPr>
        <p:spPr>
          <a:xfrm>
            <a:off x="10928423" y="4410782"/>
            <a:ext cx="99846" cy="57103"/>
          </a:xfrm>
          <a:custGeom>
            <a:avLst/>
            <a:gdLst>
              <a:gd name="connsiteX0" fmla="*/ 0 w 99853"/>
              <a:gd name="connsiteY0" fmla="*/ 0 h 57107"/>
              <a:gd name="connsiteX1" fmla="*/ 99854 w 99853"/>
              <a:gd name="connsiteY1" fmla="*/ 2872 h 57107"/>
              <a:gd name="connsiteX2" fmla="*/ 57952 w 99853"/>
              <a:gd name="connsiteY2" fmla="*/ 57107 h 57107"/>
              <a:gd name="connsiteX3" fmla="*/ 6420 w 99853"/>
              <a:gd name="connsiteY3" fmla="*/ 51363 h 57107"/>
              <a:gd name="connsiteX4" fmla="*/ 0 w 99853"/>
              <a:gd name="connsiteY4" fmla="*/ 0 h 57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53" h="57107">
                <a:moveTo>
                  <a:pt x="0" y="0"/>
                </a:moveTo>
                <a:lnTo>
                  <a:pt x="99854" y="2872"/>
                </a:lnTo>
                <a:lnTo>
                  <a:pt x="57952" y="57107"/>
                </a:lnTo>
                <a:lnTo>
                  <a:pt x="6420" y="51363"/>
                </a:lnTo>
                <a:lnTo>
                  <a:pt x="0"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4" name="Freeform: Shape 163">
            <a:extLst>
              <a:ext uri="{FF2B5EF4-FFF2-40B4-BE49-F238E27FC236}">
                <a16:creationId xmlns:a16="http://schemas.microsoft.com/office/drawing/2014/main" id="{9EDAD089-43C9-C8FC-B21F-320041A2B079}"/>
              </a:ext>
            </a:extLst>
          </p:cNvPr>
          <p:cNvSpPr/>
          <p:nvPr/>
        </p:nvSpPr>
        <p:spPr>
          <a:xfrm>
            <a:off x="8094700" y="2725382"/>
            <a:ext cx="77377" cy="365090"/>
          </a:xfrm>
          <a:custGeom>
            <a:avLst/>
            <a:gdLst>
              <a:gd name="connsiteX0" fmla="*/ 0 w 77382"/>
              <a:gd name="connsiteY0" fmla="*/ 365117 h 365116"/>
              <a:gd name="connsiteX1" fmla="*/ 0 w 77382"/>
              <a:gd name="connsiteY1" fmla="*/ 0 h 365116"/>
              <a:gd name="connsiteX2" fmla="*/ 51532 w 77382"/>
              <a:gd name="connsiteY2" fmla="*/ 22809 h 365116"/>
              <a:gd name="connsiteX3" fmla="*/ 77382 w 77382"/>
              <a:gd name="connsiteY3" fmla="*/ 319498 h 365116"/>
              <a:gd name="connsiteX4" fmla="*/ 0 w 77382"/>
              <a:gd name="connsiteY4" fmla="*/ 365117 h 365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82" h="365116">
                <a:moveTo>
                  <a:pt x="0" y="365117"/>
                </a:moveTo>
                <a:lnTo>
                  <a:pt x="0" y="0"/>
                </a:lnTo>
                <a:lnTo>
                  <a:pt x="51532" y="22809"/>
                </a:lnTo>
                <a:lnTo>
                  <a:pt x="77382" y="319498"/>
                </a:lnTo>
                <a:lnTo>
                  <a:pt x="0" y="365117"/>
                </a:lnTo>
                <a:close/>
              </a:path>
            </a:pathLst>
          </a:custGeom>
          <a:solidFill>
            <a:srgbClr val="00205C"/>
          </a:solidFill>
          <a:ln w="8443" cap="flat">
            <a:solidFill>
              <a:schemeClr val="bg1"/>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5" name="Freeform: Shape 164">
            <a:extLst>
              <a:ext uri="{FF2B5EF4-FFF2-40B4-BE49-F238E27FC236}">
                <a16:creationId xmlns:a16="http://schemas.microsoft.com/office/drawing/2014/main" id="{43E6E96A-1057-D26B-71DA-619A5317AA2B}"/>
              </a:ext>
            </a:extLst>
          </p:cNvPr>
          <p:cNvSpPr/>
          <p:nvPr/>
        </p:nvSpPr>
        <p:spPr>
          <a:xfrm>
            <a:off x="10317347" y="1086440"/>
            <a:ext cx="13008" cy="4392"/>
          </a:xfrm>
          <a:custGeom>
            <a:avLst/>
            <a:gdLst>
              <a:gd name="connsiteX0" fmla="*/ 0 w 13009"/>
              <a:gd name="connsiteY0" fmla="*/ 0 h 4392"/>
              <a:gd name="connsiteX1" fmla="*/ 13010 w 13009"/>
              <a:gd name="connsiteY1" fmla="*/ 4393 h 4392"/>
            </a:gdLst>
            <a:ahLst/>
            <a:cxnLst>
              <a:cxn ang="0">
                <a:pos x="connsiteX0" y="connsiteY0"/>
              </a:cxn>
              <a:cxn ang="0">
                <a:pos x="connsiteX1" y="connsiteY1"/>
              </a:cxn>
            </a:cxnLst>
            <a:rect l="l" t="t" r="r" b="b"/>
            <a:pathLst>
              <a:path w="13009" h="4392">
                <a:moveTo>
                  <a:pt x="0" y="0"/>
                </a:moveTo>
                <a:lnTo>
                  <a:pt x="13010" y="4393"/>
                </a:lnTo>
              </a:path>
            </a:pathLst>
          </a:custGeom>
          <a:ln w="10470" cap="flat">
            <a:solidFill>
              <a:srgbClr val="FEFEFE"/>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6" name="Freeform: Shape 165">
            <a:extLst>
              <a:ext uri="{FF2B5EF4-FFF2-40B4-BE49-F238E27FC236}">
                <a16:creationId xmlns:a16="http://schemas.microsoft.com/office/drawing/2014/main" id="{A10E2A91-4B58-1EF3-06B5-6C7B35F764CF}"/>
              </a:ext>
            </a:extLst>
          </p:cNvPr>
          <p:cNvSpPr/>
          <p:nvPr/>
        </p:nvSpPr>
        <p:spPr>
          <a:xfrm>
            <a:off x="10338466" y="3090472"/>
            <a:ext cx="541639" cy="752820"/>
          </a:xfrm>
          <a:custGeom>
            <a:avLst/>
            <a:gdLst>
              <a:gd name="connsiteX0" fmla="*/ 52039 w 541677"/>
              <a:gd name="connsiteY0" fmla="*/ 45112 h 752873"/>
              <a:gd name="connsiteX1" fmla="*/ 103064 w 541677"/>
              <a:gd name="connsiteY1" fmla="*/ 0 h 752873"/>
              <a:gd name="connsiteX2" fmla="*/ 257829 w 541677"/>
              <a:gd name="connsiteY2" fmla="*/ 91237 h 752873"/>
              <a:gd name="connsiteX3" fmla="*/ 361062 w 541677"/>
              <a:gd name="connsiteY3" fmla="*/ 114046 h 752873"/>
              <a:gd name="connsiteX4" fmla="*/ 464295 w 541677"/>
              <a:gd name="connsiteY4" fmla="*/ 114046 h 752873"/>
              <a:gd name="connsiteX5" fmla="*/ 541677 w 541677"/>
              <a:gd name="connsiteY5" fmla="*/ 68428 h 752873"/>
              <a:gd name="connsiteX6" fmla="*/ 489976 w 541677"/>
              <a:gd name="connsiteY6" fmla="*/ 159665 h 752873"/>
              <a:gd name="connsiteX7" fmla="*/ 464295 w 541677"/>
              <a:gd name="connsiteY7" fmla="*/ 456354 h 752873"/>
              <a:gd name="connsiteX8" fmla="*/ 515827 w 541677"/>
              <a:gd name="connsiteY8" fmla="*/ 479163 h 752873"/>
              <a:gd name="connsiteX9" fmla="*/ 464295 w 541677"/>
              <a:gd name="connsiteY9" fmla="*/ 547591 h 752873"/>
              <a:gd name="connsiteX10" fmla="*/ 412594 w 541677"/>
              <a:gd name="connsiteY10" fmla="*/ 638828 h 752873"/>
              <a:gd name="connsiteX11" fmla="*/ 412594 w 541677"/>
              <a:gd name="connsiteY11" fmla="*/ 730065 h 752873"/>
              <a:gd name="connsiteX12" fmla="*/ 386912 w 541677"/>
              <a:gd name="connsiteY12" fmla="*/ 752874 h 752873"/>
              <a:gd name="connsiteX13" fmla="*/ 180447 w 541677"/>
              <a:gd name="connsiteY13" fmla="*/ 524781 h 752873"/>
              <a:gd name="connsiteX14" fmla="*/ 51532 w 541677"/>
              <a:gd name="connsiteY14" fmla="*/ 479163 h 752873"/>
              <a:gd name="connsiteX15" fmla="*/ 77382 w 541677"/>
              <a:gd name="connsiteY15" fmla="*/ 456354 h 752873"/>
              <a:gd name="connsiteX16" fmla="*/ 51532 w 541677"/>
              <a:gd name="connsiteY16" fmla="*/ 410735 h 752873"/>
              <a:gd name="connsiteX17" fmla="*/ 0 w 541677"/>
              <a:gd name="connsiteY17" fmla="*/ 387926 h 752873"/>
              <a:gd name="connsiteX18" fmla="*/ 51532 w 541677"/>
              <a:gd name="connsiteY18" fmla="*/ 250902 h 752873"/>
              <a:gd name="connsiteX19" fmla="*/ 52039 w 541677"/>
              <a:gd name="connsiteY19" fmla="*/ 45112 h 75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1677" h="752873">
                <a:moveTo>
                  <a:pt x="52039" y="45112"/>
                </a:moveTo>
                <a:lnTo>
                  <a:pt x="103064" y="0"/>
                </a:lnTo>
                <a:lnTo>
                  <a:pt x="257829" y="91237"/>
                </a:lnTo>
                <a:lnTo>
                  <a:pt x="361062" y="114046"/>
                </a:lnTo>
                <a:lnTo>
                  <a:pt x="464295" y="114046"/>
                </a:lnTo>
                <a:lnTo>
                  <a:pt x="541677" y="68428"/>
                </a:lnTo>
                <a:lnTo>
                  <a:pt x="489976" y="159665"/>
                </a:lnTo>
                <a:lnTo>
                  <a:pt x="464295" y="456354"/>
                </a:lnTo>
                <a:lnTo>
                  <a:pt x="515827" y="479163"/>
                </a:lnTo>
                <a:lnTo>
                  <a:pt x="464295" y="547591"/>
                </a:lnTo>
                <a:lnTo>
                  <a:pt x="412594" y="638828"/>
                </a:lnTo>
                <a:lnTo>
                  <a:pt x="412594" y="730065"/>
                </a:lnTo>
                <a:lnTo>
                  <a:pt x="386912" y="752874"/>
                </a:lnTo>
                <a:lnTo>
                  <a:pt x="180447" y="524781"/>
                </a:lnTo>
                <a:lnTo>
                  <a:pt x="51532" y="479163"/>
                </a:lnTo>
                <a:lnTo>
                  <a:pt x="77382" y="456354"/>
                </a:lnTo>
                <a:lnTo>
                  <a:pt x="51532" y="410735"/>
                </a:lnTo>
                <a:lnTo>
                  <a:pt x="0" y="387926"/>
                </a:lnTo>
                <a:lnTo>
                  <a:pt x="51532" y="250902"/>
                </a:lnTo>
                <a:lnTo>
                  <a:pt x="52039" y="45112"/>
                </a:lnTo>
                <a:close/>
              </a:path>
            </a:pathLst>
          </a:custGeom>
          <a:pattFill prst="ltDnDiag">
            <a:fgClr>
              <a:srgbClr val="00205C"/>
            </a:fgClr>
            <a:bgClr>
              <a:srgbClr val="C9DDF3"/>
            </a:bgClr>
          </a:patt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7" name="Freeform: Shape 166">
            <a:extLst>
              <a:ext uri="{FF2B5EF4-FFF2-40B4-BE49-F238E27FC236}">
                <a16:creationId xmlns:a16="http://schemas.microsoft.com/office/drawing/2014/main" id="{54F4E51B-9756-2FB4-CCEB-F85028E1DAB0}"/>
              </a:ext>
            </a:extLst>
          </p:cNvPr>
          <p:cNvSpPr/>
          <p:nvPr/>
        </p:nvSpPr>
        <p:spPr>
          <a:xfrm>
            <a:off x="10247235" y="1139997"/>
            <a:ext cx="12839" cy="4223"/>
          </a:xfrm>
          <a:custGeom>
            <a:avLst/>
            <a:gdLst>
              <a:gd name="connsiteX0" fmla="*/ 0 w 12840"/>
              <a:gd name="connsiteY0" fmla="*/ 0 h 4223"/>
              <a:gd name="connsiteX1" fmla="*/ 12841 w 12840"/>
              <a:gd name="connsiteY1" fmla="*/ 4224 h 4223"/>
            </a:gdLst>
            <a:ahLst/>
            <a:cxnLst>
              <a:cxn ang="0">
                <a:pos x="connsiteX0" y="connsiteY0"/>
              </a:cxn>
              <a:cxn ang="0">
                <a:pos x="connsiteX1" y="connsiteY1"/>
              </a:cxn>
            </a:cxnLst>
            <a:rect l="l" t="t" r="r" b="b"/>
            <a:pathLst>
              <a:path w="12840" h="4223">
                <a:moveTo>
                  <a:pt x="0" y="0"/>
                </a:moveTo>
                <a:lnTo>
                  <a:pt x="12841" y="4224"/>
                </a:lnTo>
              </a:path>
            </a:pathLst>
          </a:custGeom>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8" name="Freeform: Shape 167">
            <a:extLst>
              <a:ext uri="{FF2B5EF4-FFF2-40B4-BE49-F238E27FC236}">
                <a16:creationId xmlns:a16="http://schemas.microsoft.com/office/drawing/2014/main" id="{01CCECA9-BC8A-AC2C-EB08-771CCF2EAD2D}"/>
              </a:ext>
            </a:extLst>
          </p:cNvPr>
          <p:cNvSpPr/>
          <p:nvPr/>
        </p:nvSpPr>
        <p:spPr>
          <a:xfrm>
            <a:off x="10256020" y="1129185"/>
            <a:ext cx="4392" cy="10981"/>
          </a:xfrm>
          <a:custGeom>
            <a:avLst/>
            <a:gdLst>
              <a:gd name="connsiteX0" fmla="*/ 4393 w 4392"/>
              <a:gd name="connsiteY0" fmla="*/ 0 h 10982"/>
              <a:gd name="connsiteX1" fmla="*/ 0 w 4392"/>
              <a:gd name="connsiteY1" fmla="*/ 10982 h 10982"/>
            </a:gdLst>
            <a:ahLst/>
            <a:cxnLst>
              <a:cxn ang="0">
                <a:pos x="connsiteX0" y="connsiteY0"/>
              </a:cxn>
              <a:cxn ang="0">
                <a:pos x="connsiteX1" y="connsiteY1"/>
              </a:cxn>
            </a:cxnLst>
            <a:rect l="l" t="t" r="r" b="b"/>
            <a:pathLst>
              <a:path w="4392" h="10982">
                <a:moveTo>
                  <a:pt x="4393" y="0"/>
                </a:moveTo>
                <a:lnTo>
                  <a:pt x="0" y="10982"/>
                </a:lnTo>
              </a:path>
            </a:pathLst>
          </a:custGeom>
          <a:ln w="8612" cap="flat">
            <a:solidFill>
              <a:srgbClr val="FEFEFE"/>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9" name="Freeform: Shape 168">
            <a:extLst>
              <a:ext uri="{FF2B5EF4-FFF2-40B4-BE49-F238E27FC236}">
                <a16:creationId xmlns:a16="http://schemas.microsoft.com/office/drawing/2014/main" id="{CB670644-1B09-1524-CEE6-A17490202824}"/>
              </a:ext>
            </a:extLst>
          </p:cNvPr>
          <p:cNvSpPr/>
          <p:nvPr/>
        </p:nvSpPr>
        <p:spPr>
          <a:xfrm>
            <a:off x="9693601" y="1082892"/>
            <a:ext cx="720045" cy="755355"/>
          </a:xfrm>
          <a:custGeom>
            <a:avLst/>
            <a:gdLst>
              <a:gd name="connsiteX0" fmla="*/ 0 w 720096"/>
              <a:gd name="connsiteY0" fmla="*/ 0 h 755408"/>
              <a:gd name="connsiteX1" fmla="*/ 232147 w 720096"/>
              <a:gd name="connsiteY1" fmla="*/ 68428 h 755408"/>
              <a:gd name="connsiteX2" fmla="*/ 309530 w 720096"/>
              <a:gd name="connsiteY2" fmla="*/ 0 h 755408"/>
              <a:gd name="connsiteX3" fmla="*/ 438613 w 720096"/>
              <a:gd name="connsiteY3" fmla="*/ 22809 h 755408"/>
              <a:gd name="connsiteX4" fmla="*/ 464295 w 720096"/>
              <a:gd name="connsiteY4" fmla="*/ 68428 h 755408"/>
              <a:gd name="connsiteX5" fmla="*/ 515827 w 720096"/>
              <a:gd name="connsiteY5" fmla="*/ 45618 h 755408"/>
              <a:gd name="connsiteX6" fmla="*/ 541677 w 720096"/>
              <a:gd name="connsiteY6" fmla="*/ 45618 h 755408"/>
              <a:gd name="connsiteX7" fmla="*/ 612808 w 720096"/>
              <a:gd name="connsiteY7" fmla="*/ 150879 h 755408"/>
              <a:gd name="connsiteX8" fmla="*/ 577327 w 720096"/>
              <a:gd name="connsiteY8" fmla="*/ 272021 h 755408"/>
              <a:gd name="connsiteX9" fmla="*/ 464295 w 720096"/>
              <a:gd name="connsiteY9" fmla="*/ 159665 h 755408"/>
              <a:gd name="connsiteX10" fmla="*/ 490145 w 720096"/>
              <a:gd name="connsiteY10" fmla="*/ 250902 h 755408"/>
              <a:gd name="connsiteX11" fmla="*/ 720096 w 720096"/>
              <a:gd name="connsiteY11" fmla="*/ 644234 h 755408"/>
              <a:gd name="connsiteX12" fmla="*/ 622439 w 720096"/>
              <a:gd name="connsiteY12" fmla="*/ 755408 h 755408"/>
              <a:gd name="connsiteX13" fmla="*/ 567528 w 720096"/>
              <a:gd name="connsiteY13" fmla="*/ 730065 h 755408"/>
              <a:gd name="connsiteX14" fmla="*/ 25850 w 720096"/>
              <a:gd name="connsiteY14" fmla="*/ 730065 h 755408"/>
              <a:gd name="connsiteX15" fmla="*/ 0 w 720096"/>
              <a:gd name="connsiteY15" fmla="*/ 0 h 75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0096" h="755408">
                <a:moveTo>
                  <a:pt x="0" y="0"/>
                </a:moveTo>
                <a:lnTo>
                  <a:pt x="232147" y="68428"/>
                </a:lnTo>
                <a:lnTo>
                  <a:pt x="309530" y="0"/>
                </a:lnTo>
                <a:lnTo>
                  <a:pt x="438613" y="22809"/>
                </a:lnTo>
                <a:lnTo>
                  <a:pt x="464295" y="68428"/>
                </a:lnTo>
                <a:lnTo>
                  <a:pt x="515827" y="45618"/>
                </a:lnTo>
                <a:lnTo>
                  <a:pt x="541677" y="45618"/>
                </a:lnTo>
                <a:lnTo>
                  <a:pt x="612808" y="150879"/>
                </a:lnTo>
                <a:lnTo>
                  <a:pt x="577327" y="272021"/>
                </a:lnTo>
                <a:lnTo>
                  <a:pt x="464295" y="159665"/>
                </a:lnTo>
                <a:lnTo>
                  <a:pt x="490145" y="250902"/>
                </a:lnTo>
                <a:lnTo>
                  <a:pt x="720096" y="644234"/>
                </a:lnTo>
                <a:lnTo>
                  <a:pt x="622439" y="755408"/>
                </a:lnTo>
                <a:lnTo>
                  <a:pt x="567528" y="730065"/>
                </a:lnTo>
                <a:lnTo>
                  <a:pt x="25850" y="730065"/>
                </a:lnTo>
                <a:lnTo>
                  <a:pt x="0"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0" name="Freeform: Shape 169">
            <a:extLst>
              <a:ext uri="{FF2B5EF4-FFF2-40B4-BE49-F238E27FC236}">
                <a16:creationId xmlns:a16="http://schemas.microsoft.com/office/drawing/2014/main" id="{EE17B150-F937-22E2-9CC9-5D1389B26591}"/>
              </a:ext>
            </a:extLst>
          </p:cNvPr>
          <p:cNvSpPr/>
          <p:nvPr/>
        </p:nvSpPr>
        <p:spPr>
          <a:xfrm>
            <a:off x="10264467" y="1729110"/>
            <a:ext cx="145969" cy="109138"/>
          </a:xfrm>
          <a:custGeom>
            <a:avLst/>
            <a:gdLst>
              <a:gd name="connsiteX0" fmla="*/ 0 w 145979"/>
              <a:gd name="connsiteY0" fmla="*/ 84986 h 109146"/>
              <a:gd name="connsiteX1" fmla="*/ 54066 w 145979"/>
              <a:gd name="connsiteY1" fmla="*/ 109146 h 109146"/>
              <a:gd name="connsiteX2" fmla="*/ 145979 w 145979"/>
              <a:gd name="connsiteY2" fmla="*/ 0 h 109146"/>
            </a:gdLst>
            <a:ahLst/>
            <a:cxnLst>
              <a:cxn ang="0">
                <a:pos x="connsiteX0" y="connsiteY0"/>
              </a:cxn>
              <a:cxn ang="0">
                <a:pos x="connsiteX1" y="connsiteY1"/>
              </a:cxn>
              <a:cxn ang="0">
                <a:pos x="connsiteX2" y="connsiteY2"/>
              </a:cxn>
            </a:cxnLst>
            <a:rect l="l" t="t" r="r" b="b"/>
            <a:pathLst>
              <a:path w="145979" h="109146">
                <a:moveTo>
                  <a:pt x="0" y="84986"/>
                </a:moveTo>
                <a:lnTo>
                  <a:pt x="54066" y="109146"/>
                </a:lnTo>
                <a:lnTo>
                  <a:pt x="145979" y="0"/>
                </a:lnTo>
              </a:path>
            </a:pathLst>
          </a:custGeom>
          <a:noFill/>
          <a:ln w="8443" cap="flat">
            <a:solidFill>
              <a:srgbClr val="FEFEFE"/>
            </a:solidFill>
            <a:custDash>
              <a:ds d="0" sp="0"/>
              <a:ds d="75000" sp="75000"/>
            </a:custDash>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1" name="Freeform: Shape 170">
            <a:extLst>
              <a:ext uri="{FF2B5EF4-FFF2-40B4-BE49-F238E27FC236}">
                <a16:creationId xmlns:a16="http://schemas.microsoft.com/office/drawing/2014/main" id="{868DA296-7DBB-4F33-4634-43D7D74A2C3E}"/>
              </a:ext>
            </a:extLst>
          </p:cNvPr>
          <p:cNvSpPr/>
          <p:nvPr/>
        </p:nvSpPr>
        <p:spPr>
          <a:xfrm>
            <a:off x="10257202" y="1810542"/>
            <a:ext cx="207127" cy="1351"/>
          </a:xfrm>
          <a:custGeom>
            <a:avLst/>
            <a:gdLst>
              <a:gd name="connsiteX0" fmla="*/ 0 w 207141"/>
              <a:gd name="connsiteY0" fmla="*/ 1352 h 1351"/>
              <a:gd name="connsiteX1" fmla="*/ 207142 w 207141"/>
              <a:gd name="connsiteY1" fmla="*/ 0 h 1351"/>
            </a:gdLst>
            <a:ahLst/>
            <a:cxnLst>
              <a:cxn ang="0">
                <a:pos x="connsiteX0" y="connsiteY0"/>
              </a:cxn>
              <a:cxn ang="0">
                <a:pos x="connsiteX1" y="connsiteY1"/>
              </a:cxn>
            </a:cxnLst>
            <a:rect l="l" t="t" r="r" b="b"/>
            <a:pathLst>
              <a:path w="207141" h="1351">
                <a:moveTo>
                  <a:pt x="0" y="1352"/>
                </a:moveTo>
                <a:lnTo>
                  <a:pt x="207142" y="0"/>
                </a:lnTo>
              </a:path>
            </a:pathLst>
          </a:custGeom>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2" name="Freeform: Shape 171">
            <a:extLst>
              <a:ext uri="{FF2B5EF4-FFF2-40B4-BE49-F238E27FC236}">
                <a16:creationId xmlns:a16="http://schemas.microsoft.com/office/drawing/2014/main" id="{9E2491DF-64BD-C769-895A-3FD7DFF3167B}"/>
              </a:ext>
            </a:extLst>
          </p:cNvPr>
          <p:cNvSpPr/>
          <p:nvPr/>
        </p:nvSpPr>
        <p:spPr>
          <a:xfrm>
            <a:off x="10382561" y="3079322"/>
            <a:ext cx="48317" cy="53386"/>
          </a:xfrm>
          <a:custGeom>
            <a:avLst/>
            <a:gdLst>
              <a:gd name="connsiteX0" fmla="*/ 8786 w 48321"/>
              <a:gd name="connsiteY0" fmla="*/ 53391 h 53390"/>
              <a:gd name="connsiteX1" fmla="*/ 0 w 48321"/>
              <a:gd name="connsiteY1" fmla="*/ 37678 h 53390"/>
              <a:gd name="connsiteX2" fmla="*/ 18416 w 48321"/>
              <a:gd name="connsiteY2" fmla="*/ 0 h 53390"/>
              <a:gd name="connsiteX3" fmla="*/ 48322 w 48321"/>
              <a:gd name="connsiteY3" fmla="*/ 10644 h 53390"/>
            </a:gdLst>
            <a:ahLst/>
            <a:cxnLst>
              <a:cxn ang="0">
                <a:pos x="connsiteX0" y="connsiteY0"/>
              </a:cxn>
              <a:cxn ang="0">
                <a:pos x="connsiteX1" y="connsiteY1"/>
              </a:cxn>
              <a:cxn ang="0">
                <a:pos x="connsiteX2" y="connsiteY2"/>
              </a:cxn>
              <a:cxn ang="0">
                <a:pos x="connsiteX3" y="connsiteY3"/>
              </a:cxn>
            </a:cxnLst>
            <a:rect l="l" t="t" r="r" b="b"/>
            <a:pathLst>
              <a:path w="48321" h="53390">
                <a:moveTo>
                  <a:pt x="8786" y="53391"/>
                </a:moveTo>
                <a:lnTo>
                  <a:pt x="0" y="37678"/>
                </a:lnTo>
                <a:lnTo>
                  <a:pt x="18416" y="0"/>
                </a:lnTo>
                <a:lnTo>
                  <a:pt x="48322" y="10644"/>
                </a:lnTo>
              </a:path>
            </a:pathLst>
          </a:custGeom>
          <a:noFill/>
          <a:ln w="8443" cap="flat">
            <a:solidFill>
              <a:srgbClr val="2B2A29"/>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3" name="Freeform: Shape 172">
            <a:extLst>
              <a:ext uri="{FF2B5EF4-FFF2-40B4-BE49-F238E27FC236}">
                <a16:creationId xmlns:a16="http://schemas.microsoft.com/office/drawing/2014/main" id="{0CBFD230-F62B-D144-9864-9AE4B3ADA938}"/>
              </a:ext>
            </a:extLst>
          </p:cNvPr>
          <p:cNvSpPr/>
          <p:nvPr/>
        </p:nvSpPr>
        <p:spPr>
          <a:xfrm>
            <a:off x="10411956" y="3078646"/>
            <a:ext cx="4899" cy="10812"/>
          </a:xfrm>
          <a:custGeom>
            <a:avLst/>
            <a:gdLst>
              <a:gd name="connsiteX0" fmla="*/ 4900 w 4899"/>
              <a:gd name="connsiteY0" fmla="*/ 0 h 10813"/>
              <a:gd name="connsiteX1" fmla="*/ 0 w 4899"/>
              <a:gd name="connsiteY1" fmla="*/ 10813 h 10813"/>
            </a:gdLst>
            <a:ahLst/>
            <a:cxnLst>
              <a:cxn ang="0">
                <a:pos x="connsiteX0" y="connsiteY0"/>
              </a:cxn>
              <a:cxn ang="0">
                <a:pos x="connsiteX1" y="connsiteY1"/>
              </a:cxn>
            </a:cxnLst>
            <a:rect l="l" t="t" r="r" b="b"/>
            <a:pathLst>
              <a:path w="4899" h="10813">
                <a:moveTo>
                  <a:pt x="4900" y="0"/>
                </a:moveTo>
                <a:lnTo>
                  <a:pt x="0" y="10813"/>
                </a:lnTo>
              </a:path>
            </a:pathLst>
          </a:custGeom>
          <a:ln w="10470" cap="flat">
            <a:solidFill>
              <a:srgbClr val="FEFEFE"/>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4" name="Freeform: Shape 173">
            <a:extLst>
              <a:ext uri="{FF2B5EF4-FFF2-40B4-BE49-F238E27FC236}">
                <a16:creationId xmlns:a16="http://schemas.microsoft.com/office/drawing/2014/main" id="{BA579CE7-773C-20B1-5CDE-59A392DBB2A9}"/>
              </a:ext>
            </a:extLst>
          </p:cNvPr>
          <p:cNvSpPr/>
          <p:nvPr/>
        </p:nvSpPr>
        <p:spPr>
          <a:xfrm>
            <a:off x="10384587" y="3104157"/>
            <a:ext cx="3886" cy="9629"/>
          </a:xfrm>
          <a:custGeom>
            <a:avLst/>
            <a:gdLst>
              <a:gd name="connsiteX0" fmla="*/ 3886 w 3886"/>
              <a:gd name="connsiteY0" fmla="*/ 0 h 9630"/>
              <a:gd name="connsiteX1" fmla="*/ 0 w 3886"/>
              <a:gd name="connsiteY1" fmla="*/ 9631 h 9630"/>
            </a:gdLst>
            <a:ahLst/>
            <a:cxnLst>
              <a:cxn ang="0">
                <a:pos x="connsiteX0" y="connsiteY0"/>
              </a:cxn>
              <a:cxn ang="0">
                <a:pos x="connsiteX1" y="connsiteY1"/>
              </a:cxn>
            </a:cxnLst>
            <a:rect l="l" t="t" r="r" b="b"/>
            <a:pathLst>
              <a:path w="3886" h="9630">
                <a:moveTo>
                  <a:pt x="3886" y="0"/>
                </a:moveTo>
                <a:lnTo>
                  <a:pt x="0" y="9631"/>
                </a:lnTo>
              </a:path>
            </a:pathLst>
          </a:custGeom>
          <a:ln w="10470" cap="flat">
            <a:solidFill>
              <a:srgbClr val="FEFEFE"/>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5" name="Freeform: Shape 174">
            <a:extLst>
              <a:ext uri="{FF2B5EF4-FFF2-40B4-BE49-F238E27FC236}">
                <a16:creationId xmlns:a16="http://schemas.microsoft.com/office/drawing/2014/main" id="{6DF43B02-CC06-E6F0-AB6A-AFEEFD9F1527}"/>
              </a:ext>
            </a:extLst>
          </p:cNvPr>
          <p:cNvSpPr/>
          <p:nvPr/>
        </p:nvSpPr>
        <p:spPr>
          <a:xfrm>
            <a:off x="10392020" y="3087093"/>
            <a:ext cx="3886" cy="9629"/>
          </a:xfrm>
          <a:custGeom>
            <a:avLst/>
            <a:gdLst>
              <a:gd name="connsiteX0" fmla="*/ 3886 w 3886"/>
              <a:gd name="connsiteY0" fmla="*/ 0 h 9630"/>
              <a:gd name="connsiteX1" fmla="*/ 0 w 3886"/>
              <a:gd name="connsiteY1" fmla="*/ 9630 h 9630"/>
            </a:gdLst>
            <a:ahLst/>
            <a:cxnLst>
              <a:cxn ang="0">
                <a:pos x="connsiteX0" y="connsiteY0"/>
              </a:cxn>
              <a:cxn ang="0">
                <a:pos x="connsiteX1" y="connsiteY1"/>
              </a:cxn>
            </a:cxnLst>
            <a:rect l="l" t="t" r="r" b="b"/>
            <a:pathLst>
              <a:path w="3886" h="9630">
                <a:moveTo>
                  <a:pt x="3886" y="0"/>
                </a:moveTo>
                <a:lnTo>
                  <a:pt x="0" y="9630"/>
                </a:lnTo>
              </a:path>
            </a:pathLst>
          </a:custGeom>
          <a:ln w="10470" cap="flat">
            <a:solidFill>
              <a:srgbClr val="FEFEFE"/>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6" name="Freeform: Shape 175">
            <a:extLst>
              <a:ext uri="{FF2B5EF4-FFF2-40B4-BE49-F238E27FC236}">
                <a16:creationId xmlns:a16="http://schemas.microsoft.com/office/drawing/2014/main" id="{ABE83C5E-AF73-0DE5-EE9C-F77C3EF5479B}"/>
              </a:ext>
            </a:extLst>
          </p:cNvPr>
          <p:cNvSpPr/>
          <p:nvPr/>
        </p:nvSpPr>
        <p:spPr>
          <a:xfrm>
            <a:off x="9790406" y="2791946"/>
            <a:ext cx="4899" cy="22300"/>
          </a:xfrm>
          <a:custGeom>
            <a:avLst/>
            <a:gdLst>
              <a:gd name="connsiteX0" fmla="*/ 0 w 4899"/>
              <a:gd name="connsiteY0" fmla="*/ 22302 h 22302"/>
              <a:gd name="connsiteX1" fmla="*/ 4900 w 4899"/>
              <a:gd name="connsiteY1" fmla="*/ 0 h 22302"/>
              <a:gd name="connsiteX2" fmla="*/ 0 w 4899"/>
              <a:gd name="connsiteY2" fmla="*/ 22302 h 22302"/>
            </a:gdLst>
            <a:ahLst/>
            <a:cxnLst>
              <a:cxn ang="0">
                <a:pos x="connsiteX0" y="connsiteY0"/>
              </a:cxn>
              <a:cxn ang="0">
                <a:pos x="connsiteX1" y="connsiteY1"/>
              </a:cxn>
              <a:cxn ang="0">
                <a:pos x="connsiteX2" y="connsiteY2"/>
              </a:cxn>
            </a:cxnLst>
            <a:rect l="l" t="t" r="r" b="b"/>
            <a:pathLst>
              <a:path w="4899" h="22302">
                <a:moveTo>
                  <a:pt x="0" y="22302"/>
                </a:moveTo>
                <a:lnTo>
                  <a:pt x="4900" y="0"/>
                </a:lnTo>
                <a:lnTo>
                  <a:pt x="0" y="22302"/>
                </a:lnTo>
                <a:close/>
              </a:path>
            </a:pathLst>
          </a:custGeom>
          <a:solidFill>
            <a:srgbClr val="FFFFFF"/>
          </a:solidFill>
          <a:ln w="8443" cap="flat">
            <a:solidFill>
              <a:srgbClr val="FEFEFE"/>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7" name="Freeform: Shape 176">
            <a:extLst>
              <a:ext uri="{FF2B5EF4-FFF2-40B4-BE49-F238E27FC236}">
                <a16:creationId xmlns:a16="http://schemas.microsoft.com/office/drawing/2014/main" id="{E6054315-2A5B-6AF1-984C-A58323E9AA47}"/>
              </a:ext>
            </a:extLst>
          </p:cNvPr>
          <p:cNvSpPr/>
          <p:nvPr/>
        </p:nvSpPr>
        <p:spPr>
          <a:xfrm>
            <a:off x="9798516" y="2747513"/>
            <a:ext cx="4899" cy="24328"/>
          </a:xfrm>
          <a:custGeom>
            <a:avLst/>
            <a:gdLst>
              <a:gd name="connsiteX0" fmla="*/ 0 w 4899"/>
              <a:gd name="connsiteY0" fmla="*/ 24330 h 24329"/>
              <a:gd name="connsiteX1" fmla="*/ 4900 w 4899"/>
              <a:gd name="connsiteY1" fmla="*/ 0 h 24329"/>
              <a:gd name="connsiteX2" fmla="*/ 0 w 4899"/>
              <a:gd name="connsiteY2" fmla="*/ 24330 h 24329"/>
            </a:gdLst>
            <a:ahLst/>
            <a:cxnLst>
              <a:cxn ang="0">
                <a:pos x="connsiteX0" y="connsiteY0"/>
              </a:cxn>
              <a:cxn ang="0">
                <a:pos x="connsiteX1" y="connsiteY1"/>
              </a:cxn>
              <a:cxn ang="0">
                <a:pos x="connsiteX2" y="connsiteY2"/>
              </a:cxn>
            </a:cxnLst>
            <a:rect l="l" t="t" r="r" b="b"/>
            <a:pathLst>
              <a:path w="4899" h="24329">
                <a:moveTo>
                  <a:pt x="0" y="24330"/>
                </a:moveTo>
                <a:lnTo>
                  <a:pt x="4900" y="0"/>
                </a:lnTo>
                <a:lnTo>
                  <a:pt x="0" y="24330"/>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8" name="Freeform: Shape 177">
            <a:extLst>
              <a:ext uri="{FF2B5EF4-FFF2-40B4-BE49-F238E27FC236}">
                <a16:creationId xmlns:a16="http://schemas.microsoft.com/office/drawing/2014/main" id="{BB139B74-A53D-0FD3-0CF8-60C54AA3540D}"/>
              </a:ext>
            </a:extLst>
          </p:cNvPr>
          <p:cNvSpPr/>
          <p:nvPr/>
        </p:nvSpPr>
        <p:spPr>
          <a:xfrm>
            <a:off x="9829095" y="2734334"/>
            <a:ext cx="15036" cy="4730"/>
          </a:xfrm>
          <a:custGeom>
            <a:avLst/>
            <a:gdLst>
              <a:gd name="connsiteX0" fmla="*/ 0 w 15037"/>
              <a:gd name="connsiteY0" fmla="*/ 4731 h 4730"/>
              <a:gd name="connsiteX1" fmla="*/ 15037 w 15037"/>
              <a:gd name="connsiteY1" fmla="*/ 0 h 4730"/>
              <a:gd name="connsiteX2" fmla="*/ 0 w 15037"/>
              <a:gd name="connsiteY2" fmla="*/ 4731 h 4730"/>
            </a:gdLst>
            <a:ahLst/>
            <a:cxnLst>
              <a:cxn ang="0">
                <a:pos x="connsiteX0" y="connsiteY0"/>
              </a:cxn>
              <a:cxn ang="0">
                <a:pos x="connsiteX1" y="connsiteY1"/>
              </a:cxn>
              <a:cxn ang="0">
                <a:pos x="connsiteX2" y="connsiteY2"/>
              </a:cxn>
            </a:cxnLst>
            <a:rect l="l" t="t" r="r" b="b"/>
            <a:pathLst>
              <a:path w="15037" h="4730">
                <a:moveTo>
                  <a:pt x="0" y="4731"/>
                </a:moveTo>
                <a:lnTo>
                  <a:pt x="15037" y="0"/>
                </a:lnTo>
                <a:lnTo>
                  <a:pt x="0" y="4731"/>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9" name="Freeform: Shape 178">
            <a:extLst>
              <a:ext uri="{FF2B5EF4-FFF2-40B4-BE49-F238E27FC236}">
                <a16:creationId xmlns:a16="http://schemas.microsoft.com/office/drawing/2014/main" id="{AD15EDFF-49A3-DA74-E8A8-5E1AF6F88150}"/>
              </a:ext>
            </a:extLst>
          </p:cNvPr>
          <p:cNvSpPr/>
          <p:nvPr/>
        </p:nvSpPr>
        <p:spPr>
          <a:xfrm>
            <a:off x="9862884" y="2730449"/>
            <a:ext cx="6926" cy="15205"/>
          </a:xfrm>
          <a:custGeom>
            <a:avLst/>
            <a:gdLst>
              <a:gd name="connsiteX0" fmla="*/ 0 w 6927"/>
              <a:gd name="connsiteY0" fmla="*/ 0 h 15206"/>
              <a:gd name="connsiteX1" fmla="*/ 6927 w 6927"/>
              <a:gd name="connsiteY1" fmla="*/ 15206 h 15206"/>
              <a:gd name="connsiteX2" fmla="*/ 0 w 6927"/>
              <a:gd name="connsiteY2" fmla="*/ 0 h 15206"/>
            </a:gdLst>
            <a:ahLst/>
            <a:cxnLst>
              <a:cxn ang="0">
                <a:pos x="connsiteX0" y="connsiteY0"/>
              </a:cxn>
              <a:cxn ang="0">
                <a:pos x="connsiteX1" y="connsiteY1"/>
              </a:cxn>
              <a:cxn ang="0">
                <a:pos x="connsiteX2" y="connsiteY2"/>
              </a:cxn>
            </a:cxnLst>
            <a:rect l="l" t="t" r="r" b="b"/>
            <a:pathLst>
              <a:path w="6927" h="15206">
                <a:moveTo>
                  <a:pt x="0" y="0"/>
                </a:moveTo>
                <a:lnTo>
                  <a:pt x="6927" y="15206"/>
                </a:lnTo>
                <a:lnTo>
                  <a:pt x="0" y="0"/>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0" name="Freeform: Shape 179">
            <a:extLst>
              <a:ext uri="{FF2B5EF4-FFF2-40B4-BE49-F238E27FC236}">
                <a16:creationId xmlns:a16="http://schemas.microsoft.com/office/drawing/2014/main" id="{3C2DAB46-6678-7A10-3318-E695312464B6}"/>
              </a:ext>
            </a:extLst>
          </p:cNvPr>
          <p:cNvSpPr/>
          <p:nvPr/>
        </p:nvSpPr>
        <p:spPr>
          <a:xfrm>
            <a:off x="9880623" y="2761873"/>
            <a:ext cx="10812" cy="18077"/>
          </a:xfrm>
          <a:custGeom>
            <a:avLst/>
            <a:gdLst>
              <a:gd name="connsiteX0" fmla="*/ 0 w 10813"/>
              <a:gd name="connsiteY0" fmla="*/ 0 h 18078"/>
              <a:gd name="connsiteX1" fmla="*/ 10813 w 10813"/>
              <a:gd name="connsiteY1" fmla="*/ 18078 h 18078"/>
              <a:gd name="connsiteX2" fmla="*/ 0 w 10813"/>
              <a:gd name="connsiteY2" fmla="*/ 0 h 18078"/>
            </a:gdLst>
            <a:ahLst/>
            <a:cxnLst>
              <a:cxn ang="0">
                <a:pos x="connsiteX0" y="connsiteY0"/>
              </a:cxn>
              <a:cxn ang="0">
                <a:pos x="connsiteX1" y="connsiteY1"/>
              </a:cxn>
              <a:cxn ang="0">
                <a:pos x="connsiteX2" y="connsiteY2"/>
              </a:cxn>
            </a:cxnLst>
            <a:rect l="l" t="t" r="r" b="b"/>
            <a:pathLst>
              <a:path w="10813" h="18078">
                <a:moveTo>
                  <a:pt x="0" y="0"/>
                </a:moveTo>
                <a:lnTo>
                  <a:pt x="10813" y="18078"/>
                </a:lnTo>
                <a:lnTo>
                  <a:pt x="0" y="0"/>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1" name="Freeform: Shape 180">
            <a:extLst>
              <a:ext uri="{FF2B5EF4-FFF2-40B4-BE49-F238E27FC236}">
                <a16:creationId xmlns:a16="http://schemas.microsoft.com/office/drawing/2014/main" id="{2CE39660-A210-7352-78B2-1C5663B7C964}"/>
              </a:ext>
            </a:extLst>
          </p:cNvPr>
          <p:cNvSpPr/>
          <p:nvPr/>
        </p:nvSpPr>
        <p:spPr>
          <a:xfrm>
            <a:off x="9923535" y="2784681"/>
            <a:ext cx="18246" cy="2872"/>
          </a:xfrm>
          <a:custGeom>
            <a:avLst/>
            <a:gdLst>
              <a:gd name="connsiteX0" fmla="*/ 0 w 18247"/>
              <a:gd name="connsiteY0" fmla="*/ 2872 h 2872"/>
              <a:gd name="connsiteX1" fmla="*/ 18247 w 18247"/>
              <a:gd name="connsiteY1" fmla="*/ 0 h 2872"/>
              <a:gd name="connsiteX2" fmla="*/ 0 w 18247"/>
              <a:gd name="connsiteY2" fmla="*/ 2872 h 2872"/>
            </a:gdLst>
            <a:ahLst/>
            <a:cxnLst>
              <a:cxn ang="0">
                <a:pos x="connsiteX0" y="connsiteY0"/>
              </a:cxn>
              <a:cxn ang="0">
                <a:pos x="connsiteX1" y="connsiteY1"/>
              </a:cxn>
              <a:cxn ang="0">
                <a:pos x="connsiteX2" y="connsiteY2"/>
              </a:cxn>
            </a:cxnLst>
            <a:rect l="l" t="t" r="r" b="b"/>
            <a:pathLst>
              <a:path w="18247" h="2872">
                <a:moveTo>
                  <a:pt x="0" y="2872"/>
                </a:moveTo>
                <a:lnTo>
                  <a:pt x="18247" y="0"/>
                </a:lnTo>
                <a:lnTo>
                  <a:pt x="0" y="2872"/>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2" name="Freeform: Shape 181">
            <a:extLst>
              <a:ext uri="{FF2B5EF4-FFF2-40B4-BE49-F238E27FC236}">
                <a16:creationId xmlns:a16="http://schemas.microsoft.com/office/drawing/2014/main" id="{87E6112E-54AC-95F1-455C-B4A2180D68C8}"/>
              </a:ext>
            </a:extLst>
          </p:cNvPr>
          <p:cNvSpPr/>
          <p:nvPr/>
        </p:nvSpPr>
        <p:spPr>
          <a:xfrm>
            <a:off x="10048217" y="2770997"/>
            <a:ext cx="19598" cy="1351"/>
          </a:xfrm>
          <a:custGeom>
            <a:avLst/>
            <a:gdLst>
              <a:gd name="connsiteX0" fmla="*/ 0 w 19599"/>
              <a:gd name="connsiteY0" fmla="*/ 1352 h 1351"/>
              <a:gd name="connsiteX1" fmla="*/ 19599 w 19599"/>
              <a:gd name="connsiteY1" fmla="*/ 0 h 1351"/>
              <a:gd name="connsiteX2" fmla="*/ 0 w 19599"/>
              <a:gd name="connsiteY2" fmla="*/ 1352 h 1351"/>
            </a:gdLst>
            <a:ahLst/>
            <a:cxnLst>
              <a:cxn ang="0">
                <a:pos x="connsiteX0" y="connsiteY0"/>
              </a:cxn>
              <a:cxn ang="0">
                <a:pos x="connsiteX1" y="connsiteY1"/>
              </a:cxn>
              <a:cxn ang="0">
                <a:pos x="connsiteX2" y="connsiteY2"/>
              </a:cxn>
            </a:cxnLst>
            <a:rect l="l" t="t" r="r" b="b"/>
            <a:pathLst>
              <a:path w="19599" h="1351">
                <a:moveTo>
                  <a:pt x="0" y="1352"/>
                </a:moveTo>
                <a:lnTo>
                  <a:pt x="19599" y="0"/>
                </a:lnTo>
                <a:lnTo>
                  <a:pt x="0" y="1352"/>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3" name="Freeform: Shape 182">
            <a:extLst>
              <a:ext uri="{FF2B5EF4-FFF2-40B4-BE49-F238E27FC236}">
                <a16:creationId xmlns:a16="http://schemas.microsoft.com/office/drawing/2014/main" id="{514FB335-FFE7-859A-C103-E2CC84DB6785}"/>
              </a:ext>
            </a:extLst>
          </p:cNvPr>
          <p:cNvSpPr/>
          <p:nvPr/>
        </p:nvSpPr>
        <p:spPr>
          <a:xfrm>
            <a:off x="10078289" y="2740586"/>
            <a:ext cx="15036" cy="8954"/>
          </a:xfrm>
          <a:custGeom>
            <a:avLst/>
            <a:gdLst>
              <a:gd name="connsiteX0" fmla="*/ 0 w 15037"/>
              <a:gd name="connsiteY0" fmla="*/ 8955 h 8954"/>
              <a:gd name="connsiteX1" fmla="*/ 15037 w 15037"/>
              <a:gd name="connsiteY1" fmla="*/ 0 h 8954"/>
              <a:gd name="connsiteX2" fmla="*/ 0 w 15037"/>
              <a:gd name="connsiteY2" fmla="*/ 8955 h 8954"/>
            </a:gdLst>
            <a:ahLst/>
            <a:cxnLst>
              <a:cxn ang="0">
                <a:pos x="connsiteX0" y="connsiteY0"/>
              </a:cxn>
              <a:cxn ang="0">
                <a:pos x="connsiteX1" y="connsiteY1"/>
              </a:cxn>
              <a:cxn ang="0">
                <a:pos x="connsiteX2" y="connsiteY2"/>
              </a:cxn>
            </a:cxnLst>
            <a:rect l="l" t="t" r="r" b="b"/>
            <a:pathLst>
              <a:path w="15037" h="8954">
                <a:moveTo>
                  <a:pt x="0" y="8955"/>
                </a:moveTo>
                <a:lnTo>
                  <a:pt x="15037" y="0"/>
                </a:lnTo>
                <a:lnTo>
                  <a:pt x="0" y="8955"/>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4" name="Freeform: Shape 183">
            <a:extLst>
              <a:ext uri="{FF2B5EF4-FFF2-40B4-BE49-F238E27FC236}">
                <a16:creationId xmlns:a16="http://schemas.microsoft.com/office/drawing/2014/main" id="{221DFE8D-6F3C-70A1-9AF2-C15B6CF53457}"/>
              </a:ext>
            </a:extLst>
          </p:cNvPr>
          <p:cNvSpPr/>
          <p:nvPr/>
        </p:nvSpPr>
        <p:spPr>
          <a:xfrm>
            <a:off x="10112755" y="2737713"/>
            <a:ext cx="12839" cy="5744"/>
          </a:xfrm>
          <a:custGeom>
            <a:avLst/>
            <a:gdLst>
              <a:gd name="connsiteX0" fmla="*/ 0 w 12840"/>
              <a:gd name="connsiteY0" fmla="*/ 0 h 5744"/>
              <a:gd name="connsiteX1" fmla="*/ 12841 w 12840"/>
              <a:gd name="connsiteY1" fmla="*/ 5744 h 5744"/>
              <a:gd name="connsiteX2" fmla="*/ 0 w 12840"/>
              <a:gd name="connsiteY2" fmla="*/ 0 h 5744"/>
            </a:gdLst>
            <a:ahLst/>
            <a:cxnLst>
              <a:cxn ang="0">
                <a:pos x="connsiteX0" y="connsiteY0"/>
              </a:cxn>
              <a:cxn ang="0">
                <a:pos x="connsiteX1" y="connsiteY1"/>
              </a:cxn>
              <a:cxn ang="0">
                <a:pos x="connsiteX2" y="connsiteY2"/>
              </a:cxn>
            </a:cxnLst>
            <a:rect l="l" t="t" r="r" b="b"/>
            <a:pathLst>
              <a:path w="12840" h="5744">
                <a:moveTo>
                  <a:pt x="0" y="0"/>
                </a:moveTo>
                <a:lnTo>
                  <a:pt x="12841" y="5744"/>
                </a:lnTo>
                <a:lnTo>
                  <a:pt x="0" y="0"/>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5" name="Freeform: Shape 184">
            <a:extLst>
              <a:ext uri="{FF2B5EF4-FFF2-40B4-BE49-F238E27FC236}">
                <a16:creationId xmlns:a16="http://schemas.microsoft.com/office/drawing/2014/main" id="{846F64EA-FF0F-80DD-2747-B41F236D3A79}"/>
              </a:ext>
            </a:extLst>
          </p:cNvPr>
          <p:cNvSpPr/>
          <p:nvPr/>
        </p:nvSpPr>
        <p:spPr>
          <a:xfrm>
            <a:off x="10146543" y="2753425"/>
            <a:ext cx="11319" cy="5744"/>
          </a:xfrm>
          <a:custGeom>
            <a:avLst/>
            <a:gdLst>
              <a:gd name="connsiteX0" fmla="*/ 0 w 11320"/>
              <a:gd name="connsiteY0" fmla="*/ 0 h 5744"/>
              <a:gd name="connsiteX1" fmla="*/ 11320 w 11320"/>
              <a:gd name="connsiteY1" fmla="*/ 5744 h 5744"/>
              <a:gd name="connsiteX2" fmla="*/ 0 w 11320"/>
              <a:gd name="connsiteY2" fmla="*/ 0 h 5744"/>
            </a:gdLst>
            <a:ahLst/>
            <a:cxnLst>
              <a:cxn ang="0">
                <a:pos x="connsiteX0" y="connsiteY0"/>
              </a:cxn>
              <a:cxn ang="0">
                <a:pos x="connsiteX1" y="connsiteY1"/>
              </a:cxn>
              <a:cxn ang="0">
                <a:pos x="connsiteX2" y="connsiteY2"/>
              </a:cxn>
            </a:cxnLst>
            <a:rect l="l" t="t" r="r" b="b"/>
            <a:pathLst>
              <a:path w="11320" h="5744">
                <a:moveTo>
                  <a:pt x="0" y="0"/>
                </a:moveTo>
                <a:lnTo>
                  <a:pt x="11320" y="5744"/>
                </a:lnTo>
                <a:lnTo>
                  <a:pt x="0" y="0"/>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6" name="Freeform: Shape 185">
            <a:extLst>
              <a:ext uri="{FF2B5EF4-FFF2-40B4-BE49-F238E27FC236}">
                <a16:creationId xmlns:a16="http://schemas.microsoft.com/office/drawing/2014/main" id="{6DC707EA-C5F0-C58B-C645-31D3D34D279E}"/>
              </a:ext>
            </a:extLst>
          </p:cNvPr>
          <p:cNvSpPr/>
          <p:nvPr/>
        </p:nvSpPr>
        <p:spPr>
          <a:xfrm>
            <a:off x="10180502" y="2753426"/>
            <a:ext cx="14022" cy="4223"/>
          </a:xfrm>
          <a:custGeom>
            <a:avLst/>
            <a:gdLst>
              <a:gd name="connsiteX0" fmla="*/ 0 w 14023"/>
              <a:gd name="connsiteY0" fmla="*/ 4224 h 4223"/>
              <a:gd name="connsiteX1" fmla="*/ 14023 w 14023"/>
              <a:gd name="connsiteY1" fmla="*/ 0 h 4223"/>
              <a:gd name="connsiteX2" fmla="*/ 0 w 14023"/>
              <a:gd name="connsiteY2" fmla="*/ 4224 h 4223"/>
            </a:gdLst>
            <a:ahLst/>
            <a:cxnLst>
              <a:cxn ang="0">
                <a:pos x="connsiteX0" y="connsiteY0"/>
              </a:cxn>
              <a:cxn ang="0">
                <a:pos x="connsiteX1" y="connsiteY1"/>
              </a:cxn>
              <a:cxn ang="0">
                <a:pos x="connsiteX2" y="connsiteY2"/>
              </a:cxn>
            </a:cxnLst>
            <a:rect l="l" t="t" r="r" b="b"/>
            <a:pathLst>
              <a:path w="14023" h="4223">
                <a:moveTo>
                  <a:pt x="0" y="4224"/>
                </a:moveTo>
                <a:lnTo>
                  <a:pt x="14023" y="0"/>
                </a:lnTo>
                <a:lnTo>
                  <a:pt x="0" y="4224"/>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7" name="Freeform: Shape 186">
            <a:extLst>
              <a:ext uri="{FF2B5EF4-FFF2-40B4-BE49-F238E27FC236}">
                <a16:creationId xmlns:a16="http://schemas.microsoft.com/office/drawing/2014/main" id="{428BF667-4477-DAEA-9854-433ECEF0A577}"/>
              </a:ext>
            </a:extLst>
          </p:cNvPr>
          <p:cNvSpPr/>
          <p:nvPr/>
        </p:nvSpPr>
        <p:spPr>
          <a:xfrm>
            <a:off x="10207871" y="2724875"/>
            <a:ext cx="11319" cy="12839"/>
          </a:xfrm>
          <a:custGeom>
            <a:avLst/>
            <a:gdLst>
              <a:gd name="connsiteX0" fmla="*/ 0 w 11320"/>
              <a:gd name="connsiteY0" fmla="*/ 12841 h 12840"/>
              <a:gd name="connsiteX1" fmla="*/ 11320 w 11320"/>
              <a:gd name="connsiteY1" fmla="*/ 0 h 12840"/>
              <a:gd name="connsiteX2" fmla="*/ 0 w 11320"/>
              <a:gd name="connsiteY2" fmla="*/ 12841 h 12840"/>
            </a:gdLst>
            <a:ahLst/>
            <a:cxnLst>
              <a:cxn ang="0">
                <a:pos x="connsiteX0" y="connsiteY0"/>
              </a:cxn>
              <a:cxn ang="0">
                <a:pos x="connsiteX1" y="connsiteY1"/>
              </a:cxn>
              <a:cxn ang="0">
                <a:pos x="connsiteX2" y="connsiteY2"/>
              </a:cxn>
            </a:cxnLst>
            <a:rect l="l" t="t" r="r" b="b"/>
            <a:pathLst>
              <a:path w="11320" h="12840">
                <a:moveTo>
                  <a:pt x="0" y="12841"/>
                </a:moveTo>
                <a:lnTo>
                  <a:pt x="11320" y="0"/>
                </a:lnTo>
                <a:lnTo>
                  <a:pt x="0" y="12841"/>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8" name="Freeform: Shape 187">
            <a:extLst>
              <a:ext uri="{FF2B5EF4-FFF2-40B4-BE49-F238E27FC236}">
                <a16:creationId xmlns:a16="http://schemas.microsoft.com/office/drawing/2014/main" id="{336F6391-37A5-3EB1-A7C4-7EFF11E82E13}"/>
              </a:ext>
            </a:extLst>
          </p:cNvPr>
          <p:cNvSpPr/>
          <p:nvPr/>
        </p:nvSpPr>
        <p:spPr>
          <a:xfrm>
            <a:off x="10230340" y="2694971"/>
            <a:ext cx="14529" cy="14191"/>
          </a:xfrm>
          <a:custGeom>
            <a:avLst/>
            <a:gdLst>
              <a:gd name="connsiteX0" fmla="*/ 0 w 14530"/>
              <a:gd name="connsiteY0" fmla="*/ 14192 h 14192"/>
              <a:gd name="connsiteX1" fmla="*/ 14530 w 14530"/>
              <a:gd name="connsiteY1" fmla="*/ 0 h 14192"/>
              <a:gd name="connsiteX2" fmla="*/ 0 w 14530"/>
              <a:gd name="connsiteY2" fmla="*/ 14192 h 14192"/>
            </a:gdLst>
            <a:ahLst/>
            <a:cxnLst>
              <a:cxn ang="0">
                <a:pos x="connsiteX0" y="connsiteY0"/>
              </a:cxn>
              <a:cxn ang="0">
                <a:pos x="connsiteX1" y="connsiteY1"/>
              </a:cxn>
              <a:cxn ang="0">
                <a:pos x="connsiteX2" y="connsiteY2"/>
              </a:cxn>
            </a:cxnLst>
            <a:rect l="l" t="t" r="r" b="b"/>
            <a:pathLst>
              <a:path w="14530" h="14192">
                <a:moveTo>
                  <a:pt x="0" y="14192"/>
                </a:moveTo>
                <a:lnTo>
                  <a:pt x="14530" y="0"/>
                </a:lnTo>
                <a:lnTo>
                  <a:pt x="0" y="14192"/>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9" name="Freeform: Shape 188">
            <a:extLst>
              <a:ext uri="{FF2B5EF4-FFF2-40B4-BE49-F238E27FC236}">
                <a16:creationId xmlns:a16="http://schemas.microsoft.com/office/drawing/2014/main" id="{4A36615C-726C-9D4E-A72D-8EB5EA5A5749}"/>
              </a:ext>
            </a:extLst>
          </p:cNvPr>
          <p:cNvSpPr/>
          <p:nvPr/>
        </p:nvSpPr>
        <p:spPr>
          <a:xfrm>
            <a:off x="10259400" y="2662027"/>
            <a:ext cx="3717" cy="15205"/>
          </a:xfrm>
          <a:custGeom>
            <a:avLst/>
            <a:gdLst>
              <a:gd name="connsiteX0" fmla="*/ 3717 w 3717"/>
              <a:gd name="connsiteY0" fmla="*/ 15206 h 15206"/>
              <a:gd name="connsiteX1" fmla="*/ 0 w 3717"/>
              <a:gd name="connsiteY1" fmla="*/ 0 h 15206"/>
              <a:gd name="connsiteX2" fmla="*/ 3717 w 3717"/>
              <a:gd name="connsiteY2" fmla="*/ 15206 h 15206"/>
            </a:gdLst>
            <a:ahLst/>
            <a:cxnLst>
              <a:cxn ang="0">
                <a:pos x="connsiteX0" y="connsiteY0"/>
              </a:cxn>
              <a:cxn ang="0">
                <a:pos x="connsiteX1" y="connsiteY1"/>
              </a:cxn>
              <a:cxn ang="0">
                <a:pos x="connsiteX2" y="connsiteY2"/>
              </a:cxn>
            </a:cxnLst>
            <a:rect l="l" t="t" r="r" b="b"/>
            <a:pathLst>
              <a:path w="3717" h="15206">
                <a:moveTo>
                  <a:pt x="3717" y="15206"/>
                </a:moveTo>
                <a:lnTo>
                  <a:pt x="0" y="0"/>
                </a:lnTo>
                <a:lnTo>
                  <a:pt x="3717" y="15206"/>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0" name="Freeform: Shape 189">
            <a:extLst>
              <a:ext uri="{FF2B5EF4-FFF2-40B4-BE49-F238E27FC236}">
                <a16:creationId xmlns:a16="http://schemas.microsoft.com/office/drawing/2014/main" id="{2ED7A51E-5F21-FAF5-4C63-266A7148064E}"/>
              </a:ext>
            </a:extLst>
          </p:cNvPr>
          <p:cNvSpPr/>
          <p:nvPr/>
        </p:nvSpPr>
        <p:spPr>
          <a:xfrm>
            <a:off x="10243349" y="2623675"/>
            <a:ext cx="11319" cy="14191"/>
          </a:xfrm>
          <a:custGeom>
            <a:avLst/>
            <a:gdLst>
              <a:gd name="connsiteX0" fmla="*/ 11320 w 11320"/>
              <a:gd name="connsiteY0" fmla="*/ 14192 h 14192"/>
              <a:gd name="connsiteX1" fmla="*/ 0 w 11320"/>
              <a:gd name="connsiteY1" fmla="*/ 0 h 14192"/>
              <a:gd name="connsiteX2" fmla="*/ 11320 w 11320"/>
              <a:gd name="connsiteY2" fmla="*/ 14192 h 14192"/>
            </a:gdLst>
            <a:ahLst/>
            <a:cxnLst>
              <a:cxn ang="0">
                <a:pos x="connsiteX0" y="connsiteY0"/>
              </a:cxn>
              <a:cxn ang="0">
                <a:pos x="connsiteX1" y="connsiteY1"/>
              </a:cxn>
              <a:cxn ang="0">
                <a:pos x="connsiteX2" y="connsiteY2"/>
              </a:cxn>
            </a:cxnLst>
            <a:rect l="l" t="t" r="r" b="b"/>
            <a:pathLst>
              <a:path w="11320" h="14192">
                <a:moveTo>
                  <a:pt x="11320" y="14192"/>
                </a:moveTo>
                <a:lnTo>
                  <a:pt x="0" y="0"/>
                </a:lnTo>
                <a:lnTo>
                  <a:pt x="11320" y="14192"/>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1" name="Freeform: Shape 190">
            <a:extLst>
              <a:ext uri="{FF2B5EF4-FFF2-40B4-BE49-F238E27FC236}">
                <a16:creationId xmlns:a16="http://schemas.microsoft.com/office/drawing/2014/main" id="{4BD742BF-9CF4-689C-5AC2-4749B854084A}"/>
              </a:ext>
            </a:extLst>
          </p:cNvPr>
          <p:cNvSpPr/>
          <p:nvPr/>
        </p:nvSpPr>
        <p:spPr>
          <a:xfrm>
            <a:off x="10246559" y="2607964"/>
            <a:ext cx="12839" cy="1351"/>
          </a:xfrm>
          <a:custGeom>
            <a:avLst/>
            <a:gdLst>
              <a:gd name="connsiteX0" fmla="*/ 0 w 12840"/>
              <a:gd name="connsiteY0" fmla="*/ 1352 h 1351"/>
              <a:gd name="connsiteX1" fmla="*/ 12841 w 12840"/>
              <a:gd name="connsiteY1" fmla="*/ 0 h 1351"/>
              <a:gd name="connsiteX2" fmla="*/ 0 w 12840"/>
              <a:gd name="connsiteY2" fmla="*/ 1352 h 1351"/>
            </a:gdLst>
            <a:ahLst/>
            <a:cxnLst>
              <a:cxn ang="0">
                <a:pos x="connsiteX0" y="connsiteY0"/>
              </a:cxn>
              <a:cxn ang="0">
                <a:pos x="connsiteX1" y="connsiteY1"/>
              </a:cxn>
              <a:cxn ang="0">
                <a:pos x="connsiteX2" y="connsiteY2"/>
              </a:cxn>
            </a:cxnLst>
            <a:rect l="l" t="t" r="r" b="b"/>
            <a:pathLst>
              <a:path w="12840" h="1351">
                <a:moveTo>
                  <a:pt x="0" y="1352"/>
                </a:moveTo>
                <a:lnTo>
                  <a:pt x="12841" y="0"/>
                </a:lnTo>
                <a:lnTo>
                  <a:pt x="0" y="1352"/>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2" name="Freeform: Shape 191">
            <a:extLst>
              <a:ext uri="{FF2B5EF4-FFF2-40B4-BE49-F238E27FC236}">
                <a16:creationId xmlns:a16="http://schemas.microsoft.com/office/drawing/2014/main" id="{CBEA1830-B309-9871-75CD-28B2AB5D2654}"/>
              </a:ext>
            </a:extLst>
          </p:cNvPr>
          <p:cNvSpPr/>
          <p:nvPr/>
        </p:nvSpPr>
        <p:spPr>
          <a:xfrm>
            <a:off x="10275617" y="2585157"/>
            <a:ext cx="14529" cy="16894"/>
          </a:xfrm>
          <a:custGeom>
            <a:avLst/>
            <a:gdLst>
              <a:gd name="connsiteX0" fmla="*/ 0 w 14530"/>
              <a:gd name="connsiteY0" fmla="*/ 0 h 16895"/>
              <a:gd name="connsiteX1" fmla="*/ 14530 w 14530"/>
              <a:gd name="connsiteY1" fmla="*/ 0 h 16895"/>
              <a:gd name="connsiteX2" fmla="*/ 0 w 14530"/>
              <a:gd name="connsiteY2" fmla="*/ 0 h 16895"/>
            </a:gdLst>
            <a:ahLst/>
            <a:cxnLst>
              <a:cxn ang="0">
                <a:pos x="connsiteX0" y="connsiteY0"/>
              </a:cxn>
              <a:cxn ang="0">
                <a:pos x="connsiteX1" y="connsiteY1"/>
              </a:cxn>
              <a:cxn ang="0">
                <a:pos x="connsiteX2" y="connsiteY2"/>
              </a:cxn>
            </a:cxnLst>
            <a:rect l="l" t="t" r="r" b="b"/>
            <a:pathLst>
              <a:path w="14530" h="16895">
                <a:moveTo>
                  <a:pt x="0" y="0"/>
                </a:moveTo>
                <a:lnTo>
                  <a:pt x="14530" y="0"/>
                </a:lnTo>
                <a:lnTo>
                  <a:pt x="0" y="0"/>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3" name="Freeform: Shape 192">
            <a:extLst>
              <a:ext uri="{FF2B5EF4-FFF2-40B4-BE49-F238E27FC236}">
                <a16:creationId xmlns:a16="http://schemas.microsoft.com/office/drawing/2014/main" id="{D7552C57-2D2D-7EA1-23DC-272BC74BF217}"/>
              </a:ext>
            </a:extLst>
          </p:cNvPr>
          <p:cNvSpPr/>
          <p:nvPr/>
        </p:nvSpPr>
        <p:spPr>
          <a:xfrm>
            <a:off x="10304507" y="2593603"/>
            <a:ext cx="1689" cy="17063"/>
          </a:xfrm>
          <a:custGeom>
            <a:avLst/>
            <a:gdLst>
              <a:gd name="connsiteX0" fmla="*/ 1689 w 1689"/>
              <a:gd name="connsiteY0" fmla="*/ 0 h 17064"/>
              <a:gd name="connsiteX1" fmla="*/ 0 w 1689"/>
              <a:gd name="connsiteY1" fmla="*/ 17065 h 17064"/>
              <a:gd name="connsiteX2" fmla="*/ 1689 w 1689"/>
              <a:gd name="connsiteY2" fmla="*/ 0 h 17064"/>
            </a:gdLst>
            <a:ahLst/>
            <a:cxnLst>
              <a:cxn ang="0">
                <a:pos x="connsiteX0" y="connsiteY0"/>
              </a:cxn>
              <a:cxn ang="0">
                <a:pos x="connsiteX1" y="connsiteY1"/>
              </a:cxn>
              <a:cxn ang="0">
                <a:pos x="connsiteX2" y="connsiteY2"/>
              </a:cxn>
            </a:cxnLst>
            <a:rect l="l" t="t" r="r" b="b"/>
            <a:pathLst>
              <a:path w="1689" h="17064">
                <a:moveTo>
                  <a:pt x="1689" y="0"/>
                </a:moveTo>
                <a:lnTo>
                  <a:pt x="0" y="17065"/>
                </a:lnTo>
                <a:lnTo>
                  <a:pt x="1689" y="0"/>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4" name="Freeform: Shape 193">
            <a:extLst>
              <a:ext uri="{FF2B5EF4-FFF2-40B4-BE49-F238E27FC236}">
                <a16:creationId xmlns:a16="http://schemas.microsoft.com/office/drawing/2014/main" id="{81402CEC-C677-0104-BEAB-14A9EB86754B}"/>
              </a:ext>
            </a:extLst>
          </p:cNvPr>
          <p:cNvSpPr/>
          <p:nvPr/>
        </p:nvSpPr>
        <p:spPr>
          <a:xfrm>
            <a:off x="10304507" y="2639387"/>
            <a:ext cx="3210" cy="19935"/>
          </a:xfrm>
          <a:custGeom>
            <a:avLst/>
            <a:gdLst>
              <a:gd name="connsiteX0" fmla="*/ 0 w 3210"/>
              <a:gd name="connsiteY0" fmla="*/ 0 h 19936"/>
              <a:gd name="connsiteX1" fmla="*/ 3210 w 3210"/>
              <a:gd name="connsiteY1" fmla="*/ 19937 h 19936"/>
              <a:gd name="connsiteX2" fmla="*/ 0 w 3210"/>
              <a:gd name="connsiteY2" fmla="*/ 0 h 19936"/>
            </a:gdLst>
            <a:ahLst/>
            <a:cxnLst>
              <a:cxn ang="0">
                <a:pos x="connsiteX0" y="connsiteY0"/>
              </a:cxn>
              <a:cxn ang="0">
                <a:pos x="connsiteX1" y="connsiteY1"/>
              </a:cxn>
              <a:cxn ang="0">
                <a:pos x="connsiteX2" y="connsiteY2"/>
              </a:cxn>
            </a:cxnLst>
            <a:rect l="l" t="t" r="r" b="b"/>
            <a:pathLst>
              <a:path w="3210" h="19936">
                <a:moveTo>
                  <a:pt x="0" y="0"/>
                </a:moveTo>
                <a:lnTo>
                  <a:pt x="3210" y="19937"/>
                </a:lnTo>
                <a:lnTo>
                  <a:pt x="0" y="0"/>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5" name="Freeform: Shape 194">
            <a:extLst>
              <a:ext uri="{FF2B5EF4-FFF2-40B4-BE49-F238E27FC236}">
                <a16:creationId xmlns:a16="http://schemas.microsoft.com/office/drawing/2014/main" id="{76046C3E-B138-DFC4-C8B8-411BDA62FBCF}"/>
              </a:ext>
            </a:extLst>
          </p:cNvPr>
          <p:cNvSpPr/>
          <p:nvPr/>
        </p:nvSpPr>
        <p:spPr>
          <a:xfrm>
            <a:off x="10323429" y="2688720"/>
            <a:ext cx="10136" cy="11826"/>
          </a:xfrm>
          <a:custGeom>
            <a:avLst/>
            <a:gdLst>
              <a:gd name="connsiteX0" fmla="*/ 0 w 10137"/>
              <a:gd name="connsiteY0" fmla="*/ 0 h 11827"/>
              <a:gd name="connsiteX1" fmla="*/ 10138 w 10137"/>
              <a:gd name="connsiteY1" fmla="*/ 11827 h 11827"/>
              <a:gd name="connsiteX2" fmla="*/ 0 w 10137"/>
              <a:gd name="connsiteY2" fmla="*/ 0 h 11827"/>
            </a:gdLst>
            <a:ahLst/>
            <a:cxnLst>
              <a:cxn ang="0">
                <a:pos x="connsiteX0" y="connsiteY0"/>
              </a:cxn>
              <a:cxn ang="0">
                <a:pos x="connsiteX1" y="connsiteY1"/>
              </a:cxn>
              <a:cxn ang="0">
                <a:pos x="connsiteX2" y="connsiteY2"/>
              </a:cxn>
            </a:cxnLst>
            <a:rect l="l" t="t" r="r" b="b"/>
            <a:pathLst>
              <a:path w="10137" h="11827">
                <a:moveTo>
                  <a:pt x="0" y="0"/>
                </a:moveTo>
                <a:lnTo>
                  <a:pt x="10138" y="11827"/>
                </a:lnTo>
                <a:lnTo>
                  <a:pt x="0" y="0"/>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6" name="Freeform: Shape 195">
            <a:extLst>
              <a:ext uri="{FF2B5EF4-FFF2-40B4-BE49-F238E27FC236}">
                <a16:creationId xmlns:a16="http://schemas.microsoft.com/office/drawing/2014/main" id="{99570189-3773-BFFA-C367-371D2C593D28}"/>
              </a:ext>
            </a:extLst>
          </p:cNvPr>
          <p:cNvSpPr/>
          <p:nvPr/>
        </p:nvSpPr>
        <p:spPr>
          <a:xfrm>
            <a:off x="10344885" y="2716259"/>
            <a:ext cx="9629" cy="9967"/>
          </a:xfrm>
          <a:custGeom>
            <a:avLst/>
            <a:gdLst>
              <a:gd name="connsiteX0" fmla="*/ 0 w 9630"/>
              <a:gd name="connsiteY0" fmla="*/ 0 h 9968"/>
              <a:gd name="connsiteX1" fmla="*/ 9630 w 9630"/>
              <a:gd name="connsiteY1" fmla="*/ 9968 h 9968"/>
              <a:gd name="connsiteX2" fmla="*/ 0 w 9630"/>
              <a:gd name="connsiteY2" fmla="*/ 0 h 9968"/>
            </a:gdLst>
            <a:ahLst/>
            <a:cxnLst>
              <a:cxn ang="0">
                <a:pos x="connsiteX0" y="connsiteY0"/>
              </a:cxn>
              <a:cxn ang="0">
                <a:pos x="connsiteX1" y="connsiteY1"/>
              </a:cxn>
              <a:cxn ang="0">
                <a:pos x="connsiteX2" y="connsiteY2"/>
              </a:cxn>
            </a:cxnLst>
            <a:rect l="l" t="t" r="r" b="b"/>
            <a:pathLst>
              <a:path w="9630" h="9968">
                <a:moveTo>
                  <a:pt x="0" y="0"/>
                </a:moveTo>
                <a:lnTo>
                  <a:pt x="9630" y="9968"/>
                </a:lnTo>
                <a:lnTo>
                  <a:pt x="0" y="0"/>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7" name="Freeform: Shape 196">
            <a:extLst>
              <a:ext uri="{FF2B5EF4-FFF2-40B4-BE49-F238E27FC236}">
                <a16:creationId xmlns:a16="http://schemas.microsoft.com/office/drawing/2014/main" id="{CB5E945C-96A8-2471-9FD0-DB5D52DC5171}"/>
              </a:ext>
            </a:extLst>
          </p:cNvPr>
          <p:cNvSpPr/>
          <p:nvPr/>
        </p:nvSpPr>
        <p:spPr>
          <a:xfrm>
            <a:off x="10359414" y="2744810"/>
            <a:ext cx="16894" cy="12839"/>
          </a:xfrm>
          <a:custGeom>
            <a:avLst/>
            <a:gdLst>
              <a:gd name="connsiteX0" fmla="*/ 0 w 16895"/>
              <a:gd name="connsiteY0" fmla="*/ 0 h 12840"/>
              <a:gd name="connsiteX1" fmla="*/ 0 w 16895"/>
              <a:gd name="connsiteY1" fmla="*/ 12841 h 12840"/>
              <a:gd name="connsiteX2" fmla="*/ 0 w 16895"/>
              <a:gd name="connsiteY2" fmla="*/ 0 h 12840"/>
            </a:gdLst>
            <a:ahLst/>
            <a:cxnLst>
              <a:cxn ang="0">
                <a:pos x="connsiteX0" y="connsiteY0"/>
              </a:cxn>
              <a:cxn ang="0">
                <a:pos x="connsiteX1" y="connsiteY1"/>
              </a:cxn>
              <a:cxn ang="0">
                <a:pos x="connsiteX2" y="connsiteY2"/>
              </a:cxn>
            </a:cxnLst>
            <a:rect l="l" t="t" r="r" b="b"/>
            <a:pathLst>
              <a:path w="16895" h="12840">
                <a:moveTo>
                  <a:pt x="0" y="0"/>
                </a:moveTo>
                <a:lnTo>
                  <a:pt x="0" y="12841"/>
                </a:lnTo>
                <a:lnTo>
                  <a:pt x="0" y="0"/>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8" name="Freeform: Shape 197">
            <a:extLst>
              <a:ext uri="{FF2B5EF4-FFF2-40B4-BE49-F238E27FC236}">
                <a16:creationId xmlns:a16="http://schemas.microsoft.com/office/drawing/2014/main" id="{26C5DD6C-1A51-312E-4ACE-FEC64430F725}"/>
              </a:ext>
            </a:extLst>
          </p:cNvPr>
          <p:cNvSpPr/>
          <p:nvPr/>
        </p:nvSpPr>
        <p:spPr>
          <a:xfrm>
            <a:off x="10360935" y="2777585"/>
            <a:ext cx="1013" cy="13684"/>
          </a:xfrm>
          <a:custGeom>
            <a:avLst/>
            <a:gdLst>
              <a:gd name="connsiteX0" fmla="*/ 0 w 1013"/>
              <a:gd name="connsiteY0" fmla="*/ 0 h 13685"/>
              <a:gd name="connsiteX1" fmla="*/ 1014 w 1013"/>
              <a:gd name="connsiteY1" fmla="*/ 13686 h 13685"/>
              <a:gd name="connsiteX2" fmla="*/ 0 w 1013"/>
              <a:gd name="connsiteY2" fmla="*/ 0 h 13685"/>
            </a:gdLst>
            <a:ahLst/>
            <a:cxnLst>
              <a:cxn ang="0">
                <a:pos x="connsiteX0" y="connsiteY0"/>
              </a:cxn>
              <a:cxn ang="0">
                <a:pos x="connsiteX1" y="connsiteY1"/>
              </a:cxn>
              <a:cxn ang="0">
                <a:pos x="connsiteX2" y="connsiteY2"/>
              </a:cxn>
            </a:cxnLst>
            <a:rect l="l" t="t" r="r" b="b"/>
            <a:pathLst>
              <a:path w="1013" h="13685">
                <a:moveTo>
                  <a:pt x="0" y="0"/>
                </a:moveTo>
                <a:lnTo>
                  <a:pt x="1014" y="13686"/>
                </a:lnTo>
                <a:lnTo>
                  <a:pt x="0" y="0"/>
                </a:lnTo>
                <a:close/>
              </a:path>
            </a:pathLst>
          </a:custGeom>
          <a:solidFill>
            <a:srgbClr val="FFFFFF"/>
          </a:solidFill>
          <a:ln w="8443" cap="flat">
            <a:solidFill>
              <a:srgbClr val="FFFFFF"/>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9" name="Freeform: Shape 198">
            <a:extLst>
              <a:ext uri="{FF2B5EF4-FFF2-40B4-BE49-F238E27FC236}">
                <a16:creationId xmlns:a16="http://schemas.microsoft.com/office/drawing/2014/main" id="{0C57F242-ABD3-1F39-5A22-EAEFC77CA6FB}"/>
              </a:ext>
            </a:extLst>
          </p:cNvPr>
          <p:cNvSpPr/>
          <p:nvPr/>
        </p:nvSpPr>
        <p:spPr>
          <a:xfrm>
            <a:off x="10036222" y="2779782"/>
            <a:ext cx="8784" cy="7772"/>
          </a:xfrm>
          <a:custGeom>
            <a:avLst/>
            <a:gdLst>
              <a:gd name="connsiteX0" fmla="*/ 8786 w 8785"/>
              <a:gd name="connsiteY0" fmla="*/ 3886 h 7772"/>
              <a:gd name="connsiteX1" fmla="*/ 4393 w 8785"/>
              <a:gd name="connsiteY1" fmla="*/ 7772 h 7772"/>
              <a:gd name="connsiteX2" fmla="*/ 0 w 8785"/>
              <a:gd name="connsiteY2" fmla="*/ 3886 h 7772"/>
              <a:gd name="connsiteX3" fmla="*/ 4393 w 8785"/>
              <a:gd name="connsiteY3" fmla="*/ 0 h 7772"/>
              <a:gd name="connsiteX4" fmla="*/ 8786 w 8785"/>
              <a:gd name="connsiteY4" fmla="*/ 3886 h 7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5" h="7772">
                <a:moveTo>
                  <a:pt x="8786" y="3886"/>
                </a:moveTo>
                <a:cubicBezTo>
                  <a:pt x="8786" y="6082"/>
                  <a:pt x="6758" y="7772"/>
                  <a:pt x="4393" y="7772"/>
                </a:cubicBezTo>
                <a:cubicBezTo>
                  <a:pt x="2028" y="7772"/>
                  <a:pt x="0" y="5913"/>
                  <a:pt x="0" y="3886"/>
                </a:cubicBezTo>
                <a:cubicBezTo>
                  <a:pt x="0" y="1859"/>
                  <a:pt x="2028" y="0"/>
                  <a:pt x="4393" y="0"/>
                </a:cubicBezTo>
                <a:cubicBezTo>
                  <a:pt x="6758" y="0"/>
                  <a:pt x="8786" y="1859"/>
                  <a:pt x="8786" y="3886"/>
                </a:cubicBezTo>
                <a:close/>
              </a:path>
            </a:pathLst>
          </a:custGeom>
          <a:solidFill>
            <a:srgbClr val="FFFFFF"/>
          </a:solidFill>
          <a:ln w="3715"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0" name="Freeform: Shape 199">
            <a:extLst>
              <a:ext uri="{FF2B5EF4-FFF2-40B4-BE49-F238E27FC236}">
                <a16:creationId xmlns:a16="http://schemas.microsoft.com/office/drawing/2014/main" id="{05F178DA-554E-D7A3-DB3C-09B10D6FE4C4}"/>
              </a:ext>
            </a:extLst>
          </p:cNvPr>
          <p:cNvSpPr/>
          <p:nvPr/>
        </p:nvSpPr>
        <p:spPr>
          <a:xfrm>
            <a:off x="10018483" y="2788736"/>
            <a:ext cx="8784" cy="7772"/>
          </a:xfrm>
          <a:custGeom>
            <a:avLst/>
            <a:gdLst>
              <a:gd name="connsiteX0" fmla="*/ 8786 w 8785"/>
              <a:gd name="connsiteY0" fmla="*/ 3886 h 7772"/>
              <a:gd name="connsiteX1" fmla="*/ 4393 w 8785"/>
              <a:gd name="connsiteY1" fmla="*/ 7772 h 7772"/>
              <a:gd name="connsiteX2" fmla="*/ 0 w 8785"/>
              <a:gd name="connsiteY2" fmla="*/ 3886 h 7772"/>
              <a:gd name="connsiteX3" fmla="*/ 4393 w 8785"/>
              <a:gd name="connsiteY3" fmla="*/ 0 h 7772"/>
              <a:gd name="connsiteX4" fmla="*/ 8786 w 8785"/>
              <a:gd name="connsiteY4" fmla="*/ 3886 h 7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5" h="7772">
                <a:moveTo>
                  <a:pt x="8786" y="3886"/>
                </a:moveTo>
                <a:cubicBezTo>
                  <a:pt x="8786" y="6082"/>
                  <a:pt x="6758" y="7772"/>
                  <a:pt x="4393" y="7772"/>
                </a:cubicBezTo>
                <a:cubicBezTo>
                  <a:pt x="2028" y="7772"/>
                  <a:pt x="0" y="5914"/>
                  <a:pt x="0" y="3886"/>
                </a:cubicBezTo>
                <a:cubicBezTo>
                  <a:pt x="0" y="1859"/>
                  <a:pt x="2028" y="0"/>
                  <a:pt x="4393" y="0"/>
                </a:cubicBezTo>
                <a:cubicBezTo>
                  <a:pt x="6758" y="0"/>
                  <a:pt x="8786" y="1859"/>
                  <a:pt x="8786" y="3886"/>
                </a:cubicBezTo>
                <a:close/>
              </a:path>
            </a:pathLst>
          </a:custGeom>
          <a:solidFill>
            <a:srgbClr val="FFFFFF"/>
          </a:solidFill>
          <a:ln w="3715"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1" name="Freeform: Shape 200">
            <a:extLst>
              <a:ext uri="{FF2B5EF4-FFF2-40B4-BE49-F238E27FC236}">
                <a16:creationId xmlns:a16="http://schemas.microsoft.com/office/drawing/2014/main" id="{DA39C9B5-8D0E-DE5E-B928-F31A8F0430CB}"/>
              </a:ext>
            </a:extLst>
          </p:cNvPr>
          <p:cNvSpPr/>
          <p:nvPr/>
        </p:nvSpPr>
        <p:spPr>
          <a:xfrm>
            <a:off x="9996858" y="2789073"/>
            <a:ext cx="8784" cy="7772"/>
          </a:xfrm>
          <a:custGeom>
            <a:avLst/>
            <a:gdLst>
              <a:gd name="connsiteX0" fmla="*/ 8786 w 8785"/>
              <a:gd name="connsiteY0" fmla="*/ 3886 h 7772"/>
              <a:gd name="connsiteX1" fmla="*/ 4393 w 8785"/>
              <a:gd name="connsiteY1" fmla="*/ 7772 h 7772"/>
              <a:gd name="connsiteX2" fmla="*/ 0 w 8785"/>
              <a:gd name="connsiteY2" fmla="*/ 3886 h 7772"/>
              <a:gd name="connsiteX3" fmla="*/ 4393 w 8785"/>
              <a:gd name="connsiteY3" fmla="*/ 0 h 7772"/>
              <a:gd name="connsiteX4" fmla="*/ 8786 w 8785"/>
              <a:gd name="connsiteY4" fmla="*/ 3886 h 7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5" h="7772">
                <a:moveTo>
                  <a:pt x="8786" y="3886"/>
                </a:moveTo>
                <a:cubicBezTo>
                  <a:pt x="8786" y="6082"/>
                  <a:pt x="6758" y="7772"/>
                  <a:pt x="4393" y="7772"/>
                </a:cubicBezTo>
                <a:cubicBezTo>
                  <a:pt x="2028" y="7772"/>
                  <a:pt x="0" y="5913"/>
                  <a:pt x="0" y="3886"/>
                </a:cubicBezTo>
                <a:cubicBezTo>
                  <a:pt x="0" y="1859"/>
                  <a:pt x="2028" y="0"/>
                  <a:pt x="4393" y="0"/>
                </a:cubicBezTo>
                <a:cubicBezTo>
                  <a:pt x="6758" y="0"/>
                  <a:pt x="8786" y="1690"/>
                  <a:pt x="8786" y="3886"/>
                </a:cubicBezTo>
                <a:close/>
              </a:path>
            </a:pathLst>
          </a:custGeom>
          <a:solidFill>
            <a:srgbClr val="FFFFFF"/>
          </a:solidFill>
          <a:ln w="3715"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2" name="Freeform: Shape 201">
            <a:extLst>
              <a:ext uri="{FF2B5EF4-FFF2-40B4-BE49-F238E27FC236}">
                <a16:creationId xmlns:a16="http://schemas.microsoft.com/office/drawing/2014/main" id="{CFDF9C94-B93F-F09E-3CEF-764F857D91DD}"/>
              </a:ext>
            </a:extLst>
          </p:cNvPr>
          <p:cNvSpPr/>
          <p:nvPr/>
        </p:nvSpPr>
        <p:spPr>
          <a:xfrm>
            <a:off x="9976246" y="2782991"/>
            <a:ext cx="8784" cy="7772"/>
          </a:xfrm>
          <a:custGeom>
            <a:avLst/>
            <a:gdLst>
              <a:gd name="connsiteX0" fmla="*/ 8786 w 8785"/>
              <a:gd name="connsiteY0" fmla="*/ 3886 h 7772"/>
              <a:gd name="connsiteX1" fmla="*/ 4393 w 8785"/>
              <a:gd name="connsiteY1" fmla="*/ 7772 h 7772"/>
              <a:gd name="connsiteX2" fmla="*/ 0 w 8785"/>
              <a:gd name="connsiteY2" fmla="*/ 3886 h 7772"/>
              <a:gd name="connsiteX3" fmla="*/ 4393 w 8785"/>
              <a:gd name="connsiteY3" fmla="*/ 0 h 7772"/>
              <a:gd name="connsiteX4" fmla="*/ 8786 w 8785"/>
              <a:gd name="connsiteY4" fmla="*/ 3886 h 7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5" h="7772">
                <a:moveTo>
                  <a:pt x="8786" y="3886"/>
                </a:moveTo>
                <a:cubicBezTo>
                  <a:pt x="8786" y="6082"/>
                  <a:pt x="6758" y="7772"/>
                  <a:pt x="4393" y="7772"/>
                </a:cubicBezTo>
                <a:cubicBezTo>
                  <a:pt x="2028" y="7772"/>
                  <a:pt x="0" y="6082"/>
                  <a:pt x="0" y="3886"/>
                </a:cubicBezTo>
                <a:cubicBezTo>
                  <a:pt x="0" y="1690"/>
                  <a:pt x="2028" y="0"/>
                  <a:pt x="4393" y="0"/>
                </a:cubicBezTo>
                <a:cubicBezTo>
                  <a:pt x="6758" y="0"/>
                  <a:pt x="8786" y="1690"/>
                  <a:pt x="8786" y="3886"/>
                </a:cubicBezTo>
                <a:close/>
              </a:path>
            </a:pathLst>
          </a:custGeom>
          <a:solidFill>
            <a:srgbClr val="FFFFFF"/>
          </a:solidFill>
          <a:ln w="3715"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3" name="Freeform: Shape 202">
            <a:extLst>
              <a:ext uri="{FF2B5EF4-FFF2-40B4-BE49-F238E27FC236}">
                <a16:creationId xmlns:a16="http://schemas.microsoft.com/office/drawing/2014/main" id="{246BC9CE-F302-ECF8-9EBD-FD4E11D2AC34}"/>
              </a:ext>
            </a:extLst>
          </p:cNvPr>
          <p:cNvSpPr/>
          <p:nvPr/>
        </p:nvSpPr>
        <p:spPr>
          <a:xfrm>
            <a:off x="10039939" y="2762380"/>
            <a:ext cx="8784" cy="7772"/>
          </a:xfrm>
          <a:custGeom>
            <a:avLst/>
            <a:gdLst>
              <a:gd name="connsiteX0" fmla="*/ 8786 w 8785"/>
              <a:gd name="connsiteY0" fmla="*/ 3886 h 7772"/>
              <a:gd name="connsiteX1" fmla="*/ 4393 w 8785"/>
              <a:gd name="connsiteY1" fmla="*/ 7772 h 7772"/>
              <a:gd name="connsiteX2" fmla="*/ 0 w 8785"/>
              <a:gd name="connsiteY2" fmla="*/ 3886 h 7772"/>
              <a:gd name="connsiteX3" fmla="*/ 4393 w 8785"/>
              <a:gd name="connsiteY3" fmla="*/ 0 h 7772"/>
              <a:gd name="connsiteX4" fmla="*/ 8786 w 8785"/>
              <a:gd name="connsiteY4" fmla="*/ 3886 h 7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5" h="7772">
                <a:moveTo>
                  <a:pt x="8786" y="3886"/>
                </a:moveTo>
                <a:cubicBezTo>
                  <a:pt x="8786" y="6082"/>
                  <a:pt x="6758" y="7772"/>
                  <a:pt x="4393" y="7772"/>
                </a:cubicBezTo>
                <a:cubicBezTo>
                  <a:pt x="2027" y="7772"/>
                  <a:pt x="0" y="5913"/>
                  <a:pt x="0" y="3886"/>
                </a:cubicBezTo>
                <a:cubicBezTo>
                  <a:pt x="0" y="1859"/>
                  <a:pt x="2027" y="0"/>
                  <a:pt x="4393" y="0"/>
                </a:cubicBezTo>
                <a:cubicBezTo>
                  <a:pt x="6758" y="0"/>
                  <a:pt x="8786" y="1859"/>
                  <a:pt x="8786" y="3886"/>
                </a:cubicBezTo>
                <a:close/>
              </a:path>
            </a:pathLst>
          </a:custGeom>
          <a:solidFill>
            <a:srgbClr val="FFFFFF"/>
          </a:solidFill>
          <a:ln w="3715"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4" name="Freeform: Shape 203">
            <a:extLst>
              <a:ext uri="{FF2B5EF4-FFF2-40B4-BE49-F238E27FC236}">
                <a16:creationId xmlns:a16="http://schemas.microsoft.com/office/drawing/2014/main" id="{EDA53041-F447-5DDD-D69D-99C4EDB079BE}"/>
              </a:ext>
            </a:extLst>
          </p:cNvPr>
          <p:cNvSpPr/>
          <p:nvPr/>
        </p:nvSpPr>
        <p:spPr>
          <a:xfrm>
            <a:off x="10037405" y="2744472"/>
            <a:ext cx="8784" cy="7772"/>
          </a:xfrm>
          <a:custGeom>
            <a:avLst/>
            <a:gdLst>
              <a:gd name="connsiteX0" fmla="*/ 8786 w 8785"/>
              <a:gd name="connsiteY0" fmla="*/ 3886 h 7772"/>
              <a:gd name="connsiteX1" fmla="*/ 4393 w 8785"/>
              <a:gd name="connsiteY1" fmla="*/ 7772 h 7772"/>
              <a:gd name="connsiteX2" fmla="*/ 0 w 8785"/>
              <a:gd name="connsiteY2" fmla="*/ 3886 h 7772"/>
              <a:gd name="connsiteX3" fmla="*/ 4393 w 8785"/>
              <a:gd name="connsiteY3" fmla="*/ 0 h 7772"/>
              <a:gd name="connsiteX4" fmla="*/ 8786 w 8785"/>
              <a:gd name="connsiteY4" fmla="*/ 3886 h 7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5" h="7772">
                <a:moveTo>
                  <a:pt x="8786" y="3886"/>
                </a:moveTo>
                <a:cubicBezTo>
                  <a:pt x="8786" y="6082"/>
                  <a:pt x="6758" y="7772"/>
                  <a:pt x="4393" y="7772"/>
                </a:cubicBezTo>
                <a:cubicBezTo>
                  <a:pt x="2027" y="7772"/>
                  <a:pt x="0" y="5913"/>
                  <a:pt x="0" y="3886"/>
                </a:cubicBezTo>
                <a:cubicBezTo>
                  <a:pt x="0" y="1859"/>
                  <a:pt x="2027" y="0"/>
                  <a:pt x="4393" y="0"/>
                </a:cubicBezTo>
                <a:cubicBezTo>
                  <a:pt x="6758" y="0"/>
                  <a:pt x="8786" y="1859"/>
                  <a:pt x="8786" y="3886"/>
                </a:cubicBezTo>
                <a:close/>
              </a:path>
            </a:pathLst>
          </a:custGeom>
          <a:solidFill>
            <a:srgbClr val="FFFFFF"/>
          </a:solidFill>
          <a:ln w="3715"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5" name="Freeform: Shape 204">
            <a:extLst>
              <a:ext uri="{FF2B5EF4-FFF2-40B4-BE49-F238E27FC236}">
                <a16:creationId xmlns:a16="http://schemas.microsoft.com/office/drawing/2014/main" id="{5F8296B4-0079-63D1-0C4A-4C4EFA5F2B2D}"/>
              </a:ext>
            </a:extLst>
          </p:cNvPr>
          <p:cNvSpPr/>
          <p:nvPr/>
        </p:nvSpPr>
        <p:spPr>
          <a:xfrm>
            <a:off x="10016962" y="2745148"/>
            <a:ext cx="8784" cy="7772"/>
          </a:xfrm>
          <a:custGeom>
            <a:avLst/>
            <a:gdLst>
              <a:gd name="connsiteX0" fmla="*/ 8786 w 8785"/>
              <a:gd name="connsiteY0" fmla="*/ 3886 h 7772"/>
              <a:gd name="connsiteX1" fmla="*/ 4393 w 8785"/>
              <a:gd name="connsiteY1" fmla="*/ 7772 h 7772"/>
              <a:gd name="connsiteX2" fmla="*/ 0 w 8785"/>
              <a:gd name="connsiteY2" fmla="*/ 3886 h 7772"/>
              <a:gd name="connsiteX3" fmla="*/ 4393 w 8785"/>
              <a:gd name="connsiteY3" fmla="*/ 0 h 7772"/>
              <a:gd name="connsiteX4" fmla="*/ 8786 w 8785"/>
              <a:gd name="connsiteY4" fmla="*/ 3886 h 7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5" h="7772">
                <a:moveTo>
                  <a:pt x="8786" y="3886"/>
                </a:moveTo>
                <a:cubicBezTo>
                  <a:pt x="8786" y="6082"/>
                  <a:pt x="6758" y="7772"/>
                  <a:pt x="4393" y="7772"/>
                </a:cubicBezTo>
                <a:cubicBezTo>
                  <a:pt x="2027" y="7772"/>
                  <a:pt x="0" y="6082"/>
                  <a:pt x="0" y="3886"/>
                </a:cubicBezTo>
                <a:cubicBezTo>
                  <a:pt x="0" y="1690"/>
                  <a:pt x="2027" y="0"/>
                  <a:pt x="4393" y="0"/>
                </a:cubicBezTo>
                <a:cubicBezTo>
                  <a:pt x="6758" y="0"/>
                  <a:pt x="8786" y="1690"/>
                  <a:pt x="8786" y="3886"/>
                </a:cubicBezTo>
                <a:close/>
              </a:path>
            </a:pathLst>
          </a:custGeom>
          <a:solidFill>
            <a:srgbClr val="FFFFFF"/>
          </a:solidFill>
          <a:ln w="3715"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6" name="Freeform: Shape 205">
            <a:extLst>
              <a:ext uri="{FF2B5EF4-FFF2-40B4-BE49-F238E27FC236}">
                <a16:creationId xmlns:a16="http://schemas.microsoft.com/office/drawing/2014/main" id="{DE542AF5-00C4-1461-E862-C0F2EF4631DF}"/>
              </a:ext>
            </a:extLst>
          </p:cNvPr>
          <p:cNvSpPr/>
          <p:nvPr/>
        </p:nvSpPr>
        <p:spPr>
          <a:xfrm>
            <a:off x="9994324" y="2744810"/>
            <a:ext cx="8784" cy="7772"/>
          </a:xfrm>
          <a:custGeom>
            <a:avLst/>
            <a:gdLst>
              <a:gd name="connsiteX0" fmla="*/ 8786 w 8785"/>
              <a:gd name="connsiteY0" fmla="*/ 3886 h 7772"/>
              <a:gd name="connsiteX1" fmla="*/ 4393 w 8785"/>
              <a:gd name="connsiteY1" fmla="*/ 7772 h 7772"/>
              <a:gd name="connsiteX2" fmla="*/ 0 w 8785"/>
              <a:gd name="connsiteY2" fmla="*/ 3886 h 7772"/>
              <a:gd name="connsiteX3" fmla="*/ 4393 w 8785"/>
              <a:gd name="connsiteY3" fmla="*/ 0 h 7772"/>
              <a:gd name="connsiteX4" fmla="*/ 8786 w 8785"/>
              <a:gd name="connsiteY4" fmla="*/ 3886 h 7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5" h="7772">
                <a:moveTo>
                  <a:pt x="8786" y="3886"/>
                </a:moveTo>
                <a:cubicBezTo>
                  <a:pt x="8786" y="6082"/>
                  <a:pt x="6758" y="7772"/>
                  <a:pt x="4393" y="7772"/>
                </a:cubicBezTo>
                <a:cubicBezTo>
                  <a:pt x="2027" y="7772"/>
                  <a:pt x="0" y="5913"/>
                  <a:pt x="0" y="3886"/>
                </a:cubicBezTo>
                <a:cubicBezTo>
                  <a:pt x="0" y="1859"/>
                  <a:pt x="2027" y="0"/>
                  <a:pt x="4393" y="0"/>
                </a:cubicBezTo>
                <a:cubicBezTo>
                  <a:pt x="6758" y="0"/>
                  <a:pt x="8786" y="1690"/>
                  <a:pt x="8786" y="3886"/>
                </a:cubicBezTo>
                <a:close/>
              </a:path>
            </a:pathLst>
          </a:custGeom>
          <a:solidFill>
            <a:srgbClr val="FFFFFF"/>
          </a:solidFill>
          <a:ln w="3715"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7" name="Freeform: Shape 206">
            <a:extLst>
              <a:ext uri="{FF2B5EF4-FFF2-40B4-BE49-F238E27FC236}">
                <a16:creationId xmlns:a16="http://schemas.microsoft.com/office/drawing/2014/main" id="{434220E8-6E48-F1B9-9FCA-611F497CFC25}"/>
              </a:ext>
            </a:extLst>
          </p:cNvPr>
          <p:cNvSpPr/>
          <p:nvPr/>
        </p:nvSpPr>
        <p:spPr>
          <a:xfrm>
            <a:off x="9971009" y="2765420"/>
            <a:ext cx="8784" cy="7772"/>
          </a:xfrm>
          <a:custGeom>
            <a:avLst/>
            <a:gdLst>
              <a:gd name="connsiteX0" fmla="*/ 8786 w 8785"/>
              <a:gd name="connsiteY0" fmla="*/ 3886 h 7772"/>
              <a:gd name="connsiteX1" fmla="*/ 4393 w 8785"/>
              <a:gd name="connsiteY1" fmla="*/ 7772 h 7772"/>
              <a:gd name="connsiteX2" fmla="*/ 0 w 8785"/>
              <a:gd name="connsiteY2" fmla="*/ 3886 h 7772"/>
              <a:gd name="connsiteX3" fmla="*/ 4393 w 8785"/>
              <a:gd name="connsiteY3" fmla="*/ 0 h 7772"/>
              <a:gd name="connsiteX4" fmla="*/ 8786 w 8785"/>
              <a:gd name="connsiteY4" fmla="*/ 3886 h 7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5" h="7772">
                <a:moveTo>
                  <a:pt x="8786" y="3886"/>
                </a:moveTo>
                <a:cubicBezTo>
                  <a:pt x="8786" y="6082"/>
                  <a:pt x="6758" y="7772"/>
                  <a:pt x="4393" y="7772"/>
                </a:cubicBezTo>
                <a:cubicBezTo>
                  <a:pt x="2028" y="7772"/>
                  <a:pt x="0" y="6082"/>
                  <a:pt x="0" y="3886"/>
                </a:cubicBezTo>
                <a:cubicBezTo>
                  <a:pt x="0" y="1690"/>
                  <a:pt x="2028" y="0"/>
                  <a:pt x="4393" y="0"/>
                </a:cubicBezTo>
                <a:cubicBezTo>
                  <a:pt x="6758" y="0"/>
                  <a:pt x="8786" y="1859"/>
                  <a:pt x="8786" y="3886"/>
                </a:cubicBezTo>
                <a:close/>
              </a:path>
            </a:pathLst>
          </a:custGeom>
          <a:solidFill>
            <a:srgbClr val="FFFFFF"/>
          </a:solidFill>
          <a:ln w="3715"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8" name="Freeform: Shape 207">
            <a:extLst>
              <a:ext uri="{FF2B5EF4-FFF2-40B4-BE49-F238E27FC236}">
                <a16:creationId xmlns:a16="http://schemas.microsoft.com/office/drawing/2014/main" id="{A2958E2E-C91C-7059-B4CE-10659BF4DD0B}"/>
              </a:ext>
            </a:extLst>
          </p:cNvPr>
          <p:cNvSpPr/>
          <p:nvPr/>
        </p:nvSpPr>
        <p:spPr>
          <a:xfrm>
            <a:off x="9972192" y="2745148"/>
            <a:ext cx="8784" cy="7772"/>
          </a:xfrm>
          <a:custGeom>
            <a:avLst/>
            <a:gdLst>
              <a:gd name="connsiteX0" fmla="*/ 8786 w 8785"/>
              <a:gd name="connsiteY0" fmla="*/ 3886 h 7772"/>
              <a:gd name="connsiteX1" fmla="*/ 4393 w 8785"/>
              <a:gd name="connsiteY1" fmla="*/ 7772 h 7772"/>
              <a:gd name="connsiteX2" fmla="*/ 0 w 8785"/>
              <a:gd name="connsiteY2" fmla="*/ 3886 h 7772"/>
              <a:gd name="connsiteX3" fmla="*/ 4393 w 8785"/>
              <a:gd name="connsiteY3" fmla="*/ 0 h 7772"/>
              <a:gd name="connsiteX4" fmla="*/ 8786 w 8785"/>
              <a:gd name="connsiteY4" fmla="*/ 3886 h 7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5" h="7772">
                <a:moveTo>
                  <a:pt x="8786" y="3886"/>
                </a:moveTo>
                <a:cubicBezTo>
                  <a:pt x="8786" y="6082"/>
                  <a:pt x="6758" y="7772"/>
                  <a:pt x="4393" y="7772"/>
                </a:cubicBezTo>
                <a:cubicBezTo>
                  <a:pt x="2027" y="7772"/>
                  <a:pt x="0" y="6082"/>
                  <a:pt x="0" y="3886"/>
                </a:cubicBezTo>
                <a:cubicBezTo>
                  <a:pt x="0" y="1690"/>
                  <a:pt x="2027" y="0"/>
                  <a:pt x="4393" y="0"/>
                </a:cubicBezTo>
                <a:cubicBezTo>
                  <a:pt x="6758" y="0"/>
                  <a:pt x="8786" y="1690"/>
                  <a:pt x="8786" y="3886"/>
                </a:cubicBezTo>
                <a:close/>
              </a:path>
            </a:pathLst>
          </a:custGeom>
          <a:solidFill>
            <a:srgbClr val="FFFFFF"/>
          </a:solidFill>
          <a:ln w="3715"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9" name="Freeform: Shape 208">
            <a:extLst>
              <a:ext uri="{FF2B5EF4-FFF2-40B4-BE49-F238E27FC236}">
                <a16:creationId xmlns:a16="http://schemas.microsoft.com/office/drawing/2014/main" id="{BA79343B-62A9-2C26-0EA8-A58D20D87488}"/>
              </a:ext>
            </a:extLst>
          </p:cNvPr>
          <p:cNvSpPr/>
          <p:nvPr/>
        </p:nvSpPr>
        <p:spPr>
          <a:xfrm>
            <a:off x="8842623" y="3934524"/>
            <a:ext cx="850978" cy="912643"/>
          </a:xfrm>
          <a:custGeom>
            <a:avLst/>
            <a:gdLst>
              <a:gd name="connsiteX0" fmla="*/ 22471 w 851037"/>
              <a:gd name="connsiteY0" fmla="*/ 0 h 912707"/>
              <a:gd name="connsiteX1" fmla="*/ 128914 w 851037"/>
              <a:gd name="connsiteY1" fmla="*/ 0 h 912707"/>
              <a:gd name="connsiteX2" fmla="*/ 335211 w 851037"/>
              <a:gd name="connsiteY2" fmla="*/ 0 h 912707"/>
              <a:gd name="connsiteX3" fmla="*/ 438444 w 851037"/>
              <a:gd name="connsiteY3" fmla="*/ 159833 h 912707"/>
              <a:gd name="connsiteX4" fmla="*/ 541508 w 851037"/>
              <a:gd name="connsiteY4" fmla="*/ 159833 h 912707"/>
              <a:gd name="connsiteX5" fmla="*/ 593209 w 851037"/>
              <a:gd name="connsiteY5" fmla="*/ 114046 h 912707"/>
              <a:gd name="connsiteX6" fmla="*/ 644741 w 851037"/>
              <a:gd name="connsiteY6" fmla="*/ 114046 h 912707"/>
              <a:gd name="connsiteX7" fmla="*/ 722123 w 851037"/>
              <a:gd name="connsiteY7" fmla="*/ 319498 h 912707"/>
              <a:gd name="connsiteX8" fmla="*/ 696273 w 851037"/>
              <a:gd name="connsiteY8" fmla="*/ 387926 h 912707"/>
              <a:gd name="connsiteX9" fmla="*/ 851038 w 851037"/>
              <a:gd name="connsiteY9" fmla="*/ 387926 h 912707"/>
              <a:gd name="connsiteX10" fmla="*/ 851038 w 851037"/>
              <a:gd name="connsiteY10" fmla="*/ 547591 h 912707"/>
              <a:gd name="connsiteX11" fmla="*/ 696273 w 851037"/>
              <a:gd name="connsiteY11" fmla="*/ 547591 h 912707"/>
              <a:gd name="connsiteX12" fmla="*/ 696273 w 851037"/>
              <a:gd name="connsiteY12" fmla="*/ 798661 h 912707"/>
              <a:gd name="connsiteX13" fmla="*/ 799506 w 851037"/>
              <a:gd name="connsiteY13" fmla="*/ 912707 h 912707"/>
              <a:gd name="connsiteX14" fmla="*/ 618891 w 851037"/>
              <a:gd name="connsiteY14" fmla="*/ 912707 h 912707"/>
              <a:gd name="connsiteX15" fmla="*/ 464126 w 851037"/>
              <a:gd name="connsiteY15" fmla="*/ 889898 h 912707"/>
              <a:gd name="connsiteX16" fmla="*/ 0 w 851037"/>
              <a:gd name="connsiteY16" fmla="*/ 844280 h 912707"/>
              <a:gd name="connsiteX17" fmla="*/ 0 w 851037"/>
              <a:gd name="connsiteY17" fmla="*/ 753043 h 912707"/>
              <a:gd name="connsiteX18" fmla="*/ 51532 w 851037"/>
              <a:gd name="connsiteY18" fmla="*/ 730234 h 912707"/>
              <a:gd name="connsiteX19" fmla="*/ 51532 w 851037"/>
              <a:gd name="connsiteY19" fmla="*/ 593209 h 912707"/>
              <a:gd name="connsiteX20" fmla="*/ 128914 w 851037"/>
              <a:gd name="connsiteY20" fmla="*/ 501972 h 912707"/>
              <a:gd name="connsiteX21" fmla="*/ 77382 w 851037"/>
              <a:gd name="connsiteY21" fmla="*/ 205452 h 912707"/>
              <a:gd name="connsiteX22" fmla="*/ 77382 w 851037"/>
              <a:gd name="connsiteY22" fmla="*/ 91237 h 912707"/>
              <a:gd name="connsiteX23" fmla="*/ 51532 w 851037"/>
              <a:gd name="connsiteY23" fmla="*/ 45618 h 912707"/>
              <a:gd name="connsiteX24" fmla="*/ 22471 w 851037"/>
              <a:gd name="connsiteY24" fmla="*/ 0 h 91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51037" h="912707">
                <a:moveTo>
                  <a:pt x="22471" y="0"/>
                </a:moveTo>
                <a:lnTo>
                  <a:pt x="128914" y="0"/>
                </a:lnTo>
                <a:lnTo>
                  <a:pt x="335211" y="0"/>
                </a:lnTo>
                <a:lnTo>
                  <a:pt x="438444" y="159833"/>
                </a:lnTo>
                <a:lnTo>
                  <a:pt x="541508" y="159833"/>
                </a:lnTo>
                <a:lnTo>
                  <a:pt x="593209" y="114046"/>
                </a:lnTo>
                <a:lnTo>
                  <a:pt x="644741" y="114046"/>
                </a:lnTo>
                <a:lnTo>
                  <a:pt x="722123" y="319498"/>
                </a:lnTo>
                <a:lnTo>
                  <a:pt x="696273" y="387926"/>
                </a:lnTo>
                <a:lnTo>
                  <a:pt x="851038" y="387926"/>
                </a:lnTo>
                <a:lnTo>
                  <a:pt x="851038" y="547591"/>
                </a:lnTo>
                <a:lnTo>
                  <a:pt x="696273" y="547591"/>
                </a:lnTo>
                <a:lnTo>
                  <a:pt x="696273" y="798661"/>
                </a:lnTo>
                <a:lnTo>
                  <a:pt x="799506" y="912707"/>
                </a:lnTo>
                <a:lnTo>
                  <a:pt x="618891" y="912707"/>
                </a:lnTo>
                <a:lnTo>
                  <a:pt x="464126" y="889898"/>
                </a:lnTo>
                <a:lnTo>
                  <a:pt x="0" y="844280"/>
                </a:lnTo>
                <a:lnTo>
                  <a:pt x="0" y="753043"/>
                </a:lnTo>
                <a:lnTo>
                  <a:pt x="51532" y="730234"/>
                </a:lnTo>
                <a:lnTo>
                  <a:pt x="51532" y="593209"/>
                </a:lnTo>
                <a:lnTo>
                  <a:pt x="128914" y="501972"/>
                </a:lnTo>
                <a:lnTo>
                  <a:pt x="77382" y="205452"/>
                </a:lnTo>
                <a:lnTo>
                  <a:pt x="77382" y="91237"/>
                </a:lnTo>
                <a:lnTo>
                  <a:pt x="51532" y="45618"/>
                </a:lnTo>
                <a:lnTo>
                  <a:pt x="22471" y="0"/>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0" name="Freeform: Shape 209">
            <a:extLst>
              <a:ext uri="{FF2B5EF4-FFF2-40B4-BE49-F238E27FC236}">
                <a16:creationId xmlns:a16="http://schemas.microsoft.com/office/drawing/2014/main" id="{24CA42A3-0D63-5862-3661-5286BCAA0867}"/>
              </a:ext>
            </a:extLst>
          </p:cNvPr>
          <p:cNvSpPr/>
          <p:nvPr/>
        </p:nvSpPr>
        <p:spPr>
          <a:xfrm>
            <a:off x="8832823" y="3829102"/>
            <a:ext cx="100015" cy="85486"/>
          </a:xfrm>
          <a:custGeom>
            <a:avLst/>
            <a:gdLst>
              <a:gd name="connsiteX0" fmla="*/ 19430 w 100022"/>
              <a:gd name="connsiteY0" fmla="*/ 85492 h 85492"/>
              <a:gd name="connsiteX1" fmla="*/ 0 w 100022"/>
              <a:gd name="connsiteY1" fmla="*/ 34129 h 85492"/>
              <a:gd name="connsiteX2" fmla="*/ 48491 w 100022"/>
              <a:gd name="connsiteY2" fmla="*/ 0 h 85492"/>
              <a:gd name="connsiteX3" fmla="*/ 100023 w 100022"/>
              <a:gd name="connsiteY3" fmla="*/ 19937 h 85492"/>
              <a:gd name="connsiteX4" fmla="*/ 19430 w 100022"/>
              <a:gd name="connsiteY4" fmla="*/ 85492 h 8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22" h="85492">
                <a:moveTo>
                  <a:pt x="19430" y="85492"/>
                </a:moveTo>
                <a:lnTo>
                  <a:pt x="0" y="34129"/>
                </a:lnTo>
                <a:lnTo>
                  <a:pt x="48491" y="0"/>
                </a:lnTo>
                <a:lnTo>
                  <a:pt x="100023" y="19937"/>
                </a:lnTo>
                <a:lnTo>
                  <a:pt x="19430" y="85492"/>
                </a:lnTo>
                <a:close/>
              </a:path>
            </a:pathLst>
          </a:custGeom>
          <a:solidFill>
            <a:srgbClr val="FFFFFF"/>
          </a:solidFill>
          <a:ln w="8443" cap="flat">
            <a:solidFill>
              <a:srgbClr val="000000"/>
            </a:solidFill>
            <a:prstDash val="solid"/>
            <a:miter/>
          </a:ln>
        </p:spPr>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1" name="Rectangle 210">
            <a:extLst>
              <a:ext uri="{FF2B5EF4-FFF2-40B4-BE49-F238E27FC236}">
                <a16:creationId xmlns:a16="http://schemas.microsoft.com/office/drawing/2014/main" id="{3D57A5D3-FE87-C1D4-B9CF-5313B5846EEB}"/>
              </a:ext>
            </a:extLst>
          </p:cNvPr>
          <p:cNvSpPr/>
          <p:nvPr/>
        </p:nvSpPr>
        <p:spPr>
          <a:xfrm>
            <a:off x="6675145" y="5252249"/>
            <a:ext cx="306117" cy="159823"/>
          </a:xfrm>
          <a:prstGeom prst="rect">
            <a:avLst/>
          </a:prstGeom>
          <a:solidFill>
            <a:srgbClr val="00205C"/>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2" name="Rectangle 211">
            <a:extLst>
              <a:ext uri="{FF2B5EF4-FFF2-40B4-BE49-F238E27FC236}">
                <a16:creationId xmlns:a16="http://schemas.microsoft.com/office/drawing/2014/main" id="{84580ABC-0FC8-4799-D9BF-A67335409FBA}"/>
              </a:ext>
            </a:extLst>
          </p:cNvPr>
          <p:cNvSpPr/>
          <p:nvPr/>
        </p:nvSpPr>
        <p:spPr>
          <a:xfrm>
            <a:off x="6675145" y="5515191"/>
            <a:ext cx="306117" cy="159823"/>
          </a:xfrm>
          <a:prstGeom prst="rect">
            <a:avLst/>
          </a:prstGeom>
          <a:pattFill prst="ltDnDiag">
            <a:fgClr>
              <a:srgbClr val="00205C"/>
            </a:fgClr>
            <a:bgClr>
              <a:srgbClr val="C9DDF3"/>
            </a:bgClr>
          </a:patt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3" name="Rectangle 212">
            <a:extLst>
              <a:ext uri="{FF2B5EF4-FFF2-40B4-BE49-F238E27FC236}">
                <a16:creationId xmlns:a16="http://schemas.microsoft.com/office/drawing/2014/main" id="{18691F8C-17DF-FF7D-A822-D0C3B2BD56B1}"/>
              </a:ext>
            </a:extLst>
          </p:cNvPr>
          <p:cNvSpPr/>
          <p:nvPr/>
        </p:nvSpPr>
        <p:spPr>
          <a:xfrm>
            <a:off x="7044737" y="5264948"/>
            <a:ext cx="1970797" cy="159823"/>
          </a:xfrm>
          <a:prstGeom prst="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05C"/>
                </a:solidFill>
                <a:effectLst/>
                <a:uLnTx/>
                <a:uFillTx/>
                <a:latin typeface="Poppins" panose="00000500000000000000" pitchFamily="2" charset="0"/>
                <a:ea typeface="+mn-ea"/>
                <a:cs typeface="Poppins" panose="00000500000000000000" pitchFamily="2" charset="0"/>
              </a:rPr>
              <a:t>Introduced nationally</a:t>
            </a:r>
          </a:p>
        </p:txBody>
      </p:sp>
      <p:sp>
        <p:nvSpPr>
          <p:cNvPr id="214" name="Rectangle 213">
            <a:extLst>
              <a:ext uri="{FF2B5EF4-FFF2-40B4-BE49-F238E27FC236}">
                <a16:creationId xmlns:a16="http://schemas.microsoft.com/office/drawing/2014/main" id="{29D618FD-A01C-0C0F-959B-6C5451E10C64}"/>
              </a:ext>
            </a:extLst>
          </p:cNvPr>
          <p:cNvSpPr/>
          <p:nvPr/>
        </p:nvSpPr>
        <p:spPr>
          <a:xfrm>
            <a:off x="7044738" y="5507018"/>
            <a:ext cx="2086069" cy="159823"/>
          </a:xfrm>
          <a:prstGeom prst="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05C"/>
                </a:solidFill>
                <a:effectLst/>
                <a:uLnTx/>
                <a:uFillTx/>
                <a:latin typeface="Poppins" panose="00000500000000000000" pitchFamily="2" charset="0"/>
                <a:ea typeface="+mn-ea"/>
                <a:cs typeface="Poppins" panose="00000500000000000000" pitchFamily="2" charset="0"/>
              </a:rPr>
              <a:t>Introduced sub-nationally</a:t>
            </a:r>
          </a:p>
        </p:txBody>
      </p:sp>
      <p:sp>
        <p:nvSpPr>
          <p:cNvPr id="215" name="Rectangle 214">
            <a:extLst>
              <a:ext uri="{FF2B5EF4-FFF2-40B4-BE49-F238E27FC236}">
                <a16:creationId xmlns:a16="http://schemas.microsoft.com/office/drawing/2014/main" id="{25285CF3-18E2-DDA7-140C-ECB3492A272F}"/>
              </a:ext>
            </a:extLst>
          </p:cNvPr>
          <p:cNvSpPr/>
          <p:nvPr/>
        </p:nvSpPr>
        <p:spPr>
          <a:xfrm>
            <a:off x="6675145" y="5778132"/>
            <a:ext cx="306117" cy="159823"/>
          </a:xfrm>
          <a:prstGeom prst="rect">
            <a:avLst/>
          </a:prstGeom>
          <a:solidFill>
            <a:srgbClr val="AACF7F"/>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6" name="Rectangle 215">
            <a:extLst>
              <a:ext uri="{FF2B5EF4-FFF2-40B4-BE49-F238E27FC236}">
                <a16:creationId xmlns:a16="http://schemas.microsoft.com/office/drawing/2014/main" id="{36E98CF8-6B69-C79C-7B39-CE31971AB6BC}"/>
              </a:ext>
            </a:extLst>
          </p:cNvPr>
          <p:cNvSpPr/>
          <p:nvPr/>
        </p:nvSpPr>
        <p:spPr>
          <a:xfrm>
            <a:off x="7043789" y="5884155"/>
            <a:ext cx="2044676" cy="250883"/>
          </a:xfrm>
          <a:prstGeom prst="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05C"/>
                </a:solidFill>
                <a:effectLst/>
                <a:uLnTx/>
                <a:uFillTx/>
                <a:latin typeface="Poppins" panose="00000500000000000000" pitchFamily="2" charset="0"/>
                <a:ea typeface="+mn-ea"/>
                <a:cs typeface="Poppins" panose="00000500000000000000" pitchFamily="2" charset="0"/>
              </a:rPr>
              <a:t>Approved for introduction, not yet introduced</a:t>
            </a:r>
          </a:p>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205C"/>
              </a:solidFill>
              <a:effectLst/>
              <a:uLnTx/>
              <a:uFillTx/>
              <a:latin typeface="Poppins" panose="00000500000000000000" pitchFamily="2" charset="0"/>
              <a:ea typeface="+mn-ea"/>
              <a:cs typeface="Poppins" panose="00000500000000000000" pitchFamily="2" charset="0"/>
            </a:endParaRPr>
          </a:p>
        </p:txBody>
      </p:sp>
      <p:sp>
        <p:nvSpPr>
          <p:cNvPr id="218" name="Title 1">
            <a:extLst>
              <a:ext uri="{FF2B5EF4-FFF2-40B4-BE49-F238E27FC236}">
                <a16:creationId xmlns:a16="http://schemas.microsoft.com/office/drawing/2014/main" id="{E8789182-158C-D1ED-C5F9-C1B5220BD121}"/>
              </a:ext>
            </a:extLst>
          </p:cNvPr>
          <p:cNvSpPr txBox="1">
            <a:spLocks/>
          </p:cNvSpPr>
          <p:nvPr/>
        </p:nvSpPr>
        <p:spPr>
          <a:xfrm>
            <a:off x="10423088" y="104647"/>
            <a:ext cx="1760774" cy="1609004"/>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2400" b="0" i="0" kern="1200">
                <a:solidFill>
                  <a:srgbClr val="00205C"/>
                </a:solidFill>
                <a:latin typeface="+mn-lt"/>
                <a:ea typeface="+mj-ea"/>
                <a:cs typeface="+mj-cs"/>
              </a:defRPr>
            </a:lvl1pPr>
          </a:lstStyle>
          <a:p>
            <a:pPr marL="0" marR="0" lvl="0" indent="0" algn="l" defTabSz="914358"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a:ln>
                  <a:noFill/>
                </a:ln>
                <a:solidFill>
                  <a:srgbClr val="00205C"/>
                </a:solidFill>
                <a:effectLst/>
                <a:uLnTx/>
                <a:uFillTx/>
                <a:latin typeface="Poppins SemiBold"/>
                <a:ea typeface="+mj-ea"/>
                <a:cs typeface="Poppins SemiBold"/>
              </a:rPr>
              <a:t>23</a:t>
            </a:r>
            <a:endParaRPr kumimoji="0" lang="en-US" sz="6000" b="1" i="0" u="none" strike="noStrike" kern="1200" cap="none" spc="0" normalizeH="0" baseline="0" noProof="0">
              <a:ln>
                <a:noFill/>
              </a:ln>
              <a:solidFill>
                <a:srgbClr val="00205C"/>
              </a:solidFill>
              <a:effectLst/>
              <a:uLnTx/>
              <a:uFillTx/>
              <a:latin typeface="Poppins SemiBold" panose="00000700000000000000" pitchFamily="2" charset="0"/>
              <a:ea typeface="+mj-ea"/>
              <a:cs typeface="Poppins SemiBold" panose="00000700000000000000" pitchFamily="2" charset="0"/>
            </a:endParaRPr>
          </a:p>
          <a:p>
            <a:pPr marL="0" marR="0" lvl="0" indent="0" algn="l" defTabSz="914358"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a:noFill/>
                </a:ln>
                <a:solidFill>
                  <a:srgbClr val="00205C"/>
                </a:solidFill>
                <a:effectLst/>
                <a:uLnTx/>
                <a:uFillTx/>
                <a:latin typeface="Poppins"/>
                <a:ea typeface="+mj-ea"/>
                <a:cs typeface="Poppins"/>
              </a:rPr>
              <a:t>Countries </a:t>
            </a:r>
          </a:p>
          <a:p>
            <a:pPr marL="0" marR="0" lvl="0" indent="0" algn="l" defTabSz="914358"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a:noFill/>
                </a:ln>
                <a:solidFill>
                  <a:srgbClr val="00205C"/>
                </a:solidFill>
                <a:effectLst/>
                <a:uLnTx/>
                <a:uFillTx/>
                <a:latin typeface="Poppins"/>
                <a:ea typeface="+mj-ea"/>
                <a:cs typeface="Poppins"/>
              </a:rPr>
              <a:t>introduced</a:t>
            </a:r>
          </a:p>
        </p:txBody>
      </p:sp>
      <p:sp>
        <p:nvSpPr>
          <p:cNvPr id="9" name="Slide Number Placeholder 5">
            <a:extLst>
              <a:ext uri="{FF2B5EF4-FFF2-40B4-BE49-F238E27FC236}">
                <a16:creationId xmlns:a16="http://schemas.microsoft.com/office/drawing/2014/main" id="{4E0451F5-8FF4-64DE-983E-817C4BF8FE95}"/>
              </a:ext>
            </a:extLst>
          </p:cNvPr>
          <p:cNvSpPr>
            <a:spLocks noGrp="1"/>
          </p:cNvSpPr>
          <p:nvPr>
            <p:ph type="sldNum" sz="quarter" idx="12"/>
          </p:nvPr>
        </p:nvSpPr>
        <p:spPr>
          <a:xfrm>
            <a:off x="11354395" y="6397176"/>
            <a:ext cx="380008" cy="320653"/>
          </a:xfrm>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714BF2E0-EE3B-6A4E-9FB9-82DE86E1F02F}" type="slidenum">
              <a:rPr kumimoji="0" lang="en-US" sz="900" b="0" i="0" u="none" strike="noStrike" kern="1200" cap="none" spc="0" normalizeH="0" baseline="0" noProof="0">
                <a:ln>
                  <a:noFill/>
                </a:ln>
                <a:solidFill>
                  <a:srgbClr val="00205C"/>
                </a:solidFill>
                <a:effectLst/>
                <a:uLnTx/>
                <a:uFillTx/>
                <a:latin typeface="Calibri" panose="020F0502020204030204"/>
                <a:ea typeface="+mn-ea"/>
                <a:cs typeface="+mn-cs"/>
              </a:rPr>
              <a:pPr marL="0" marR="0" lvl="0" indent="0" algn="r" defTabSz="914358" rtl="0" eaLnBrk="1" fontAlgn="auto" latinLnBrk="0" hangingPunct="1">
                <a:lnSpc>
                  <a:spcPct val="100000"/>
                </a:lnSpc>
                <a:spcBef>
                  <a:spcPts val="0"/>
                </a:spcBef>
                <a:spcAft>
                  <a:spcPts val="0"/>
                </a:spcAft>
                <a:buClrTx/>
                <a:buSzTx/>
                <a:buFontTx/>
                <a:buNone/>
                <a:tabLst/>
                <a:defRPr/>
              </a:pPr>
              <a:t>48</a:t>
            </a:fld>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
        <p:nvSpPr>
          <p:cNvPr id="11" name="Footer Placeholder 2">
            <a:extLst>
              <a:ext uri="{FF2B5EF4-FFF2-40B4-BE49-F238E27FC236}">
                <a16:creationId xmlns:a16="http://schemas.microsoft.com/office/drawing/2014/main" id="{97459205-06C1-3E22-C5DD-279D401161E8}"/>
              </a:ext>
            </a:extLst>
          </p:cNvPr>
          <p:cNvSpPr>
            <a:spLocks noGrp="1"/>
          </p:cNvSpPr>
          <p:nvPr>
            <p:ph type="ftr" sz="quarter" idx="11"/>
          </p:nvPr>
        </p:nvSpPr>
        <p:spPr>
          <a:xfrm>
            <a:off x="6200165" y="6397176"/>
            <a:ext cx="5154230" cy="324069"/>
          </a:xfrm>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205C"/>
                </a:solidFill>
                <a:effectLst/>
                <a:uLnTx/>
                <a:uFillTx/>
                <a:latin typeface="Calibri" panose="020F0502020204030204"/>
                <a:ea typeface="Calibri" panose="020F0502020204030204"/>
                <a:cs typeface="Calibri" panose="020F0502020204030204"/>
                <a:sym typeface="Arial"/>
              </a:rPr>
              <a:t>Joint SAGE/MPAG session on malaria vaccines 3 vs 4 dose schedule, Sept 2025</a:t>
            </a:r>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427C5EF5-F0D5-716D-DC52-1A5B45E5974E}"/>
              </a:ext>
            </a:extLst>
          </p:cNvPr>
          <p:cNvSpPr txBox="1"/>
          <p:nvPr/>
        </p:nvSpPr>
        <p:spPr>
          <a:xfrm>
            <a:off x="2281132" y="6032556"/>
            <a:ext cx="4255201" cy="577081"/>
          </a:xfrm>
          <a:prstGeom prst="rect">
            <a:avLst/>
          </a:prstGeom>
          <a:noFill/>
        </p:spPr>
        <p:txBody>
          <a:bodyPr wrap="squar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Sources: </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1 </a:t>
            </a: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hlinkClick r:id="rId4"/>
              </a:rPr>
              <a:t>WHO Malaria Vaccine Introduction Dashboard</a:t>
            </a: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 (24 Sep 2025) </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3 </a:t>
            </a: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hlinkClick r:id="rId5"/>
              </a:rPr>
              <a:t>GSK press release </a:t>
            </a: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25 Jun 2025)</a:t>
            </a:r>
          </a:p>
        </p:txBody>
      </p:sp>
    </p:spTree>
    <p:extLst>
      <p:ext uri="{BB962C8B-B14F-4D97-AF65-F5344CB8AC3E}">
        <p14:creationId xmlns:p14="http://schemas.microsoft.com/office/powerpoint/2010/main" val="528261057"/>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0DD61A0A-ACB2-BFD1-D889-C0DA91536A52}"/>
              </a:ext>
            </a:extLst>
          </p:cNvPr>
          <p:cNvSpPr/>
          <p:nvPr/>
        </p:nvSpPr>
        <p:spPr>
          <a:xfrm>
            <a:off x="414190" y="685800"/>
            <a:ext cx="7043920" cy="1646757"/>
          </a:xfrm>
          <a:prstGeom prst="roundRect">
            <a:avLst>
              <a:gd name="adj" fmla="val 9808"/>
            </a:avLst>
          </a:prstGeom>
          <a:solidFill>
            <a:schemeClr val="bg1">
              <a:lumMod val="95000"/>
            </a:schemeClr>
          </a:solidFill>
          <a:ln>
            <a:solidFill>
              <a:srgbClr val="008C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1698" b="0" i="0" u="none" strike="noStrike" kern="1200" cap="none" spc="0" normalizeH="0" baseline="0" noProof="0">
                <a:ln>
                  <a:noFill/>
                </a:ln>
                <a:solidFill>
                  <a:srgbClr val="000000"/>
                </a:solidFill>
                <a:effectLst/>
                <a:uLnTx/>
                <a:uFillTx/>
                <a:latin typeface="Calibri" panose="020F0502020204030204"/>
                <a:ea typeface="+mn-ea"/>
                <a:cs typeface="Poppins" panose="00000500000000000000" pitchFamily="2" charset="0"/>
              </a:rPr>
              <a:t>The SAGE and MPAG were asked to address the following questions:  </a:t>
            </a:r>
          </a:p>
          <a:p>
            <a:pPr marL="174242" marR="0" lvl="1" indent="-174242" algn="l" defTabSz="5544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98" b="1" i="0" u="none" strike="noStrike" kern="1200" cap="none" spc="0" normalizeH="0" baseline="0" noProof="0">
                <a:ln>
                  <a:noFill/>
                </a:ln>
                <a:solidFill>
                  <a:srgbClr val="000000"/>
                </a:solidFill>
                <a:effectLst/>
                <a:uLnTx/>
                <a:uFillTx/>
                <a:latin typeface="Calibri" panose="020F0502020204030204"/>
                <a:ea typeface="+mn-ea"/>
                <a:cs typeface="Poppins" panose="00000500000000000000" pitchFamily="2" charset="0"/>
              </a:rPr>
              <a:t>Is a 3-dose malaria vaccine schedule safe and effective? </a:t>
            </a:r>
          </a:p>
          <a:p>
            <a:pPr marL="174242" marR="0" lvl="1" indent="-174242" algn="l" defTabSz="5544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98" b="1" i="0" u="none" strike="noStrike" kern="1200" cap="none" spc="0" normalizeH="0" baseline="0" noProof="0">
                <a:ln>
                  <a:noFill/>
                </a:ln>
                <a:solidFill>
                  <a:srgbClr val="000000"/>
                </a:solidFill>
                <a:effectLst/>
                <a:uLnTx/>
                <a:uFillTx/>
                <a:latin typeface="Calibri" panose="020F0502020204030204"/>
                <a:ea typeface="+mn-ea"/>
                <a:cs typeface="Poppins" panose="00000500000000000000" pitchFamily="2" charset="0"/>
              </a:rPr>
              <a:t>In areas of perennial malaria transmission (including low transmission), should a 3-dose malaria vaccine schedule be considered as an alternative to a 4-dose schedule in some contexts?</a:t>
            </a:r>
          </a:p>
        </p:txBody>
      </p:sp>
      <p:sp>
        <p:nvSpPr>
          <p:cNvPr id="2" name="Title 1">
            <a:extLst>
              <a:ext uri="{FF2B5EF4-FFF2-40B4-BE49-F238E27FC236}">
                <a16:creationId xmlns:a16="http://schemas.microsoft.com/office/drawing/2014/main" id="{848CC0A9-C9EE-A211-6990-1DE798F631A7}"/>
              </a:ext>
            </a:extLst>
          </p:cNvPr>
          <p:cNvSpPr>
            <a:spLocks noGrp="1"/>
          </p:cNvSpPr>
          <p:nvPr>
            <p:ph type="title"/>
          </p:nvPr>
        </p:nvSpPr>
        <p:spPr>
          <a:xfrm>
            <a:off x="334376" y="2544375"/>
            <a:ext cx="7000515" cy="1004888"/>
          </a:xfrm>
        </p:spPr>
        <p:txBody>
          <a:bodyPr/>
          <a:lstStyle/>
          <a:p>
            <a:r>
              <a:rPr lang="en-US"/>
              <a:t>Rationale and background</a:t>
            </a:r>
          </a:p>
        </p:txBody>
      </p:sp>
      <p:sp>
        <p:nvSpPr>
          <p:cNvPr id="3" name="Content Placeholder 2">
            <a:extLst>
              <a:ext uri="{FF2B5EF4-FFF2-40B4-BE49-F238E27FC236}">
                <a16:creationId xmlns:a16="http://schemas.microsoft.com/office/drawing/2014/main" id="{9A39FA19-5C22-FA4D-C14F-474C590B7396}"/>
              </a:ext>
            </a:extLst>
          </p:cNvPr>
          <p:cNvSpPr>
            <a:spLocks noGrp="1"/>
          </p:cNvSpPr>
          <p:nvPr>
            <p:ph idx="1"/>
          </p:nvPr>
        </p:nvSpPr>
        <p:spPr>
          <a:xfrm>
            <a:off x="337047" y="3070248"/>
            <a:ext cx="7241385" cy="3212314"/>
          </a:xfrm>
        </p:spPr>
        <p:txBody>
          <a:bodyPr>
            <a:noAutofit/>
          </a:bodyPr>
          <a:lstStyle/>
          <a:p>
            <a:r>
              <a:rPr lang="en-US" sz="1698">
                <a:cs typeface="Poppins" panose="00000500000000000000" pitchFamily="2" charset="0"/>
              </a:rPr>
              <a:t>RTS,S/AS01 Phase 3 trial (2009–2014) suggested 4</a:t>
            </a:r>
            <a:r>
              <a:rPr lang="en-US" sz="1698" baseline="30000">
                <a:cs typeface="Poppins" panose="00000500000000000000" pitchFamily="2" charset="0"/>
              </a:rPr>
              <a:t>th</a:t>
            </a:r>
            <a:r>
              <a:rPr lang="en-US" sz="1698">
                <a:cs typeface="Poppins" panose="00000500000000000000" pitchFamily="2" charset="0"/>
              </a:rPr>
              <a:t> dose was needed to maintain vaccine efficacy against severe malaria and to avoid rebound; however, subsequent RTS,S/AS01 evidence and findings brought these conclusions into question  </a:t>
            </a:r>
          </a:p>
          <a:p>
            <a:r>
              <a:rPr lang="en-US" sz="1698">
                <a:cs typeface="Poppins" panose="00000500000000000000" pitchFamily="2" charset="0"/>
              </a:rPr>
              <a:t>SAGE and MPAG* previously endorsed an approach where WHO recommendations could be updated as new data becomes available – </a:t>
            </a:r>
            <a:r>
              <a:rPr lang="en-US" sz="1698" i="1">
                <a:cs typeface="Poppins" panose="00000500000000000000" pitchFamily="2" charset="0"/>
              </a:rPr>
              <a:t>particularly if the 4</a:t>
            </a:r>
            <a:r>
              <a:rPr lang="en-US" sz="1698" i="1" baseline="30000">
                <a:cs typeface="Poppins" panose="00000500000000000000" pitchFamily="2" charset="0"/>
              </a:rPr>
              <a:t>th</a:t>
            </a:r>
            <a:r>
              <a:rPr lang="en-US" sz="1698" i="1">
                <a:cs typeface="Poppins" panose="00000500000000000000" pitchFamily="2" charset="0"/>
              </a:rPr>
              <a:t> dose provides little incremental impact over a safe and effective 3-dose schedule</a:t>
            </a:r>
          </a:p>
          <a:p>
            <a:r>
              <a:rPr lang="en-US" sz="1698">
                <a:cs typeface="Poppins" panose="00000500000000000000" pitchFamily="2" charset="0"/>
              </a:rPr>
              <a:t>The SAGE/MPAG Working Group recommended the RTS,S/AS01 case-control study to complement the </a:t>
            </a:r>
            <a:r>
              <a:rPr lang="en-GB" sz="1698">
                <a:solidFill>
                  <a:srgbClr val="000000"/>
                </a:solidFill>
                <a:cs typeface="Poppins" panose="00000500000000000000" pitchFamily="2" charset="0"/>
              </a:rPr>
              <a:t>cluster-randomised MVIP pilot evaluations that measured population-level estimates – and to assess the value of the 4</a:t>
            </a:r>
            <a:r>
              <a:rPr lang="en-GB" sz="1698" baseline="30000">
                <a:solidFill>
                  <a:srgbClr val="000000"/>
                </a:solidFill>
                <a:cs typeface="Poppins" panose="00000500000000000000" pitchFamily="2" charset="0"/>
              </a:rPr>
              <a:t>th</a:t>
            </a:r>
            <a:r>
              <a:rPr lang="en-GB" sz="1698">
                <a:solidFill>
                  <a:srgbClr val="000000"/>
                </a:solidFill>
                <a:cs typeface="Poppins" panose="00000500000000000000" pitchFamily="2" charset="0"/>
              </a:rPr>
              <a:t> dose</a:t>
            </a:r>
          </a:p>
          <a:p>
            <a:endParaRPr lang="en-GB" sz="1698">
              <a:solidFill>
                <a:srgbClr val="000000"/>
              </a:solidFill>
              <a:cs typeface="Poppins" panose="00000500000000000000" pitchFamily="2" charset="0"/>
            </a:endParaRPr>
          </a:p>
          <a:p>
            <a:endParaRPr lang="en-GB" sz="1698">
              <a:solidFill>
                <a:srgbClr val="000000"/>
              </a:solidFill>
              <a:cs typeface="Poppins" panose="00000500000000000000" pitchFamily="2" charset="0"/>
            </a:endParaRPr>
          </a:p>
          <a:p>
            <a:endParaRPr lang="en-GB" sz="1698">
              <a:solidFill>
                <a:srgbClr val="000000"/>
              </a:solidFill>
              <a:cs typeface="Poppins" panose="00000500000000000000" pitchFamily="2" charset="0"/>
            </a:endParaRPr>
          </a:p>
        </p:txBody>
      </p:sp>
      <p:sp>
        <p:nvSpPr>
          <p:cNvPr id="4" name="Footer Placeholder 3">
            <a:extLst>
              <a:ext uri="{FF2B5EF4-FFF2-40B4-BE49-F238E27FC236}">
                <a16:creationId xmlns:a16="http://schemas.microsoft.com/office/drawing/2014/main" id="{853930F0-8093-4718-9D64-0975F979397D}"/>
              </a:ext>
            </a:extLst>
          </p:cNvPr>
          <p:cNvSpPr>
            <a:spLocks noGrp="1"/>
          </p:cNvSpPr>
          <p:nvPr>
            <p:ph type="ftr" sz="quarter" idx="11"/>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F7C16A43-0EF6-43C0-9486-E442878052BB}"/>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714BF2E0-EE3B-6A4E-9FB9-82DE86E1F02F}" type="slidenum">
              <a:rPr kumimoji="0" lang="en-US" sz="900" b="0" i="0" u="none" strike="noStrike" kern="1200" cap="none" spc="0" normalizeH="0" baseline="0" noProof="0">
                <a:ln>
                  <a:noFill/>
                </a:ln>
                <a:solidFill>
                  <a:srgbClr val="00205C"/>
                </a:solidFill>
                <a:effectLst/>
                <a:uLnTx/>
                <a:uFillTx/>
                <a:latin typeface="Calibri" panose="020F0502020204030204"/>
                <a:ea typeface="+mn-ea"/>
                <a:cs typeface="+mn-cs"/>
              </a:rPr>
              <a:pPr marL="0" marR="0" lvl="0" indent="0" algn="r" defTabSz="914358" rtl="0" eaLnBrk="1" fontAlgn="auto" latinLnBrk="0" hangingPunct="1">
                <a:lnSpc>
                  <a:spcPct val="100000"/>
                </a:lnSpc>
                <a:spcBef>
                  <a:spcPts val="0"/>
                </a:spcBef>
                <a:spcAft>
                  <a:spcPts val="0"/>
                </a:spcAft>
                <a:buClrTx/>
                <a:buSzTx/>
                <a:buFontTx/>
                <a:buNone/>
                <a:tabLst/>
                <a:defRPr/>
              </a:pPr>
              <a:t>49</a:t>
            </a:fld>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948278A4-6C19-385B-F6B6-0C55A3F809F0}"/>
              </a:ext>
            </a:extLst>
          </p:cNvPr>
          <p:cNvSpPr/>
          <p:nvPr/>
        </p:nvSpPr>
        <p:spPr>
          <a:xfrm>
            <a:off x="7688508" y="650611"/>
            <a:ext cx="4089302" cy="5668263"/>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10" name="TextBox 9">
            <a:extLst>
              <a:ext uri="{FF2B5EF4-FFF2-40B4-BE49-F238E27FC236}">
                <a16:creationId xmlns:a16="http://schemas.microsoft.com/office/drawing/2014/main" id="{04B0348B-8DEE-D7A8-6DBF-68A62DEB0310}"/>
              </a:ext>
            </a:extLst>
          </p:cNvPr>
          <p:cNvSpPr txBox="1"/>
          <p:nvPr/>
        </p:nvSpPr>
        <p:spPr>
          <a:xfrm>
            <a:off x="7872964" y="5695670"/>
            <a:ext cx="3794771" cy="623248"/>
          </a:xfrm>
          <a:prstGeom prst="rect">
            <a:avLst/>
          </a:prstGeom>
          <a:noFill/>
        </p:spPr>
        <p:txBody>
          <a:bodyPr wrap="square">
            <a:spAutoFit/>
          </a:bodyPr>
          <a:lstStyle/>
          <a:p>
            <a:pPr marL="0" marR="0" lvl="0" indent="0" algn="l" defTabSz="914358" rtl="0" eaLnBrk="1" fontAlgn="auto" latinLnBrk="0" hangingPunct="1">
              <a:lnSpc>
                <a:spcPct val="100000"/>
              </a:lnSpc>
              <a:spcBef>
                <a:spcPts val="0"/>
              </a:spcBef>
              <a:spcAft>
                <a:spcPts val="0"/>
              </a:spcAft>
              <a:buClrTx/>
              <a:buSzPts val="1200"/>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Arial"/>
                <a:sym typeface="Arial"/>
              </a:rPr>
              <a:t>Source: </a:t>
            </a:r>
            <a:r>
              <a:rPr kumimoji="0" lang="en-US" sz="1200" b="0" i="0" u="none" strike="noStrike" kern="1200" cap="none" spc="0" normalizeH="0" baseline="0" noProof="0">
                <a:ln>
                  <a:noFill/>
                </a:ln>
                <a:solidFill>
                  <a:srgbClr val="000000"/>
                </a:solidFill>
                <a:effectLst/>
                <a:uLnTx/>
                <a:uFillTx/>
                <a:latin typeface="Calibri" panose="020F0502020204030204"/>
                <a:ea typeface="+mn-ea"/>
                <a:cs typeface="Arial"/>
                <a:sym typeface="Arial"/>
                <a:hlinkClick r:id="rId2"/>
              </a:rPr>
              <a:t>https://www.who.int/teams/immunization-vaccines-and-biologicals/policies/position-papers/malaria</a:t>
            </a: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Arial"/>
              <a:sym typeface="Arial"/>
            </a:endParaRPr>
          </a:p>
          <a:p>
            <a:pPr marL="176205" marR="0" lvl="0" indent="0" algn="l" defTabSz="914358"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Arial"/>
              <a:sym typeface="Arial"/>
            </a:endParaRPr>
          </a:p>
        </p:txBody>
      </p:sp>
      <p:sp>
        <p:nvSpPr>
          <p:cNvPr id="11" name="TextBox 10">
            <a:extLst>
              <a:ext uri="{FF2B5EF4-FFF2-40B4-BE49-F238E27FC236}">
                <a16:creationId xmlns:a16="http://schemas.microsoft.com/office/drawing/2014/main" id="{E5719DC1-B246-3ACF-9ED1-E19AF490257A}"/>
              </a:ext>
            </a:extLst>
          </p:cNvPr>
          <p:cNvSpPr txBox="1"/>
          <p:nvPr/>
        </p:nvSpPr>
        <p:spPr>
          <a:xfrm>
            <a:off x="7796769" y="846011"/>
            <a:ext cx="3872781" cy="646331"/>
          </a:xfrm>
          <a:prstGeom prst="rect">
            <a:avLst/>
          </a:prstGeom>
          <a:noFill/>
        </p:spPr>
        <p:txBody>
          <a:bodyPr wrap="square">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Calibri" panose="020F0502020204030204"/>
                <a:ea typeface="+mn-ea"/>
                <a:cs typeface="Arial"/>
                <a:sym typeface="Arial"/>
              </a:rPr>
              <a:t>Malaria vaccines: WHO position paper</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Calibri" panose="020F0502020204030204"/>
                <a:ea typeface="+mn-ea"/>
                <a:cs typeface="Arial"/>
                <a:sym typeface="Arial"/>
              </a:rPr>
              <a:t>(May 2024 update) </a:t>
            </a:r>
          </a:p>
        </p:txBody>
      </p:sp>
      <p:pic>
        <p:nvPicPr>
          <p:cNvPr id="12" name="Picture 11">
            <a:extLst>
              <a:ext uri="{FF2B5EF4-FFF2-40B4-BE49-F238E27FC236}">
                <a16:creationId xmlns:a16="http://schemas.microsoft.com/office/drawing/2014/main" id="{A2076BC4-ABAA-0D69-9EE2-3404E01F25ED}"/>
              </a:ext>
            </a:extLst>
          </p:cNvPr>
          <p:cNvPicPr>
            <a:picLocks noChangeAspect="1"/>
          </p:cNvPicPr>
          <p:nvPr/>
        </p:nvPicPr>
        <p:blipFill rotWithShape="1">
          <a:blip r:embed="rId3"/>
          <a:srcRect l="3352" r="4222" b="11628"/>
          <a:stretch/>
        </p:blipFill>
        <p:spPr>
          <a:xfrm>
            <a:off x="7855384" y="1652316"/>
            <a:ext cx="1596615" cy="1739176"/>
          </a:xfrm>
          <a:prstGeom prst="rect">
            <a:avLst/>
          </a:prstGeom>
        </p:spPr>
      </p:pic>
      <p:sp>
        <p:nvSpPr>
          <p:cNvPr id="14" name="TextBox 13">
            <a:extLst>
              <a:ext uri="{FF2B5EF4-FFF2-40B4-BE49-F238E27FC236}">
                <a16:creationId xmlns:a16="http://schemas.microsoft.com/office/drawing/2014/main" id="{A65F61FC-D646-EE40-7CC1-183F4CFC81BC}"/>
              </a:ext>
            </a:extLst>
          </p:cNvPr>
          <p:cNvSpPr txBox="1"/>
          <p:nvPr/>
        </p:nvSpPr>
        <p:spPr>
          <a:xfrm>
            <a:off x="9451999" y="1549818"/>
            <a:ext cx="2259276" cy="1938992"/>
          </a:xfrm>
          <a:prstGeom prst="rect">
            <a:avLst/>
          </a:prstGeom>
          <a:noFill/>
        </p:spPr>
        <p:txBody>
          <a:bodyPr wrap="square">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0000"/>
                </a:solidFill>
                <a:effectLst/>
                <a:uLnTx/>
                <a:uFillTx/>
                <a:latin typeface="Calibri" panose="020F0502020204030204"/>
                <a:ea typeface="+mn-ea"/>
                <a:cs typeface="+mn-cs"/>
              </a:rPr>
              <a:t>WHO recommends the use of malaria vaccines for the prevention of </a:t>
            </a:r>
            <a:r>
              <a:rPr kumimoji="0" lang="en-US" sz="1500" b="1" i="1" u="none" strike="noStrike" kern="1200" cap="none" spc="0" normalizeH="0" baseline="0" noProof="0">
                <a:ln>
                  <a:noFill/>
                </a:ln>
                <a:solidFill>
                  <a:srgbClr val="000000"/>
                </a:solidFill>
                <a:effectLst/>
                <a:uLnTx/>
                <a:uFillTx/>
                <a:latin typeface="Calibri" panose="020F0502020204030204"/>
                <a:ea typeface="+mn-ea"/>
                <a:cs typeface="+mn-cs"/>
              </a:rPr>
              <a:t>P. falciparum </a:t>
            </a:r>
            <a:r>
              <a:rPr kumimoji="0" lang="en-US" sz="1500" b="1" i="0" u="none" strike="noStrike" kern="1200" cap="none" spc="0" normalizeH="0" baseline="0" noProof="0">
                <a:ln>
                  <a:noFill/>
                </a:ln>
                <a:solidFill>
                  <a:srgbClr val="000000"/>
                </a:solidFill>
                <a:effectLst/>
                <a:uLnTx/>
                <a:uFillTx/>
                <a:latin typeface="Calibri" panose="020F0502020204030204"/>
                <a:ea typeface="+mn-ea"/>
                <a:cs typeface="+mn-cs"/>
              </a:rPr>
              <a:t>malaria in children living in malaria endemic areas, </a:t>
            </a:r>
            <a:r>
              <a:rPr kumimoji="0" lang="en-US" sz="1500" b="0" i="0" u="none" strike="noStrike" kern="1200" cap="none" spc="0" normalizeH="0" baseline="0" noProof="0">
                <a:ln>
                  <a:noFill/>
                </a:ln>
                <a:solidFill>
                  <a:srgbClr val="000000"/>
                </a:solidFill>
                <a:effectLst/>
                <a:uLnTx/>
                <a:uFillTx/>
                <a:latin typeface="Calibri" panose="020F0502020204030204"/>
                <a:ea typeface="+mn-ea"/>
                <a:cs typeface="+mn-cs"/>
              </a:rPr>
              <a:t>prioritizing areas of moderate and high transmission</a:t>
            </a:r>
          </a:p>
        </p:txBody>
      </p:sp>
      <p:sp>
        <p:nvSpPr>
          <p:cNvPr id="16" name="TextBox 15">
            <a:extLst>
              <a:ext uri="{FF2B5EF4-FFF2-40B4-BE49-F238E27FC236}">
                <a16:creationId xmlns:a16="http://schemas.microsoft.com/office/drawing/2014/main" id="{0E66C4B4-C704-BC65-AF2C-D634BC809850}"/>
              </a:ext>
            </a:extLst>
          </p:cNvPr>
          <p:cNvSpPr txBox="1"/>
          <p:nvPr/>
        </p:nvSpPr>
        <p:spPr>
          <a:xfrm>
            <a:off x="7749628" y="3702871"/>
            <a:ext cx="3794771" cy="1862048"/>
          </a:xfrm>
          <a:prstGeom prst="rect">
            <a:avLst/>
          </a:prstGeom>
          <a:noFill/>
        </p:spPr>
        <p:txBody>
          <a:bodyPr wrap="square">
            <a:spAutoFit/>
          </a:bodyPr>
          <a:lstStyle/>
          <a:p>
            <a:pPr marL="285737" marR="0" lvl="0" indent="-285737" algn="l" defTabSz="91435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000000"/>
                </a:solidFill>
                <a:effectLst/>
                <a:uLnTx/>
                <a:uFillTx/>
                <a:latin typeface="Calibri" panose="020F0502020204030204"/>
                <a:ea typeface="+mn-ea"/>
                <a:cs typeface="+mn-cs"/>
              </a:rPr>
              <a:t>4-dose schedule from around 5 months of age</a:t>
            </a:r>
            <a:r>
              <a:rPr kumimoji="0" lang="en-US" sz="1500" b="0" i="0" u="none" strike="noStrike" kern="1200" cap="none" spc="0" normalizeH="0" baseline="30000" noProof="0">
                <a:ln>
                  <a:noFill/>
                </a:ln>
                <a:solidFill>
                  <a:srgbClr val="000000"/>
                </a:solidFill>
                <a:effectLst/>
                <a:uLnTx/>
                <a:uFillTx/>
                <a:latin typeface="Calibri" panose="020F0502020204030204"/>
                <a:ea typeface="+mn-ea"/>
                <a:cs typeface="+mn-cs"/>
              </a:rPr>
              <a:t>1</a:t>
            </a:r>
            <a:endParaRPr kumimoji="0" lang="en-US" sz="1500" b="0" i="0" u="none" strike="noStrike" kern="1200" cap="none" spc="0" normalizeH="0" baseline="30000" noProof="0">
              <a:ln>
                <a:noFill/>
              </a:ln>
              <a:solidFill>
                <a:srgbClr val="000000"/>
              </a:solidFill>
              <a:effectLst/>
              <a:uLnTx/>
              <a:uFillTx/>
              <a:latin typeface="Calibri" panose="020F0502020204030204"/>
              <a:ea typeface="Calibri"/>
              <a:cs typeface="Calibri"/>
            </a:endParaRPr>
          </a:p>
          <a:p>
            <a:pPr marL="285737" marR="0" lvl="0" indent="-285737" algn="l" defTabSz="91435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000000"/>
                </a:solidFill>
                <a:effectLst/>
                <a:uLnTx/>
                <a:uFillTx/>
                <a:latin typeface="Calibri" panose="020F0502020204030204"/>
                <a:ea typeface="+mn-ea"/>
                <a:cs typeface="+mn-cs"/>
              </a:rPr>
              <a:t>A 5th dose, given one year after dose 4, may be provided where malaria risk remains high </a:t>
            </a:r>
            <a:endParaRPr kumimoji="0" lang="en-US" sz="15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marL="285737" marR="0" lvl="0" indent="-285737" algn="l" defTabSz="914358" rtl="0" eaLnBrk="1" fontAlgn="auto" latinLnBrk="0" hangingPunct="1">
              <a:lnSpc>
                <a:spcPct val="100000"/>
              </a:lnSpc>
              <a:spcBef>
                <a:spcPts val="0"/>
              </a:spcBef>
              <a:spcAft>
                <a:spcPts val="600"/>
              </a:spcAft>
              <a:buClrTx/>
              <a:buSzPts val="1200"/>
              <a:buFont typeface="Arial" panose="020B0604020202020204" pitchFamily="34" charset="0"/>
              <a:buChar char="•"/>
              <a:tabLst/>
              <a:defRPr/>
            </a:pPr>
            <a:r>
              <a:rPr kumimoji="0" lang="en-US" sz="1500" b="0" i="0" u="none" strike="noStrike" kern="1200" cap="none" spc="0" normalizeH="0" baseline="0" noProof="0">
                <a:ln>
                  <a:noFill/>
                </a:ln>
                <a:solidFill>
                  <a:srgbClr val="000000"/>
                </a:solidFill>
                <a:effectLst/>
                <a:uLnTx/>
                <a:uFillTx/>
                <a:latin typeface="Calibri" panose="020F0502020204030204"/>
                <a:ea typeface="+mn-ea"/>
                <a:cs typeface="+mn-cs"/>
              </a:rPr>
              <a:t>Provided as part of a comprehensive malaria control strategy</a:t>
            </a:r>
          </a:p>
        </p:txBody>
      </p:sp>
      <p:sp>
        <p:nvSpPr>
          <p:cNvPr id="17" name="TextBox 16">
            <a:extLst>
              <a:ext uri="{FF2B5EF4-FFF2-40B4-BE49-F238E27FC236}">
                <a16:creationId xmlns:a16="http://schemas.microsoft.com/office/drawing/2014/main" id="{A2E3C0C0-7FE2-6E61-6BB0-29B2E7F8B721}"/>
              </a:ext>
            </a:extLst>
          </p:cNvPr>
          <p:cNvSpPr txBox="1"/>
          <p:nvPr/>
        </p:nvSpPr>
        <p:spPr>
          <a:xfrm>
            <a:off x="1852613" y="6318874"/>
            <a:ext cx="3794771" cy="623248"/>
          </a:xfrm>
          <a:prstGeom prst="rect">
            <a:avLst/>
          </a:prstGeom>
          <a:noFill/>
        </p:spPr>
        <p:txBody>
          <a:bodyPr wrap="square">
            <a:spAutoFit/>
          </a:bodyPr>
          <a:lstStyle/>
          <a:p>
            <a:pPr marL="0" marR="0" lvl="0" indent="0" algn="l" defTabSz="914358" rtl="0" eaLnBrk="1" fontAlgn="auto" latinLnBrk="0" hangingPunct="1">
              <a:lnSpc>
                <a:spcPct val="100000"/>
              </a:lnSpc>
              <a:spcBef>
                <a:spcPts val="0"/>
              </a:spcBef>
              <a:spcAft>
                <a:spcPts val="0"/>
              </a:spcAft>
              <a:buClrTx/>
              <a:buSzPts val="1200"/>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Arial"/>
                <a:sym typeface="Arial"/>
              </a:rPr>
              <a:t>*Strategic Advisory Group of Experts on Immunization (SAGE) and Malaria Policy Advisory Group (MPAG)</a:t>
            </a:r>
          </a:p>
          <a:p>
            <a:pPr marL="176205" marR="0" lvl="0" indent="0" algn="l" defTabSz="914358"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4405102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A2BDA24-2E81-7302-E381-FF0AD5CB871E}"/>
              </a:ext>
            </a:extLst>
          </p:cNvPr>
          <p:cNvSpPr>
            <a:spLocks noGrp="1"/>
          </p:cNvSpPr>
          <p:nvPr>
            <p:ph type="sldNum" sz="quarter" idx="12"/>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FFFFFF"/>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5</a:t>
            </a:fld>
            <a:endParaRPr kumimoji="0" lang="en-GB" sz="728" b="0" i="0" u="none" strike="noStrike" kern="1200" cap="none" spc="0" normalizeH="0" baseline="0" noProof="0">
              <a:ln>
                <a:noFill/>
              </a:ln>
              <a:solidFill>
                <a:srgbClr val="FFFFFF"/>
              </a:solidFill>
              <a:effectLst/>
              <a:uLnTx/>
              <a:uFillTx/>
              <a:latin typeface="Poppins" pitchFamily="2" charset="77"/>
              <a:ea typeface="+mn-ea"/>
              <a:cs typeface="Poppins" pitchFamily="2" charset="77"/>
            </a:endParaRPr>
          </a:p>
        </p:txBody>
      </p:sp>
      <p:sp>
        <p:nvSpPr>
          <p:cNvPr id="6" name="Text Placeholder 5">
            <a:extLst>
              <a:ext uri="{FF2B5EF4-FFF2-40B4-BE49-F238E27FC236}">
                <a16:creationId xmlns:a16="http://schemas.microsoft.com/office/drawing/2014/main" id="{0ABB7331-8249-10BE-F684-D3425F0706E4}"/>
              </a:ext>
            </a:extLst>
          </p:cNvPr>
          <p:cNvSpPr>
            <a:spLocks noGrp="1"/>
          </p:cNvSpPr>
          <p:nvPr>
            <p:ph type="body" sz="quarter" idx="13"/>
          </p:nvPr>
        </p:nvSpPr>
        <p:spPr>
          <a:xfrm>
            <a:off x="1498330" y="3196340"/>
            <a:ext cx="9195342" cy="465320"/>
          </a:xfrm>
        </p:spPr>
        <p:txBody>
          <a:bodyPr/>
          <a:lstStyle/>
          <a:p>
            <a:r>
              <a:rPr lang="en-GB" sz="2668"/>
              <a:t>GLOBAL &amp; REGIONAL REPORTS</a:t>
            </a:r>
          </a:p>
        </p:txBody>
      </p:sp>
      <p:pic>
        <p:nvPicPr>
          <p:cNvPr id="2" name="Graphic 1">
            <a:extLst>
              <a:ext uri="{FF2B5EF4-FFF2-40B4-BE49-F238E27FC236}">
                <a16:creationId xmlns:a16="http://schemas.microsoft.com/office/drawing/2014/main" id="{640C029E-8C38-56AE-3A1A-06391150D5D4}"/>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1699"/>
          <a:stretch/>
        </p:blipFill>
        <p:spPr>
          <a:xfrm>
            <a:off x="10479596" y="110032"/>
            <a:ext cx="1500191" cy="1675688"/>
          </a:xfrm>
          <a:prstGeom prst="rect">
            <a:avLst/>
          </a:prstGeom>
        </p:spPr>
      </p:pic>
    </p:spTree>
    <p:extLst>
      <p:ext uri="{BB962C8B-B14F-4D97-AF65-F5344CB8AC3E}">
        <p14:creationId xmlns:p14="http://schemas.microsoft.com/office/powerpoint/2010/main" val="3955565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97791-89F3-1FCD-0EF4-0765DB36DC2C}"/>
            </a:ext>
          </a:extLst>
        </p:cNvPr>
        <p:cNvGrpSpPr/>
        <p:nvPr/>
      </p:nvGrpSpPr>
      <p:grpSpPr>
        <a:xfrm>
          <a:off x="0" y="0"/>
          <a:ext cx="0" cy="0"/>
          <a:chOff x="0" y="0"/>
          <a:chExt cx="0" cy="0"/>
        </a:xfrm>
      </p:grpSpPr>
      <p:sp>
        <p:nvSpPr>
          <p:cNvPr id="4" name="Arrow: Down 3">
            <a:extLst>
              <a:ext uri="{FF2B5EF4-FFF2-40B4-BE49-F238E27FC236}">
                <a16:creationId xmlns:a16="http://schemas.microsoft.com/office/drawing/2014/main" id="{61F5F32E-64CA-5366-35DF-F0CD05478C26}"/>
              </a:ext>
            </a:extLst>
          </p:cNvPr>
          <p:cNvSpPr/>
          <p:nvPr/>
        </p:nvSpPr>
        <p:spPr>
          <a:xfrm>
            <a:off x="1645910" y="2250476"/>
            <a:ext cx="391160" cy="1005769"/>
          </a:xfrm>
          <a:prstGeom prst="downArrow">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B821F1F0-6D0C-DABA-C746-C2F4AB39870A}"/>
              </a:ext>
            </a:extLst>
          </p:cNvPr>
          <p:cNvSpPr/>
          <p:nvPr/>
        </p:nvSpPr>
        <p:spPr>
          <a:xfrm>
            <a:off x="2030440" y="3349130"/>
            <a:ext cx="3945052" cy="640035"/>
          </a:xfrm>
          <a:prstGeom prst="rect">
            <a:avLst/>
          </a:prstGeom>
          <a:solidFill>
            <a:schemeClr val="tx2">
              <a:lumMod val="10000"/>
              <a:lumOff val="90000"/>
            </a:schemeClr>
          </a:solidFill>
          <a:ln w="31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mn-ea"/>
                <a:cs typeface="+mn-cs"/>
              </a:rPr>
              <a:t>3 doses </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56% [40, 67]  average effectiveness</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34ECE4D-4CD5-395D-3D3A-F9E05808E769}"/>
              </a:ext>
            </a:extLst>
          </p:cNvPr>
          <p:cNvSpPr/>
          <p:nvPr/>
        </p:nvSpPr>
        <p:spPr>
          <a:xfrm>
            <a:off x="5978849" y="2973528"/>
            <a:ext cx="4204152" cy="640035"/>
          </a:xfrm>
          <a:prstGeom prst="rect">
            <a:avLst/>
          </a:prstGeom>
          <a:solidFill>
            <a:schemeClr val="tx2">
              <a:lumMod val="10000"/>
              <a:lumOff val="90000"/>
            </a:schemeClr>
          </a:solidFill>
          <a:ln w="31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4 doses</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54%  [39, 66] average effectiveness</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987E6581-D392-819D-92C0-17460B05CE14}"/>
              </a:ext>
            </a:extLst>
          </p:cNvPr>
          <p:cNvSpPr/>
          <p:nvPr/>
        </p:nvSpPr>
        <p:spPr>
          <a:xfrm>
            <a:off x="5978849" y="3857292"/>
            <a:ext cx="4204152" cy="640035"/>
          </a:xfrm>
          <a:prstGeom prst="rect">
            <a:avLst/>
          </a:prstGeom>
          <a:solidFill>
            <a:schemeClr val="tx2">
              <a:lumMod val="25000"/>
              <a:lumOff val="75000"/>
            </a:schemeClr>
          </a:solidFill>
          <a:ln w="31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mn-ea"/>
                <a:cs typeface="+mn-cs"/>
              </a:rPr>
              <a:t>3 doses </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35% [15, 50] average effectiveness</a:t>
            </a:r>
          </a:p>
        </p:txBody>
      </p:sp>
      <p:sp>
        <p:nvSpPr>
          <p:cNvPr id="12" name="TextBox 11">
            <a:extLst>
              <a:ext uri="{FF2B5EF4-FFF2-40B4-BE49-F238E27FC236}">
                <a16:creationId xmlns:a16="http://schemas.microsoft.com/office/drawing/2014/main" id="{8A177107-B1CA-3BB8-6CFF-384AF46D177E}"/>
              </a:ext>
            </a:extLst>
          </p:cNvPr>
          <p:cNvSpPr txBox="1"/>
          <p:nvPr/>
        </p:nvSpPr>
        <p:spPr>
          <a:xfrm>
            <a:off x="1353390" y="1853265"/>
            <a:ext cx="1624934" cy="369332"/>
          </a:xfrm>
          <a:prstGeom prst="rect">
            <a:avLst/>
          </a:prstGeom>
          <a:noFill/>
        </p:spPr>
        <p:txBody>
          <a:bodyPr wrap="squar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Dose 3</a:t>
            </a: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9" name="Straight Arrow Connector 18">
            <a:extLst>
              <a:ext uri="{FF2B5EF4-FFF2-40B4-BE49-F238E27FC236}">
                <a16:creationId xmlns:a16="http://schemas.microsoft.com/office/drawing/2014/main" id="{B5A5CD41-A25D-7472-F789-392019B2A0C5}"/>
              </a:ext>
            </a:extLst>
          </p:cNvPr>
          <p:cNvCxnSpPr>
            <a:cxnSpLocks/>
          </p:cNvCxnSpPr>
          <p:nvPr/>
        </p:nvCxnSpPr>
        <p:spPr>
          <a:xfrm>
            <a:off x="2067842" y="4728835"/>
            <a:ext cx="3605623" cy="0"/>
          </a:xfrm>
          <a:prstGeom prst="straightConnector1">
            <a:avLst/>
          </a:prstGeom>
          <a:ln>
            <a:headEnd type="triangle" w="lg" len="lg"/>
            <a:tailEnd type="triangle" w="lg" len="lg"/>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F65604ED-561F-0598-A1E4-D5E8D61D4873}"/>
              </a:ext>
            </a:extLst>
          </p:cNvPr>
          <p:cNvSpPr txBox="1"/>
          <p:nvPr/>
        </p:nvSpPr>
        <p:spPr>
          <a:xfrm>
            <a:off x="1386068" y="4812883"/>
            <a:ext cx="4518929" cy="523220"/>
          </a:xfrm>
          <a:prstGeom prst="rect">
            <a:avLst/>
          </a:prstGeom>
          <a:noFill/>
        </p:spPr>
        <p:txBody>
          <a:bodyPr wrap="square" rtlCol="0">
            <a:sp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4472C4"/>
                </a:solidFill>
                <a:effectLst/>
                <a:uLnTx/>
                <a:uFillTx/>
                <a:latin typeface="Calibri" panose="020F0502020204030204"/>
                <a:ea typeface="+mn-ea"/>
                <a:cs typeface="+mn-cs"/>
              </a:rPr>
              <a:t>Median time since Dose 3, 9 months </a:t>
            </a:r>
            <a:r>
              <a:rPr kumimoji="0" lang="en-US" sz="1100" b="0" i="1" u="none" strike="noStrike" kern="1200" cap="none" spc="0" normalizeH="0" baseline="0" noProof="0">
                <a:ln>
                  <a:noFill/>
                </a:ln>
                <a:solidFill>
                  <a:srgbClr val="4472C4"/>
                </a:solidFill>
                <a:effectLst/>
                <a:uLnTx/>
                <a:uFillTx/>
                <a:latin typeface="Calibri" panose="020F0502020204030204"/>
                <a:ea typeface="+mn-ea"/>
                <a:cs typeface="+mn-cs"/>
              </a:rPr>
              <a:t>(IQR 5, 11)</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4472C4"/>
                </a:solidFill>
                <a:effectLst/>
                <a:uLnTx/>
                <a:uFillTx/>
                <a:latin typeface="Calibri" panose="020F0502020204030204"/>
                <a:ea typeface="+mn-ea"/>
                <a:cs typeface="+mn-cs"/>
              </a:rPr>
              <a:t>Median age of severe malaria cases, 18 months </a:t>
            </a:r>
            <a:r>
              <a:rPr kumimoji="0" lang="en-US" sz="1100" b="0" i="1" u="none" strike="noStrike" kern="1200" cap="none" spc="0" normalizeH="0" baseline="0" noProof="0">
                <a:ln>
                  <a:noFill/>
                </a:ln>
                <a:solidFill>
                  <a:srgbClr val="4472C4"/>
                </a:solidFill>
                <a:effectLst/>
                <a:uLnTx/>
                <a:uFillTx/>
                <a:latin typeface="Calibri" panose="020F0502020204030204"/>
                <a:ea typeface="+mn-ea"/>
                <a:cs typeface="+mn-cs"/>
              </a:rPr>
              <a:t>(IQR 14, 20)</a:t>
            </a:r>
            <a:endParaRPr kumimoji="0" lang="en-GB" sz="1100" b="0" i="1" u="none" strike="noStrike" kern="1200" cap="none" spc="0" normalizeH="0" baseline="0" noProof="0">
              <a:ln>
                <a:noFill/>
              </a:ln>
              <a:solidFill>
                <a:srgbClr val="4472C4"/>
              </a:solidFill>
              <a:effectLst/>
              <a:uLnTx/>
              <a:uFillTx/>
              <a:latin typeface="Calibri" panose="020F0502020204030204"/>
              <a:ea typeface="+mn-ea"/>
              <a:cs typeface="+mn-cs"/>
            </a:endParaRPr>
          </a:p>
        </p:txBody>
      </p:sp>
      <p:sp>
        <p:nvSpPr>
          <p:cNvPr id="3" name="Arrow: Bent 2">
            <a:extLst>
              <a:ext uri="{FF2B5EF4-FFF2-40B4-BE49-F238E27FC236}">
                <a16:creationId xmlns:a16="http://schemas.microsoft.com/office/drawing/2014/main" id="{54D2C70D-709F-CCB0-197E-D9673C070F0B}"/>
              </a:ext>
            </a:extLst>
          </p:cNvPr>
          <p:cNvSpPr/>
          <p:nvPr/>
        </p:nvSpPr>
        <p:spPr>
          <a:xfrm>
            <a:off x="5809105" y="3256414"/>
            <a:ext cx="391161" cy="580291"/>
          </a:xfrm>
          <a:prstGeom prst="bentArrow">
            <a:avLst>
              <a:gd name="adj1" fmla="val 50000"/>
              <a:gd name="adj2" fmla="val 25000"/>
              <a:gd name="adj3" fmla="val 22405"/>
              <a:gd name="adj4" fmla="val 4375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Arrow: Bent 8">
            <a:extLst>
              <a:ext uri="{FF2B5EF4-FFF2-40B4-BE49-F238E27FC236}">
                <a16:creationId xmlns:a16="http://schemas.microsoft.com/office/drawing/2014/main" id="{E6980F4E-3899-9E29-F438-6D26E4BF245E}"/>
              </a:ext>
            </a:extLst>
          </p:cNvPr>
          <p:cNvSpPr/>
          <p:nvPr/>
        </p:nvSpPr>
        <p:spPr>
          <a:xfrm flipV="1">
            <a:off x="5809105" y="3617952"/>
            <a:ext cx="391161" cy="580291"/>
          </a:xfrm>
          <a:prstGeom prst="bentArrow">
            <a:avLst>
              <a:gd name="adj1" fmla="val 50000"/>
              <a:gd name="adj2" fmla="val 25000"/>
              <a:gd name="adj3" fmla="val 25000"/>
              <a:gd name="adj4" fmla="val 4375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1320AA43-384E-541D-2BB8-1123EC1F9804}"/>
              </a:ext>
            </a:extLst>
          </p:cNvPr>
          <p:cNvSpPr txBox="1"/>
          <p:nvPr/>
        </p:nvSpPr>
        <p:spPr>
          <a:xfrm>
            <a:off x="5922073" y="4803361"/>
            <a:ext cx="4715916" cy="523220"/>
          </a:xfrm>
          <a:prstGeom prst="rect">
            <a:avLst/>
          </a:prstGeom>
          <a:noFill/>
        </p:spPr>
        <p:txBody>
          <a:bodyPr wrap="square" rtlCol="0">
            <a:sp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4472C4"/>
                </a:solidFill>
                <a:effectLst/>
                <a:uLnTx/>
                <a:uFillTx/>
                <a:latin typeface="Calibri" panose="020F0502020204030204"/>
                <a:ea typeface="+mn-ea"/>
                <a:cs typeface="+mn-cs"/>
              </a:rPr>
              <a:t>Median time since dose 3, 20 months </a:t>
            </a:r>
            <a:r>
              <a:rPr kumimoji="0" lang="en-US" sz="1100" b="0" i="1" u="none" strike="noStrike" kern="1200" cap="none" spc="0" normalizeH="0" baseline="0" noProof="0">
                <a:ln>
                  <a:noFill/>
                </a:ln>
                <a:solidFill>
                  <a:srgbClr val="4472C4"/>
                </a:solidFill>
                <a:effectLst/>
                <a:uLnTx/>
                <a:uFillTx/>
                <a:latin typeface="Calibri" panose="020F0502020204030204"/>
                <a:ea typeface="+mn-ea"/>
                <a:cs typeface="+mn-cs"/>
              </a:rPr>
              <a:t>(IQR 15, 25)</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4472C4"/>
                </a:solidFill>
                <a:effectLst/>
                <a:uLnTx/>
                <a:uFillTx/>
                <a:latin typeface="Calibri" panose="020F0502020204030204"/>
                <a:ea typeface="+mn-ea"/>
                <a:cs typeface="+mn-cs"/>
              </a:rPr>
              <a:t>Median age of severe malaria cases, 30 months </a:t>
            </a:r>
            <a:r>
              <a:rPr kumimoji="0" lang="en-US" sz="1100" b="0" i="1" u="none" strike="noStrike" kern="1200" cap="none" spc="0" normalizeH="0" baseline="0" noProof="0">
                <a:ln>
                  <a:noFill/>
                </a:ln>
                <a:solidFill>
                  <a:srgbClr val="4472C4"/>
                </a:solidFill>
                <a:effectLst/>
                <a:uLnTx/>
                <a:uFillTx/>
                <a:latin typeface="Calibri" panose="020F0502020204030204"/>
                <a:ea typeface="+mn-ea"/>
                <a:cs typeface="+mn-cs"/>
              </a:rPr>
              <a:t>(IQR 25, 36)  </a:t>
            </a:r>
            <a:endParaRPr kumimoji="0" lang="en-GB" sz="1100" b="0" i="1" u="none" strike="noStrike" kern="1200" cap="none" spc="0" normalizeH="0" baseline="0" noProof="0">
              <a:ln>
                <a:noFill/>
              </a:ln>
              <a:solidFill>
                <a:srgbClr val="4472C4"/>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6B24BB5F-233F-705A-83B1-6263E742AB92}"/>
              </a:ext>
            </a:extLst>
          </p:cNvPr>
          <p:cNvSpPr txBox="1"/>
          <p:nvPr/>
        </p:nvSpPr>
        <p:spPr>
          <a:xfrm>
            <a:off x="5121253" y="4150485"/>
            <a:ext cx="1703651" cy="461665"/>
          </a:xfrm>
          <a:prstGeom prst="rect">
            <a:avLst/>
          </a:prstGeom>
          <a:noFill/>
        </p:spPr>
        <p:txBody>
          <a:bodyPr wrap="squar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No Dose 4 </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received</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Title 1">
            <a:extLst>
              <a:ext uri="{FF2B5EF4-FFF2-40B4-BE49-F238E27FC236}">
                <a16:creationId xmlns:a16="http://schemas.microsoft.com/office/drawing/2014/main" id="{13D7E2A1-6850-B968-150B-5759D49FAB0F}"/>
              </a:ext>
            </a:extLst>
          </p:cNvPr>
          <p:cNvSpPr txBox="1">
            <a:spLocks/>
          </p:cNvSpPr>
          <p:nvPr/>
        </p:nvSpPr>
        <p:spPr>
          <a:xfrm>
            <a:off x="378471" y="166620"/>
            <a:ext cx="10576274" cy="640035"/>
          </a:xfrm>
          <a:prstGeom prst="rect">
            <a:avLst/>
          </a:prstGeom>
        </p:spPr>
        <p:txBody>
          <a:bodyPr vert="horz" lIns="91434" tIns="45717" rIns="91434" bIns="45717"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358" rtl="0" eaLnBrk="1" fontAlgn="auto" latinLnBrk="0" hangingPunct="1">
              <a:lnSpc>
                <a:spcPct val="90000"/>
              </a:lnSpc>
              <a:spcBef>
                <a:spcPct val="0"/>
              </a:spcBef>
              <a:spcAft>
                <a:spcPts val="0"/>
              </a:spcAft>
              <a:buClrTx/>
              <a:buSzTx/>
              <a:buFontTx/>
              <a:buNone/>
              <a:tabLst/>
              <a:defRPr/>
            </a:pPr>
            <a:r>
              <a:rPr kumimoji="0" lang="en-US" sz="2000" b="1" i="0" u="sng" strike="noStrike" kern="1200" cap="none" spc="0" normalizeH="0" baseline="0" noProof="0">
                <a:ln>
                  <a:noFill/>
                </a:ln>
                <a:solidFill>
                  <a:prstClr val="black"/>
                </a:solidFill>
                <a:effectLst/>
                <a:uLnTx/>
                <a:uFillTx/>
                <a:latin typeface="Calibri" panose="020F0502020204030204"/>
                <a:ea typeface="+mj-ea"/>
                <a:cs typeface="+mj-cs"/>
              </a:rPr>
              <a:t>Key result from case-control study: </a:t>
            </a:r>
            <a:r>
              <a:rPr kumimoji="0" lang="en-US" sz="2000" b="1" i="0" u="none" strike="noStrike" kern="1200" cap="none" spc="0" normalizeH="0" baseline="0" noProof="0">
                <a:ln>
                  <a:noFill/>
                </a:ln>
                <a:solidFill>
                  <a:prstClr val="black"/>
                </a:solidFill>
                <a:effectLst/>
                <a:uLnTx/>
                <a:uFillTx/>
                <a:latin typeface="Calibri" panose="020F0502020204030204"/>
                <a:ea typeface="+mj-ea"/>
                <a:cs typeface="+mj-cs"/>
              </a:rPr>
              <a:t>Effectiveness against severe malaria by age range, in children who received 3 doses only of RTS,S/AS01 and in children who received 4 doses of RTS,S/AS01</a:t>
            </a:r>
          </a:p>
        </p:txBody>
      </p:sp>
      <p:sp>
        <p:nvSpPr>
          <p:cNvPr id="35" name="Arrow: Down 34">
            <a:extLst>
              <a:ext uri="{FF2B5EF4-FFF2-40B4-BE49-F238E27FC236}">
                <a16:creationId xmlns:a16="http://schemas.microsoft.com/office/drawing/2014/main" id="{A0AD1242-468F-E80A-FA18-9E604D17CDE3}"/>
              </a:ext>
            </a:extLst>
          </p:cNvPr>
          <p:cNvSpPr/>
          <p:nvPr/>
        </p:nvSpPr>
        <p:spPr>
          <a:xfrm>
            <a:off x="5726493" y="2346574"/>
            <a:ext cx="391160" cy="613124"/>
          </a:xfrm>
          <a:prstGeom prst="downArrow">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27B022A0-E561-F4BA-0567-FDEFB12B5E1D}"/>
              </a:ext>
            </a:extLst>
          </p:cNvPr>
          <p:cNvSpPr txBox="1"/>
          <p:nvPr/>
        </p:nvSpPr>
        <p:spPr>
          <a:xfrm>
            <a:off x="5537203" y="1865203"/>
            <a:ext cx="1624934" cy="369332"/>
          </a:xfrm>
          <a:prstGeom prst="rect">
            <a:avLst/>
          </a:prstGeom>
          <a:noFill/>
        </p:spPr>
        <p:txBody>
          <a:bodyPr wrap="squar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Dose 4</a:t>
            </a: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Cross 36">
            <a:extLst>
              <a:ext uri="{FF2B5EF4-FFF2-40B4-BE49-F238E27FC236}">
                <a16:creationId xmlns:a16="http://schemas.microsoft.com/office/drawing/2014/main" id="{2CD2B950-16D1-C3BB-992C-D1F39F655480}"/>
              </a:ext>
            </a:extLst>
          </p:cNvPr>
          <p:cNvSpPr/>
          <p:nvPr/>
        </p:nvSpPr>
        <p:spPr>
          <a:xfrm rot="2841898">
            <a:off x="6004801" y="4155563"/>
            <a:ext cx="365734" cy="365734"/>
          </a:xfrm>
          <a:prstGeom prst="plus">
            <a:avLst>
              <a:gd name="adj" fmla="val 42352"/>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FB26E494-A2A5-5BA3-74C7-A3D40C466E13}"/>
              </a:ext>
            </a:extLst>
          </p:cNvPr>
          <p:cNvCxnSpPr>
            <a:cxnSpLocks/>
          </p:cNvCxnSpPr>
          <p:nvPr/>
        </p:nvCxnSpPr>
        <p:spPr>
          <a:xfrm>
            <a:off x="6048251" y="4728835"/>
            <a:ext cx="4065347" cy="0"/>
          </a:xfrm>
          <a:prstGeom prst="straightConnector1">
            <a:avLst/>
          </a:prstGeom>
          <a:ln>
            <a:headEnd type="triangle"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2CAFB48A-5DDF-C49A-1509-39AFB8036FEA}"/>
              </a:ext>
            </a:extLst>
          </p:cNvPr>
          <p:cNvCxnSpPr>
            <a:cxnSpLocks/>
          </p:cNvCxnSpPr>
          <p:nvPr/>
        </p:nvCxnSpPr>
        <p:spPr>
          <a:xfrm>
            <a:off x="6117654" y="2846299"/>
            <a:ext cx="4065347" cy="0"/>
          </a:xfrm>
          <a:prstGeom prst="straightConnector1">
            <a:avLst/>
          </a:prstGeom>
          <a:ln>
            <a:headEnd type="triangle" w="lg" len="lg"/>
            <a:tailEnd type="triangle" w="lg" len="lg"/>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057C94FB-CC28-B189-3636-F6F0795B8639}"/>
              </a:ext>
            </a:extLst>
          </p:cNvPr>
          <p:cNvSpPr txBox="1"/>
          <p:nvPr/>
        </p:nvSpPr>
        <p:spPr>
          <a:xfrm>
            <a:off x="6004686" y="2251507"/>
            <a:ext cx="4361357" cy="523220"/>
          </a:xfrm>
          <a:prstGeom prst="rect">
            <a:avLst/>
          </a:prstGeom>
          <a:noFill/>
        </p:spPr>
        <p:txBody>
          <a:bodyPr wrap="square" rtlCol="0">
            <a:sp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4472C4"/>
                </a:solidFill>
                <a:effectLst/>
                <a:uLnTx/>
                <a:uFillTx/>
                <a:latin typeface="Calibri" panose="020F0502020204030204"/>
                <a:ea typeface="+mn-ea"/>
                <a:cs typeface="+mn-cs"/>
              </a:rPr>
              <a:t>Median time since Dose 4, 10 months </a:t>
            </a:r>
            <a:r>
              <a:rPr kumimoji="0" lang="en-US" sz="1100" b="0" i="1" u="none" strike="noStrike" kern="1200" cap="none" spc="0" normalizeH="0" baseline="0" noProof="0">
                <a:ln>
                  <a:noFill/>
                </a:ln>
                <a:solidFill>
                  <a:srgbClr val="4472C4"/>
                </a:solidFill>
                <a:effectLst/>
                <a:uLnTx/>
                <a:uFillTx/>
                <a:latin typeface="Calibri" panose="020F0502020204030204"/>
                <a:ea typeface="+mn-ea"/>
                <a:cs typeface="+mn-cs"/>
              </a:rPr>
              <a:t>(IQR 5, 17)</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4472C4"/>
                </a:solidFill>
                <a:effectLst/>
                <a:uLnTx/>
                <a:uFillTx/>
                <a:latin typeface="Calibri" panose="020F0502020204030204"/>
                <a:ea typeface="+mn-ea"/>
                <a:cs typeface="+mn-cs"/>
              </a:rPr>
              <a:t>Median age of severe malaria cases, 33 months </a:t>
            </a:r>
            <a:r>
              <a:rPr kumimoji="0" lang="en-US" sz="1100" b="0" i="1" u="none" strike="noStrike" kern="1200" cap="none" spc="0" normalizeH="0" baseline="0" noProof="0">
                <a:ln>
                  <a:noFill/>
                </a:ln>
                <a:solidFill>
                  <a:srgbClr val="4472C4"/>
                </a:solidFill>
                <a:effectLst/>
                <a:uLnTx/>
                <a:uFillTx/>
                <a:latin typeface="Calibri" panose="020F0502020204030204"/>
                <a:ea typeface="+mn-ea"/>
                <a:cs typeface="+mn-cs"/>
              </a:rPr>
              <a:t>(IQR 29, 42) </a:t>
            </a:r>
            <a:endParaRPr kumimoji="0" lang="en-GB" sz="1100" b="0" i="1" u="none" strike="noStrike" kern="1200" cap="none" spc="0" normalizeH="0" baseline="0" noProof="0">
              <a:ln>
                <a:noFill/>
              </a:ln>
              <a:solidFill>
                <a:srgbClr val="4472C4"/>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77049632-386D-AD5F-3D57-6D82FEF091F9}"/>
              </a:ext>
            </a:extLst>
          </p:cNvPr>
          <p:cNvSpPr txBox="1"/>
          <p:nvPr/>
        </p:nvSpPr>
        <p:spPr>
          <a:xfrm>
            <a:off x="1547767" y="1044251"/>
            <a:ext cx="4439197" cy="830997"/>
          </a:xfrm>
          <a:prstGeom prst="rect">
            <a:avLst/>
          </a:prstGeom>
          <a:noFill/>
        </p:spPr>
        <p:txBody>
          <a:bodyPr wrap="square">
            <a:sp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72C4"/>
                </a:solidFill>
                <a:effectLst/>
                <a:uLnTx/>
                <a:uFillTx/>
                <a:latin typeface="Calibri" panose="020F0502020204030204"/>
                <a:ea typeface="+mn-ea"/>
                <a:cs typeface="+mn-cs"/>
              </a:rPr>
              <a:t>Interval of up to 15 months from when children receive Dose 3 (~7 to 9 months old) until becoming eligible for Dose 4 (22 or 24 months old)</a:t>
            </a:r>
          </a:p>
        </p:txBody>
      </p:sp>
      <p:sp>
        <p:nvSpPr>
          <p:cNvPr id="2" name="Footer Placeholder 1">
            <a:extLst>
              <a:ext uri="{FF2B5EF4-FFF2-40B4-BE49-F238E27FC236}">
                <a16:creationId xmlns:a16="http://schemas.microsoft.com/office/drawing/2014/main" id="{8A1C817C-A859-641D-D19E-594B3433CE72}"/>
              </a:ext>
            </a:extLst>
          </p:cNvPr>
          <p:cNvSpPr>
            <a:spLocks noGrp="1"/>
          </p:cNvSpPr>
          <p:nvPr>
            <p:ph type="ftr" sz="quarter" idx="11"/>
          </p:nvPr>
        </p:nvSpPr>
        <p:spPr>
          <a:xfrm>
            <a:off x="3448838" y="6326281"/>
            <a:ext cx="5286737" cy="365099"/>
          </a:xfrm>
        </p:spPr>
        <p:txBody>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Joint SAGE/MPAG session on malaria vaccines 3 vs 4 dose schedule, Sept 2025</a:t>
            </a: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3" name="Slide Number Placeholder 12">
            <a:extLst>
              <a:ext uri="{FF2B5EF4-FFF2-40B4-BE49-F238E27FC236}">
                <a16:creationId xmlns:a16="http://schemas.microsoft.com/office/drawing/2014/main" id="{9FE8AB23-0E69-1A38-9524-2D5FB65A6A28}"/>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6F789369-E377-4DCE-A813-49D05CD88A1A}" type="slidenum">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358"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6" name="Arrow: Bent 15">
            <a:extLst>
              <a:ext uri="{FF2B5EF4-FFF2-40B4-BE49-F238E27FC236}">
                <a16:creationId xmlns:a16="http://schemas.microsoft.com/office/drawing/2014/main" id="{9E295AFF-D04E-BCBF-8A9D-07032F5D800E}"/>
              </a:ext>
            </a:extLst>
          </p:cNvPr>
          <p:cNvSpPr/>
          <p:nvPr/>
        </p:nvSpPr>
        <p:spPr>
          <a:xfrm flipH="1">
            <a:off x="10113598" y="3256245"/>
            <a:ext cx="239146" cy="470133"/>
          </a:xfrm>
          <a:prstGeom prst="bentArrow">
            <a:avLst>
              <a:gd name="adj1" fmla="val 50000"/>
              <a:gd name="adj2" fmla="val 25000"/>
              <a:gd name="adj3" fmla="val 22405"/>
              <a:gd name="adj4" fmla="val 43750"/>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Arrow: Bent 16">
            <a:extLst>
              <a:ext uri="{FF2B5EF4-FFF2-40B4-BE49-F238E27FC236}">
                <a16:creationId xmlns:a16="http://schemas.microsoft.com/office/drawing/2014/main" id="{620D5170-362B-9AF5-1DA0-369BB93B181A}"/>
              </a:ext>
            </a:extLst>
          </p:cNvPr>
          <p:cNvSpPr/>
          <p:nvPr/>
        </p:nvSpPr>
        <p:spPr>
          <a:xfrm flipH="1" flipV="1">
            <a:off x="10123499" y="3570194"/>
            <a:ext cx="235894" cy="580291"/>
          </a:xfrm>
          <a:prstGeom prst="bentArrow">
            <a:avLst>
              <a:gd name="adj1" fmla="val 50000"/>
              <a:gd name="adj2" fmla="val 25000"/>
              <a:gd name="adj3" fmla="val 25000"/>
              <a:gd name="adj4" fmla="val 43750"/>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DE558A8F-6FA1-57A5-916C-B6DF6EFF6E7C}"/>
              </a:ext>
            </a:extLst>
          </p:cNvPr>
          <p:cNvSpPr txBox="1"/>
          <p:nvPr/>
        </p:nvSpPr>
        <p:spPr>
          <a:xfrm>
            <a:off x="10366043" y="2850047"/>
            <a:ext cx="1712169" cy="1754326"/>
          </a:xfrm>
          <a:prstGeom prst="rect">
            <a:avLst/>
          </a:prstGeom>
          <a:noFill/>
        </p:spPr>
        <p:txBody>
          <a:bodyPr wrap="square">
            <a:sp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4</a:t>
            </a:r>
            <a:r>
              <a:rPr kumimoji="0" lang="en-US" sz="1800" b="1" i="0" u="none" strike="noStrike" kern="1200" cap="none" spc="0" normalizeH="0" baseline="30000" noProof="0">
                <a:ln>
                  <a:noFill/>
                </a:ln>
                <a:solidFill>
                  <a:prstClr val="black"/>
                </a:solidFill>
                <a:effectLst/>
                <a:uLnTx/>
                <a:uFillTx/>
                <a:latin typeface="Calibri" panose="020F0502020204030204"/>
                <a:ea typeface="+mn-ea"/>
                <a:cs typeface="+mn-cs"/>
              </a:rPr>
              <a:t>th</a:t>
            </a: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 dose </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30% [9, 45] incremental effectiveness </a:t>
            </a:r>
          </a:p>
          <a:p>
            <a:pPr marL="0" marR="0" lvl="0" indent="0" algn="ctr" defTabSz="91435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vs. 3 doses alone)</a:t>
            </a:r>
          </a:p>
        </p:txBody>
      </p:sp>
      <p:sp>
        <p:nvSpPr>
          <p:cNvPr id="18" name="Rectangle 17">
            <a:extLst>
              <a:ext uri="{FF2B5EF4-FFF2-40B4-BE49-F238E27FC236}">
                <a16:creationId xmlns:a16="http://schemas.microsoft.com/office/drawing/2014/main" id="{62724D8D-557A-504E-CDFB-36ECB3301A12}"/>
              </a:ext>
            </a:extLst>
          </p:cNvPr>
          <p:cNvSpPr/>
          <p:nvPr/>
        </p:nvSpPr>
        <p:spPr>
          <a:xfrm>
            <a:off x="10359392" y="2782198"/>
            <a:ext cx="1626434" cy="182992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4151AAE7-2C96-504C-4A78-62BD5018BD5B}"/>
              </a:ext>
            </a:extLst>
          </p:cNvPr>
          <p:cNvSpPr txBox="1"/>
          <p:nvPr/>
        </p:nvSpPr>
        <p:spPr>
          <a:xfrm>
            <a:off x="263152" y="5934811"/>
            <a:ext cx="9513638" cy="430887"/>
          </a:xfrm>
          <a:prstGeom prst="rect">
            <a:avLst/>
          </a:prstGeom>
          <a:noFill/>
        </p:spPr>
        <p:txBody>
          <a:bodyPr wrap="square" rtlCol="0">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Calibri" panose="020F0502020204030204"/>
                <a:ea typeface="+mn-ea"/>
                <a:cs typeface="+mn-cs"/>
              </a:rPr>
              <a:t>Estimates adjusted for child’s sex, ITN use reported at home visit, caregiver’s highest level of education, and household wealth ranking</a:t>
            </a:r>
          </a:p>
          <a:p>
            <a:pPr marL="0" marR="0" lvl="0" indent="0" algn="l" defTabSz="91435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4-dose schedule in Malawi at 5, 6, 7 and 22 months of age; in Ghana at 6, 7, 9 and 24 months of age; and in Kenya at 6, 7, 9 and 24 months of age. </a:t>
            </a:r>
          </a:p>
        </p:txBody>
      </p:sp>
      <p:grpSp>
        <p:nvGrpSpPr>
          <p:cNvPr id="14" name="Group 13">
            <a:extLst>
              <a:ext uri="{FF2B5EF4-FFF2-40B4-BE49-F238E27FC236}">
                <a16:creationId xmlns:a16="http://schemas.microsoft.com/office/drawing/2014/main" id="{2E12D96D-9C26-F4CC-1704-D11DBA890D1D}"/>
              </a:ext>
            </a:extLst>
          </p:cNvPr>
          <p:cNvGrpSpPr/>
          <p:nvPr/>
        </p:nvGrpSpPr>
        <p:grpSpPr>
          <a:xfrm>
            <a:off x="11128991" y="93440"/>
            <a:ext cx="799781" cy="862160"/>
            <a:chOff x="18351825" y="154090"/>
            <a:chExt cx="1318898" cy="1421765"/>
          </a:xfrm>
        </p:grpSpPr>
        <p:sp>
          <p:nvSpPr>
            <p:cNvPr id="21" name="Rectangle 20">
              <a:extLst>
                <a:ext uri="{FF2B5EF4-FFF2-40B4-BE49-F238E27FC236}">
                  <a16:creationId xmlns:a16="http://schemas.microsoft.com/office/drawing/2014/main" id="{AC034AC7-9FD5-0803-EFA9-4BDA336CDFBB}"/>
                </a:ext>
              </a:extLst>
            </p:cNvPr>
            <p:cNvSpPr/>
            <p:nvPr/>
          </p:nvSpPr>
          <p:spPr>
            <a:xfrm>
              <a:off x="18351825" y="154090"/>
              <a:ext cx="1318898" cy="142176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GB" sz="1092"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Graphic 22">
              <a:extLst>
                <a:ext uri="{FF2B5EF4-FFF2-40B4-BE49-F238E27FC236}">
                  <a16:creationId xmlns:a16="http://schemas.microsoft.com/office/drawing/2014/main" id="{1D4A5AB8-BE62-2121-B441-688C5C60B7CC}"/>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5395" b="-1"/>
            <a:stretch>
              <a:fillRect/>
            </a:stretch>
          </p:blipFill>
          <p:spPr>
            <a:xfrm>
              <a:off x="18443316" y="262422"/>
              <a:ext cx="1135916" cy="1205101"/>
            </a:xfrm>
            <a:prstGeom prst="rect">
              <a:avLst/>
            </a:prstGeom>
          </p:spPr>
        </p:pic>
      </p:grpSp>
    </p:spTree>
    <p:extLst>
      <p:ext uri="{BB962C8B-B14F-4D97-AF65-F5344CB8AC3E}">
        <p14:creationId xmlns:p14="http://schemas.microsoft.com/office/powerpoint/2010/main" val="3323115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9005E-227F-5759-2763-96BC29F3E1D4}"/>
              </a:ext>
            </a:extLst>
          </p:cNvPr>
          <p:cNvSpPr>
            <a:spLocks noGrp="1"/>
          </p:cNvSpPr>
          <p:nvPr>
            <p:ph type="title"/>
          </p:nvPr>
        </p:nvSpPr>
        <p:spPr>
          <a:xfrm>
            <a:off x="286158" y="456062"/>
            <a:ext cx="11810171" cy="1004817"/>
          </a:xfrm>
        </p:spPr>
        <p:txBody>
          <a:bodyPr/>
          <a:lstStyle/>
          <a:p>
            <a:r>
              <a:rPr lang="en-US"/>
              <a:t>Summary of RTS,S/AS01 case control study results: Safety and Effectiveness against severe malaria and cerebral malaria</a:t>
            </a:r>
          </a:p>
        </p:txBody>
      </p:sp>
      <p:sp>
        <p:nvSpPr>
          <p:cNvPr id="3" name="Content Placeholder 2">
            <a:extLst>
              <a:ext uri="{FF2B5EF4-FFF2-40B4-BE49-F238E27FC236}">
                <a16:creationId xmlns:a16="http://schemas.microsoft.com/office/drawing/2014/main" id="{A58C43D4-2AFE-E1DC-31D6-2D963C432CB3}"/>
              </a:ext>
            </a:extLst>
          </p:cNvPr>
          <p:cNvSpPr>
            <a:spLocks noGrp="1"/>
          </p:cNvSpPr>
          <p:nvPr>
            <p:ph idx="1"/>
          </p:nvPr>
        </p:nvSpPr>
        <p:spPr>
          <a:xfrm>
            <a:off x="457596" y="1460880"/>
            <a:ext cx="11638733" cy="4638350"/>
          </a:xfrm>
        </p:spPr>
        <p:txBody>
          <a:bodyPr>
            <a:noAutofit/>
          </a:bodyPr>
          <a:lstStyle/>
          <a:p>
            <a:pPr marL="0" indent="0">
              <a:spcBef>
                <a:spcPts val="0"/>
              </a:spcBef>
              <a:buNone/>
              <a:defRPr/>
            </a:pPr>
            <a:r>
              <a:rPr lang="en-US" sz="1500" b="1">
                <a:solidFill>
                  <a:srgbClr val="000000"/>
                </a:solidFill>
                <a:latin typeface="Poppins" panose="00000500000000000000" pitchFamily="2" charset="0"/>
                <a:cs typeface="Poppins" panose="00000500000000000000" pitchFamily="2" charset="0"/>
              </a:rPr>
              <a:t>Severe malaria: </a:t>
            </a:r>
          </a:p>
          <a:p>
            <a:pPr marL="800063" lvl="1" indent="-342884">
              <a:buFont typeface="Wingdings" panose="05000000000000000000" pitchFamily="2" charset="2"/>
              <a:buChar char="ü"/>
              <a:defRPr/>
            </a:pPr>
            <a:r>
              <a:rPr lang="en-US" sz="1500" b="1">
                <a:solidFill>
                  <a:srgbClr val="000000"/>
                </a:solidFill>
                <a:latin typeface="Poppins" panose="00000500000000000000" pitchFamily="2" charset="0"/>
                <a:cs typeface="Poppins" panose="00000500000000000000" pitchFamily="2" charset="0"/>
              </a:rPr>
              <a:t>56% reduction </a:t>
            </a:r>
            <a:r>
              <a:rPr lang="en-US" sz="1500">
                <a:solidFill>
                  <a:srgbClr val="000000"/>
                </a:solidFill>
                <a:latin typeface="Poppins" panose="00000500000000000000" pitchFamily="2" charset="0"/>
                <a:cs typeface="Poppins" panose="00000500000000000000" pitchFamily="2" charset="0"/>
              </a:rPr>
              <a:t>among children receiving three doses during the period until the 4th dose was due</a:t>
            </a:r>
          </a:p>
          <a:p>
            <a:pPr marL="800063" lvl="1" indent="-342884">
              <a:buFont typeface="Wingdings" panose="05000000000000000000" pitchFamily="2" charset="2"/>
              <a:buChar char="ü"/>
              <a:defRPr/>
            </a:pPr>
            <a:r>
              <a:rPr lang="en-US" sz="1500">
                <a:solidFill>
                  <a:srgbClr val="000000"/>
                </a:solidFill>
                <a:latin typeface="Poppins" panose="00000500000000000000" pitchFamily="2" charset="0"/>
                <a:cs typeface="Poppins" panose="00000500000000000000" pitchFamily="2" charset="0"/>
              </a:rPr>
              <a:t>From the age when children were eligible for 4</a:t>
            </a:r>
            <a:r>
              <a:rPr lang="en-US" sz="1500" baseline="30000">
                <a:solidFill>
                  <a:srgbClr val="000000"/>
                </a:solidFill>
                <a:latin typeface="Poppins" panose="00000500000000000000" pitchFamily="2" charset="0"/>
                <a:cs typeface="Poppins" panose="00000500000000000000" pitchFamily="2" charset="0"/>
              </a:rPr>
              <a:t>th</a:t>
            </a:r>
            <a:r>
              <a:rPr lang="en-US" sz="1500">
                <a:solidFill>
                  <a:srgbClr val="000000"/>
                </a:solidFill>
                <a:latin typeface="Poppins" panose="00000500000000000000" pitchFamily="2" charset="0"/>
                <a:cs typeface="Poppins" panose="00000500000000000000" pitchFamily="2" charset="0"/>
              </a:rPr>
              <a:t> dose: </a:t>
            </a:r>
          </a:p>
          <a:p>
            <a:pPr marL="1257242" lvl="2" indent="-342884">
              <a:buFont typeface="Wingdings" panose="05000000000000000000" pitchFamily="2" charset="2"/>
              <a:buChar char="ü"/>
              <a:defRPr/>
            </a:pPr>
            <a:r>
              <a:rPr lang="en-US" sz="1500" b="1">
                <a:solidFill>
                  <a:srgbClr val="000000"/>
                </a:solidFill>
                <a:latin typeface="Poppins" panose="00000500000000000000" pitchFamily="2" charset="0"/>
                <a:cs typeface="Poppins" panose="00000500000000000000" pitchFamily="2" charset="0"/>
              </a:rPr>
              <a:t>35% reduction </a:t>
            </a:r>
            <a:r>
              <a:rPr lang="en-US" sz="1500">
                <a:solidFill>
                  <a:srgbClr val="000000"/>
                </a:solidFill>
                <a:latin typeface="Poppins" panose="00000500000000000000" pitchFamily="2" charset="0"/>
                <a:cs typeface="Poppins" panose="00000500000000000000" pitchFamily="2" charset="0"/>
              </a:rPr>
              <a:t>among children who did not go on to receive the 4th dose</a:t>
            </a:r>
          </a:p>
          <a:p>
            <a:pPr marL="1257242" lvl="2" indent="-342884">
              <a:buFont typeface="Wingdings" panose="05000000000000000000" pitchFamily="2" charset="2"/>
              <a:buChar char="ü"/>
              <a:defRPr/>
            </a:pPr>
            <a:r>
              <a:rPr lang="en-US" sz="1500" b="1">
                <a:solidFill>
                  <a:srgbClr val="000000"/>
                </a:solidFill>
                <a:latin typeface="Poppins" panose="00000500000000000000" pitchFamily="2" charset="0"/>
                <a:cs typeface="Poppins" panose="00000500000000000000" pitchFamily="2" charset="0"/>
              </a:rPr>
              <a:t>54% reduction </a:t>
            </a:r>
            <a:r>
              <a:rPr lang="en-US" sz="1500">
                <a:solidFill>
                  <a:srgbClr val="000000"/>
                </a:solidFill>
                <a:latin typeface="Poppins" panose="00000500000000000000" pitchFamily="2" charset="0"/>
                <a:cs typeface="Poppins" panose="00000500000000000000" pitchFamily="2" charset="0"/>
              </a:rPr>
              <a:t>in those receiving four doses lasting at least 18 months after the 4th dose</a:t>
            </a:r>
          </a:p>
          <a:p>
            <a:pPr marL="800063" lvl="1" indent="-342884">
              <a:buFont typeface="Wingdings" panose="05000000000000000000" pitchFamily="2" charset="2"/>
              <a:buChar char="ü"/>
              <a:defRPr/>
            </a:pPr>
            <a:r>
              <a:rPr lang="en-US" sz="1500" b="1">
                <a:solidFill>
                  <a:srgbClr val="000000"/>
                </a:solidFill>
                <a:latin typeface="Poppins" panose="00000500000000000000" pitchFamily="2" charset="0"/>
                <a:cs typeface="Poppins" panose="00000500000000000000" pitchFamily="2" charset="0"/>
              </a:rPr>
              <a:t>30% incremental effectiveness of dose 4</a:t>
            </a:r>
            <a:r>
              <a:rPr lang="en-US" sz="1500">
                <a:solidFill>
                  <a:srgbClr val="000000"/>
                </a:solidFill>
                <a:latin typeface="Poppins" panose="00000500000000000000" pitchFamily="2" charset="0"/>
                <a:cs typeface="Poppins" panose="00000500000000000000" pitchFamily="2" charset="0"/>
              </a:rPr>
              <a:t>, compared to 3 doses</a:t>
            </a:r>
          </a:p>
          <a:p>
            <a:pPr marL="0" indent="0">
              <a:spcBef>
                <a:spcPts val="0"/>
              </a:spcBef>
              <a:buNone/>
              <a:defRPr/>
            </a:pPr>
            <a:endParaRPr lang="en-US" sz="1500" b="1">
              <a:solidFill>
                <a:srgbClr val="000000"/>
              </a:solidFill>
              <a:latin typeface="Poppins" panose="00000500000000000000" pitchFamily="2" charset="0"/>
              <a:cs typeface="Poppins" panose="00000500000000000000" pitchFamily="2" charset="0"/>
            </a:endParaRPr>
          </a:p>
          <a:p>
            <a:pPr marL="0" indent="0">
              <a:spcBef>
                <a:spcPts val="0"/>
              </a:spcBef>
              <a:buNone/>
              <a:defRPr/>
            </a:pPr>
            <a:r>
              <a:rPr lang="en-US" sz="1500" b="1">
                <a:solidFill>
                  <a:srgbClr val="000000"/>
                </a:solidFill>
                <a:latin typeface="Poppins" panose="00000500000000000000" pitchFamily="2" charset="0"/>
                <a:cs typeface="Poppins" panose="00000500000000000000" pitchFamily="2" charset="0"/>
              </a:rPr>
              <a:t>Cerebral malaria:</a:t>
            </a:r>
            <a:r>
              <a:rPr lang="en-US" sz="1500">
                <a:solidFill>
                  <a:srgbClr val="000000"/>
                </a:solidFill>
                <a:latin typeface="Poppins" panose="00000500000000000000" pitchFamily="2" charset="0"/>
                <a:cs typeface="Poppins" panose="00000500000000000000" pitchFamily="2" charset="0"/>
              </a:rPr>
              <a:t> </a:t>
            </a:r>
          </a:p>
          <a:p>
            <a:pPr marL="800063" lvl="1" indent="-342884">
              <a:buFont typeface="Wingdings" panose="05000000000000000000" pitchFamily="2" charset="2"/>
              <a:buChar char="ü"/>
              <a:defRPr/>
            </a:pPr>
            <a:r>
              <a:rPr lang="en-US" sz="1500" b="1">
                <a:solidFill>
                  <a:srgbClr val="000000"/>
                </a:solidFill>
                <a:latin typeface="Poppins" panose="00000500000000000000" pitchFamily="2" charset="0"/>
                <a:cs typeface="Poppins" panose="00000500000000000000" pitchFamily="2" charset="0"/>
              </a:rPr>
              <a:t>78% reduction </a:t>
            </a:r>
            <a:r>
              <a:rPr lang="en-US" sz="1500">
                <a:solidFill>
                  <a:srgbClr val="000000"/>
                </a:solidFill>
                <a:latin typeface="Poppins" panose="00000500000000000000" pitchFamily="2" charset="0"/>
                <a:cs typeface="Poppins" panose="00000500000000000000" pitchFamily="2" charset="0"/>
              </a:rPr>
              <a:t>among children who received 4 doses</a:t>
            </a:r>
          </a:p>
          <a:p>
            <a:pPr marL="800063" lvl="1" indent="-342884">
              <a:buFont typeface="Wingdings" panose="05000000000000000000" pitchFamily="2" charset="2"/>
              <a:buChar char="ü"/>
              <a:defRPr/>
            </a:pPr>
            <a:r>
              <a:rPr lang="en-US" sz="1500" b="1">
                <a:solidFill>
                  <a:srgbClr val="000000"/>
                </a:solidFill>
                <a:latin typeface="Poppins" panose="00000500000000000000" pitchFamily="2" charset="0"/>
                <a:cs typeface="Poppins" panose="00000500000000000000" pitchFamily="2" charset="0"/>
              </a:rPr>
              <a:t>45% incremental effectiveness of dose 4</a:t>
            </a:r>
            <a:r>
              <a:rPr lang="en-US" sz="1500">
                <a:solidFill>
                  <a:srgbClr val="000000"/>
                </a:solidFill>
                <a:latin typeface="Poppins" panose="00000500000000000000" pitchFamily="2" charset="0"/>
                <a:cs typeface="Poppins" panose="00000500000000000000" pitchFamily="2" charset="0"/>
              </a:rPr>
              <a:t>, compared to 3 doses </a:t>
            </a:r>
          </a:p>
          <a:p>
            <a:pPr marL="0" indent="0">
              <a:spcBef>
                <a:spcPts val="0"/>
              </a:spcBef>
              <a:buNone/>
              <a:defRPr/>
            </a:pPr>
            <a:endParaRPr lang="en-US" sz="1500" b="1">
              <a:solidFill>
                <a:srgbClr val="000000"/>
              </a:solidFill>
              <a:latin typeface="Poppins" panose="00000500000000000000" pitchFamily="2" charset="0"/>
              <a:cs typeface="Poppins" panose="00000500000000000000" pitchFamily="2" charset="0"/>
            </a:endParaRPr>
          </a:p>
          <a:p>
            <a:pPr marL="0" indent="0">
              <a:spcBef>
                <a:spcPts val="0"/>
              </a:spcBef>
              <a:buNone/>
              <a:defRPr/>
            </a:pPr>
            <a:r>
              <a:rPr lang="en-US" sz="1500" b="1">
                <a:solidFill>
                  <a:srgbClr val="000000"/>
                </a:solidFill>
                <a:latin typeface="Poppins" panose="00000500000000000000" pitchFamily="2" charset="0"/>
                <a:cs typeface="Poppins" panose="00000500000000000000" pitchFamily="2" charset="0"/>
              </a:rPr>
              <a:t>Rebound: </a:t>
            </a:r>
          </a:p>
          <a:p>
            <a:pPr marL="800063" lvl="1" indent="-342884">
              <a:buFont typeface="Wingdings" panose="05000000000000000000" pitchFamily="2" charset="2"/>
              <a:buChar char="ü"/>
              <a:defRPr/>
            </a:pPr>
            <a:r>
              <a:rPr lang="en-US" sz="1500">
                <a:solidFill>
                  <a:srgbClr val="000000"/>
                </a:solidFill>
                <a:latin typeface="Poppins" panose="00000500000000000000" pitchFamily="2" charset="0"/>
                <a:cs typeface="Poppins" panose="00000500000000000000" pitchFamily="2" charset="0"/>
              </a:rPr>
              <a:t>No risk of severe malaria rebound in children who received three doses (and not dose 4). </a:t>
            </a:r>
          </a:p>
          <a:p>
            <a:pPr marL="800063" lvl="1" indent="-342884">
              <a:buFont typeface="Wingdings" panose="05000000000000000000" pitchFamily="2" charset="2"/>
              <a:buChar char="ü"/>
              <a:defRPr/>
            </a:pPr>
            <a:r>
              <a:rPr lang="en-US" sz="1500" b="1">
                <a:solidFill>
                  <a:srgbClr val="000000"/>
                </a:solidFill>
                <a:latin typeface="Poppins" panose="00000500000000000000" pitchFamily="2" charset="0"/>
                <a:cs typeface="Poppins" panose="00000500000000000000" pitchFamily="2" charset="0"/>
              </a:rPr>
              <a:t>Evidence of sustained protection </a:t>
            </a:r>
            <a:r>
              <a:rPr lang="en-US" sz="1500">
                <a:solidFill>
                  <a:srgbClr val="000000"/>
                </a:solidFill>
                <a:latin typeface="Poppins" panose="00000500000000000000" pitchFamily="2" charset="0"/>
                <a:cs typeface="Poppins" panose="00000500000000000000" pitchFamily="2" charset="0"/>
              </a:rPr>
              <a:t>beyond the age when children were due to receive the 4th dose</a:t>
            </a:r>
          </a:p>
          <a:p>
            <a:pPr marL="0" indent="0">
              <a:spcBef>
                <a:spcPts val="0"/>
              </a:spcBef>
              <a:buNone/>
              <a:defRPr/>
            </a:pPr>
            <a:r>
              <a:rPr lang="en-US" sz="1500" b="1">
                <a:solidFill>
                  <a:srgbClr val="000000"/>
                </a:solidFill>
                <a:latin typeface="Poppins" panose="00000500000000000000" pitchFamily="2" charset="0"/>
                <a:cs typeface="Poppins" panose="00000500000000000000" pitchFamily="2" charset="0"/>
              </a:rPr>
              <a:t>Safety</a:t>
            </a:r>
          </a:p>
          <a:p>
            <a:pPr marL="742916" lvl="1" indent="-285737">
              <a:buFont typeface="Wingdings" panose="05000000000000000000" pitchFamily="2" charset="2"/>
              <a:buChar char="ü"/>
              <a:defRPr/>
            </a:pPr>
            <a:r>
              <a:rPr lang="en-US" sz="1500">
                <a:solidFill>
                  <a:srgbClr val="000000"/>
                </a:solidFill>
                <a:latin typeface="Poppins" panose="00000500000000000000" pitchFamily="2" charset="0"/>
                <a:cs typeface="Poppins" panose="00000500000000000000" pitchFamily="2" charset="0"/>
              </a:rPr>
              <a:t>The results further strengthened </a:t>
            </a:r>
            <a:r>
              <a:rPr lang="en-US" sz="1500" b="1">
                <a:solidFill>
                  <a:srgbClr val="000000"/>
                </a:solidFill>
                <a:latin typeface="Poppins" panose="00000500000000000000" pitchFamily="2" charset="0"/>
                <a:cs typeface="Poppins" panose="00000500000000000000" pitchFamily="2" charset="0"/>
              </a:rPr>
              <a:t>the evidence of no association of RTS,S/AS01, and the safety signals </a:t>
            </a:r>
            <a:r>
              <a:rPr lang="en-US" sz="1500">
                <a:solidFill>
                  <a:srgbClr val="000000"/>
                </a:solidFill>
                <a:latin typeface="Poppins" panose="00000500000000000000" pitchFamily="2" charset="0"/>
                <a:cs typeface="Poppins" panose="00000500000000000000" pitchFamily="2" charset="0"/>
              </a:rPr>
              <a:t>reported in the Phase 3 clinical trial</a:t>
            </a:r>
          </a:p>
          <a:p>
            <a:endParaRPr lang="en-US" sz="1500"/>
          </a:p>
        </p:txBody>
      </p:sp>
      <p:sp>
        <p:nvSpPr>
          <p:cNvPr id="4" name="Footer Placeholder 3">
            <a:extLst>
              <a:ext uri="{FF2B5EF4-FFF2-40B4-BE49-F238E27FC236}">
                <a16:creationId xmlns:a16="http://schemas.microsoft.com/office/drawing/2014/main" id="{2BFB6E67-AD29-50D8-2EE4-10FC3130D806}"/>
              </a:ext>
            </a:extLst>
          </p:cNvPr>
          <p:cNvSpPr>
            <a:spLocks noGrp="1"/>
          </p:cNvSpPr>
          <p:nvPr>
            <p:ph type="ftr" sz="quarter" idx="11"/>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1E09469C-0ADB-06F1-3BA5-AE523723F8FF}"/>
              </a:ext>
            </a:extLst>
          </p:cNvPr>
          <p:cNvSpPr>
            <a:spLocks noGrp="1"/>
          </p:cNvSpPr>
          <p:nvPr>
            <p:ph type="sldNum" sz="quarter" idx="12"/>
          </p:nvPr>
        </p:nvSpPr>
        <p:spPr/>
        <p:txBody>
          <a:bodyPr/>
          <a:lstStyle/>
          <a:p>
            <a:pPr marL="0" marR="0" lvl="0" indent="0" algn="r" defTabSz="914358" rtl="0" eaLnBrk="1" fontAlgn="auto" latinLnBrk="0" hangingPunct="1">
              <a:lnSpc>
                <a:spcPct val="100000"/>
              </a:lnSpc>
              <a:spcBef>
                <a:spcPts val="0"/>
              </a:spcBef>
              <a:spcAft>
                <a:spcPts val="0"/>
              </a:spcAft>
              <a:buClrTx/>
              <a:buSzTx/>
              <a:buFontTx/>
              <a:buNone/>
              <a:tabLst/>
              <a:defRPr/>
            </a:pPr>
            <a:fld id="{714BF2E0-EE3B-6A4E-9FB9-82DE86E1F02F}" type="slidenum">
              <a:rPr kumimoji="0" lang="en-US" sz="900" b="0" i="0" u="none" strike="noStrike" kern="1200" cap="none" spc="0" normalizeH="0" baseline="0" noProof="0">
                <a:ln>
                  <a:noFill/>
                </a:ln>
                <a:solidFill>
                  <a:srgbClr val="00205C"/>
                </a:solidFill>
                <a:effectLst/>
                <a:uLnTx/>
                <a:uFillTx/>
                <a:latin typeface="Calibri" panose="020F0502020204030204"/>
                <a:ea typeface="+mn-ea"/>
                <a:cs typeface="+mn-cs"/>
              </a:rPr>
              <a:pPr marL="0" marR="0" lvl="0" indent="0" algn="r" defTabSz="914358" rtl="0" eaLnBrk="1" fontAlgn="auto" latinLnBrk="0" hangingPunct="1">
                <a:lnSpc>
                  <a:spcPct val="100000"/>
                </a:lnSpc>
                <a:spcBef>
                  <a:spcPts val="0"/>
                </a:spcBef>
                <a:spcAft>
                  <a:spcPts val="0"/>
                </a:spcAft>
                <a:buClrTx/>
                <a:buSzTx/>
                <a:buFontTx/>
                <a:buNone/>
                <a:tabLst/>
                <a:defRPr/>
              </a:pPr>
              <a:t>51</a:t>
            </a:fld>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67528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975E3-B471-04CE-63B7-578B37F37DE4}"/>
            </a:ext>
          </a:extLst>
        </p:cNvPr>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F3A5CBE-0119-671C-37F3-1D14CBA39073}"/>
              </a:ext>
            </a:extLst>
          </p:cNvPr>
          <p:cNvSpPr>
            <a:spLocks noGrp="1"/>
          </p:cNvSpPr>
          <p:nvPr>
            <p:ph type="sldNum" sz="quarter" idx="12"/>
          </p:nvPr>
        </p:nvSpPr>
        <p:spPr>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52</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itle 3">
            <a:extLst>
              <a:ext uri="{FF2B5EF4-FFF2-40B4-BE49-F238E27FC236}">
                <a16:creationId xmlns:a16="http://schemas.microsoft.com/office/drawing/2014/main" id="{2B0ED946-51B9-DB0C-D839-C77DED069F55}"/>
              </a:ext>
            </a:extLst>
          </p:cNvPr>
          <p:cNvSpPr>
            <a:spLocks noGrp="1"/>
          </p:cNvSpPr>
          <p:nvPr>
            <p:ph type="title"/>
          </p:nvPr>
        </p:nvSpPr>
        <p:spPr>
          <a:xfrm>
            <a:off x="404567" y="597340"/>
            <a:ext cx="10883492" cy="339067"/>
          </a:xfrm>
        </p:spPr>
        <p:txBody>
          <a:bodyPr/>
          <a:lstStyle/>
          <a:p>
            <a:r>
              <a:rPr lang="fr-CH" sz="2426">
                <a:latin typeface="Poppins SemiBold"/>
                <a:ea typeface="Roboto"/>
                <a:cs typeface="Poppins SemiBold"/>
              </a:rPr>
              <a:t>MALARIA VACCINES – CONCLUSIONS &amp; RECOMMENDATIONS</a:t>
            </a:r>
            <a:endParaRPr lang="en-US" sz="2426">
              <a:latin typeface="Poppins SemiBold"/>
              <a:ea typeface="Roboto"/>
              <a:cs typeface="Poppins SemiBold"/>
            </a:endParaRPr>
          </a:p>
        </p:txBody>
      </p:sp>
      <p:sp>
        <p:nvSpPr>
          <p:cNvPr id="7" name="Rectangle: Rounded Corners 6">
            <a:extLst>
              <a:ext uri="{FF2B5EF4-FFF2-40B4-BE49-F238E27FC236}">
                <a16:creationId xmlns:a16="http://schemas.microsoft.com/office/drawing/2014/main" id="{3C8CED9A-1B51-4B7D-A04C-A108BF2E63A2}"/>
              </a:ext>
            </a:extLst>
          </p:cNvPr>
          <p:cNvSpPr/>
          <p:nvPr/>
        </p:nvSpPr>
        <p:spPr>
          <a:xfrm>
            <a:off x="404568" y="1360399"/>
            <a:ext cx="10892403" cy="998861"/>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34" tIns="45717" rIns="91434" bIns="45717" rtlCol="0" anchor="ctr"/>
          <a:lstStyle/>
          <a:p>
            <a:pPr marL="1198189"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Poppins"/>
                <a:ea typeface="+mn-ea"/>
                <a:cs typeface="Poppins"/>
              </a:rPr>
              <a:t>After a review of all available evidence, showing that the four-dose malaria vaccine schedule provides greater protection against clinical and severe malaria than a three-dose schedule in moderate to high transmission settings, SAGE and MPAG reaffirmed its recommendation </a:t>
            </a:r>
            <a:r>
              <a:rPr kumimoji="0" lang="en-US" sz="1600" b="1" i="0" u="none" strike="noStrike" kern="1200" cap="none" spc="0" normalizeH="0" baseline="0" noProof="0" dirty="0">
                <a:ln>
                  <a:noFill/>
                </a:ln>
                <a:solidFill>
                  <a:srgbClr val="000000"/>
                </a:solidFill>
                <a:effectLst/>
                <a:uLnTx/>
                <a:uFillTx/>
                <a:latin typeface="Poppins"/>
                <a:ea typeface="+mn-ea"/>
                <a:cs typeface="Poppins"/>
              </a:rPr>
              <a:t>for the use of the four doses as the recommended schedule</a:t>
            </a:r>
            <a:r>
              <a:rPr kumimoji="0" lang="en-US" sz="1600" b="0" i="0" u="none" strike="noStrike" kern="1200" cap="none" spc="0" normalizeH="0" baseline="0" noProof="0" dirty="0">
                <a:ln>
                  <a:noFill/>
                </a:ln>
                <a:solidFill>
                  <a:srgbClr val="000000"/>
                </a:solidFill>
                <a:effectLst/>
                <a:uLnTx/>
                <a:uFillTx/>
                <a:latin typeface="Poppins"/>
                <a:ea typeface="+mn-ea"/>
                <a:cs typeface="Poppins"/>
              </a:rPr>
              <a:t>. </a:t>
            </a:r>
          </a:p>
        </p:txBody>
      </p:sp>
      <p:sp>
        <p:nvSpPr>
          <p:cNvPr id="14" name="Rectangle: Rounded Corners 13">
            <a:extLst>
              <a:ext uri="{FF2B5EF4-FFF2-40B4-BE49-F238E27FC236}">
                <a16:creationId xmlns:a16="http://schemas.microsoft.com/office/drawing/2014/main" id="{CA4101C7-ABF7-9C75-49DA-9934F95D16A5}"/>
              </a:ext>
            </a:extLst>
          </p:cNvPr>
          <p:cNvSpPr/>
          <p:nvPr/>
        </p:nvSpPr>
        <p:spPr>
          <a:xfrm>
            <a:off x="427429" y="2543907"/>
            <a:ext cx="10883492" cy="1224359"/>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2987" marR="0" lvl="0" indent="0" algn="l" defTabSz="277233" rtl="0" eaLnBrk="1" fontAlgn="auto" latinLnBrk="0" hangingPunct="1">
              <a:lnSpc>
                <a:spcPct val="100000"/>
              </a:lnSpc>
              <a:spcBef>
                <a:spcPts val="0"/>
              </a:spcBef>
              <a:spcAft>
                <a:spcPts val="0"/>
              </a:spcAft>
              <a:buClrTx/>
              <a:buSzTx/>
              <a:buFontTx/>
              <a:buNone/>
              <a:tabLst/>
              <a:defRPr/>
            </a:pPr>
            <a:r>
              <a:rPr kumimoji="0" lang="en-US" sz="1577" b="0" i="0" u="none" strike="noStrike" kern="1200" cap="none" spc="0" normalizeH="0" baseline="0" noProof="0" dirty="0">
                <a:ln>
                  <a:noFill/>
                </a:ln>
                <a:solidFill>
                  <a:srgbClr val="000000"/>
                </a:solidFill>
                <a:effectLst/>
                <a:uLnTx/>
                <a:uFillTx/>
                <a:latin typeface="Poppins"/>
                <a:ea typeface="Source Sans Pro"/>
                <a:cs typeface="Poppins"/>
              </a:rPr>
              <a:t>The case-control study embedded in the Malaria Vaccine Implementation </a:t>
            </a:r>
            <a:r>
              <a:rPr kumimoji="0" lang="en-US" sz="1577" b="0" i="0" u="none" strike="noStrike" kern="1200" cap="none" spc="0" normalizeH="0" baseline="0" noProof="0" dirty="0" err="1">
                <a:ln>
                  <a:noFill/>
                </a:ln>
                <a:solidFill>
                  <a:srgbClr val="000000"/>
                </a:solidFill>
                <a:effectLst/>
                <a:uLnTx/>
                <a:uFillTx/>
                <a:latin typeface="Poppins"/>
                <a:ea typeface="Source Sans Pro"/>
                <a:cs typeface="Poppins"/>
              </a:rPr>
              <a:t>Programme</a:t>
            </a:r>
            <a:r>
              <a:rPr kumimoji="0" lang="en-US" sz="1577" b="0" i="0" u="none" strike="noStrike" kern="1200" cap="none" spc="0" normalizeH="0" baseline="0" noProof="0" dirty="0">
                <a:ln>
                  <a:noFill/>
                </a:ln>
                <a:solidFill>
                  <a:srgbClr val="000000"/>
                </a:solidFill>
                <a:effectLst/>
                <a:uLnTx/>
                <a:uFillTx/>
                <a:latin typeface="Poppins"/>
                <a:ea typeface="Source Sans Pro"/>
                <a:cs typeface="Poppins"/>
              </a:rPr>
              <a:t> (MVIP) shows that a 4-dose schedule reduces severe malaria cases by around 54% through the study period, and the fourth dose provides a 30% incremental effectiveness above 3 doses in reducing severe malaria. There was no evidence of rebound among children who missed the fourth dose.</a:t>
            </a:r>
            <a:endParaRPr kumimoji="0" lang="en-US" sz="1577" b="0" i="0" u="none" strike="noStrike" kern="1200" cap="none" spc="0" normalizeH="0" baseline="0" noProof="0" dirty="0">
              <a:ln>
                <a:noFill/>
              </a:ln>
              <a:solidFill>
                <a:srgbClr val="FFFFFF"/>
              </a:solidFill>
              <a:effectLst/>
              <a:uLnTx/>
              <a:uFillTx/>
              <a:latin typeface="Poppins"/>
              <a:ea typeface="+mn-ea"/>
              <a:cs typeface="+mn-cs"/>
            </a:endParaRPr>
          </a:p>
        </p:txBody>
      </p:sp>
      <p:sp>
        <p:nvSpPr>
          <p:cNvPr id="15" name="Rectangle: Rounded Corners 14">
            <a:extLst>
              <a:ext uri="{FF2B5EF4-FFF2-40B4-BE49-F238E27FC236}">
                <a16:creationId xmlns:a16="http://schemas.microsoft.com/office/drawing/2014/main" id="{9ED53D07-7445-7518-2DC2-6ADC9D2CF481}"/>
              </a:ext>
            </a:extLst>
          </p:cNvPr>
          <p:cNvSpPr/>
          <p:nvPr/>
        </p:nvSpPr>
        <p:spPr>
          <a:xfrm>
            <a:off x="413479" y="5079226"/>
            <a:ext cx="10911391" cy="998861"/>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55445" tIns="27723" rIns="55445" bIns="27723" rtlCol="0" anchor="ctr"/>
          <a:lstStyle/>
          <a:p>
            <a:pPr marL="1243272"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Poppins"/>
                <a:ea typeface="Source Sans Pro"/>
                <a:cs typeface="Poppins"/>
              </a:rPr>
              <a:t>SAGE and MPAG expressed support for WHO’s recommendation that countries align the timing of the fourth dose with the timing of other vaccines and, where appropriate, other health interventions administered in the second year of life, thereby reducing the additional delivery burden.</a:t>
            </a:r>
          </a:p>
        </p:txBody>
      </p:sp>
      <p:pic>
        <p:nvPicPr>
          <p:cNvPr id="5" name="Graphic 4" descr="Signpost outline">
            <a:extLst>
              <a:ext uri="{FF2B5EF4-FFF2-40B4-BE49-F238E27FC236}">
                <a16:creationId xmlns:a16="http://schemas.microsoft.com/office/drawing/2014/main" id="{5583AAF2-FE08-7178-269E-F9B95A2D4E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6706" y="1513477"/>
            <a:ext cx="554493" cy="554493"/>
          </a:xfrm>
          <a:prstGeom prst="rect">
            <a:avLst/>
          </a:prstGeom>
        </p:spPr>
      </p:pic>
      <p:pic>
        <p:nvPicPr>
          <p:cNvPr id="8" name="Graphic 7" descr="Bar graph with downward trend outline">
            <a:extLst>
              <a:ext uri="{FF2B5EF4-FFF2-40B4-BE49-F238E27FC236}">
                <a16:creationId xmlns:a16="http://schemas.microsoft.com/office/drawing/2014/main" id="{8E642844-BB4A-C5BC-8D05-01A3EA1CCBA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6706" y="2889911"/>
            <a:ext cx="554493" cy="554493"/>
          </a:xfrm>
          <a:prstGeom prst="rect">
            <a:avLst/>
          </a:prstGeom>
        </p:spPr>
      </p:pic>
      <p:pic>
        <p:nvPicPr>
          <p:cNvPr id="10" name="Graphic 9" descr="Address Book outline">
            <a:extLst>
              <a:ext uri="{FF2B5EF4-FFF2-40B4-BE49-F238E27FC236}">
                <a16:creationId xmlns:a16="http://schemas.microsoft.com/office/drawing/2014/main" id="{B492DCD3-60AB-6FDE-B81F-28171086A7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2109" y="5256308"/>
            <a:ext cx="554493" cy="554493"/>
          </a:xfrm>
          <a:prstGeom prst="rect">
            <a:avLst/>
          </a:prstGeom>
        </p:spPr>
      </p:pic>
      <p:grpSp>
        <p:nvGrpSpPr>
          <p:cNvPr id="2" name="Group 1">
            <a:extLst>
              <a:ext uri="{FF2B5EF4-FFF2-40B4-BE49-F238E27FC236}">
                <a16:creationId xmlns:a16="http://schemas.microsoft.com/office/drawing/2014/main" id="{8739F4D7-DE4A-974A-A70F-D87D485503E5}"/>
              </a:ext>
            </a:extLst>
          </p:cNvPr>
          <p:cNvGrpSpPr/>
          <p:nvPr/>
        </p:nvGrpSpPr>
        <p:grpSpPr>
          <a:xfrm>
            <a:off x="11128991" y="93440"/>
            <a:ext cx="799781" cy="862160"/>
            <a:chOff x="18351825" y="154090"/>
            <a:chExt cx="1318898" cy="1421765"/>
          </a:xfrm>
        </p:grpSpPr>
        <p:sp>
          <p:nvSpPr>
            <p:cNvPr id="6" name="Rectangle 5">
              <a:extLst>
                <a:ext uri="{FF2B5EF4-FFF2-40B4-BE49-F238E27FC236}">
                  <a16:creationId xmlns:a16="http://schemas.microsoft.com/office/drawing/2014/main" id="{74B5B331-6A01-8262-8670-7B724DC984B5}"/>
                </a:ext>
              </a:extLst>
            </p:cNvPr>
            <p:cNvSpPr/>
            <p:nvPr/>
          </p:nvSpPr>
          <p:spPr>
            <a:xfrm>
              <a:off x="18351825" y="154090"/>
              <a:ext cx="1318898" cy="142176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GB" sz="1092" b="0" i="0" u="none" strike="noStrike" kern="1200" cap="none" spc="0" normalizeH="0" baseline="0" noProof="0">
                <a:ln>
                  <a:noFill/>
                </a:ln>
                <a:solidFill>
                  <a:srgbClr val="FFFFFF"/>
                </a:solidFill>
                <a:effectLst/>
                <a:uLnTx/>
                <a:uFillTx/>
                <a:latin typeface="Poppins"/>
                <a:ea typeface="+mn-ea"/>
                <a:cs typeface="+mn-cs"/>
              </a:endParaRPr>
            </a:p>
          </p:txBody>
        </p:sp>
        <p:pic>
          <p:nvPicPr>
            <p:cNvPr id="9" name="Graphic 8">
              <a:extLst>
                <a:ext uri="{FF2B5EF4-FFF2-40B4-BE49-F238E27FC236}">
                  <a16:creationId xmlns:a16="http://schemas.microsoft.com/office/drawing/2014/main" id="{A6AC3BFE-DD5F-8302-95B5-AD6878EAEC82}"/>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5395" b="-1"/>
            <a:stretch>
              <a:fillRect/>
            </a:stretch>
          </p:blipFill>
          <p:spPr>
            <a:xfrm>
              <a:off x="18443316" y="262422"/>
              <a:ext cx="1135916" cy="1205101"/>
            </a:xfrm>
            <a:prstGeom prst="rect">
              <a:avLst/>
            </a:prstGeom>
          </p:spPr>
        </p:pic>
      </p:grpSp>
      <p:sp>
        <p:nvSpPr>
          <p:cNvPr id="11" name="Rectangle: Rounded Corners 10">
            <a:extLst>
              <a:ext uri="{FF2B5EF4-FFF2-40B4-BE49-F238E27FC236}">
                <a16:creationId xmlns:a16="http://schemas.microsoft.com/office/drawing/2014/main" id="{C2C641E2-218A-9761-84E9-3229ADB31988}"/>
              </a:ext>
            </a:extLst>
          </p:cNvPr>
          <p:cNvSpPr/>
          <p:nvPr/>
        </p:nvSpPr>
        <p:spPr>
          <a:xfrm>
            <a:off x="395656" y="3910316"/>
            <a:ext cx="10892403" cy="998861"/>
          </a:xfrm>
          <a:prstGeom prst="roundRect">
            <a:avLst>
              <a:gd name="adj" fmla="val 691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34" tIns="45717" rIns="91434" bIns="45717" rtlCol="0" anchor="ctr"/>
          <a:lstStyle/>
          <a:p>
            <a:pPr marL="1198189" marR="0" lvl="0" indent="0" algn="l" defTabSz="27723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Poppins"/>
                <a:ea typeface="+mn-ea"/>
                <a:cs typeface="Poppins"/>
              </a:rPr>
              <a:t>Where the delivery of the fourth dose may temporarily not be possible, for example in fragile, conflict-affected and vulnerable settings, children will still benefit from 3 doses, until obstacles to the delivery of the fourth dose are resolved</a:t>
            </a:r>
          </a:p>
        </p:txBody>
      </p:sp>
      <p:pic>
        <p:nvPicPr>
          <p:cNvPr id="17" name="Graphic 16" descr="Fencing outline">
            <a:extLst>
              <a:ext uri="{FF2B5EF4-FFF2-40B4-BE49-F238E27FC236}">
                <a16:creationId xmlns:a16="http://schemas.microsoft.com/office/drawing/2014/main" id="{34D4F6A1-9C8A-3C1E-5D65-53293463598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2703" y="4122119"/>
            <a:ext cx="554493" cy="554493"/>
          </a:xfrm>
          <a:prstGeom prst="rect">
            <a:avLst/>
          </a:prstGeom>
        </p:spPr>
      </p:pic>
      <p:sp>
        <p:nvSpPr>
          <p:cNvPr id="12" name="Rectangle 11">
            <a:extLst>
              <a:ext uri="{FF2B5EF4-FFF2-40B4-BE49-F238E27FC236}">
                <a16:creationId xmlns:a16="http://schemas.microsoft.com/office/drawing/2014/main" id="{856A60BF-2CF0-6EEE-0B0B-34933B1A4FCC}"/>
              </a:ext>
            </a:extLst>
          </p:cNvPr>
          <p:cNvSpPr/>
          <p:nvPr/>
        </p:nvSpPr>
        <p:spPr>
          <a:xfrm>
            <a:off x="4005100" y="6366401"/>
            <a:ext cx="6931162" cy="375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FFFFFF"/>
              </a:solidFill>
              <a:effectLst/>
              <a:uLnTx/>
              <a:uFillTx/>
              <a:latin typeface="Poppins"/>
              <a:ea typeface="+mn-ea"/>
              <a:cs typeface="+mn-cs"/>
            </a:endParaRPr>
          </a:p>
        </p:txBody>
      </p:sp>
      <p:sp>
        <p:nvSpPr>
          <p:cNvPr id="18" name="TextBox 17">
            <a:extLst>
              <a:ext uri="{FF2B5EF4-FFF2-40B4-BE49-F238E27FC236}">
                <a16:creationId xmlns:a16="http://schemas.microsoft.com/office/drawing/2014/main" id="{C88C9F91-B3EC-150E-BD29-632693646E01}"/>
              </a:ext>
            </a:extLst>
          </p:cNvPr>
          <p:cNvSpPr txBox="1"/>
          <p:nvPr/>
        </p:nvSpPr>
        <p:spPr>
          <a:xfrm>
            <a:off x="2822031" y="6248136"/>
            <a:ext cx="6094288" cy="428451"/>
          </a:xfrm>
          <a:prstGeom prst="rect">
            <a:avLst/>
          </a:prstGeom>
          <a:noFill/>
        </p:spPr>
        <p:txBody>
          <a:bodyPr wrap="square">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1092" b="0" i="0" u="none" strike="noStrike" kern="1200" cap="none" spc="0" normalizeH="0" baseline="0" noProof="0">
                <a:ln>
                  <a:noFill/>
                </a:ln>
                <a:solidFill>
                  <a:srgbClr val="000000"/>
                </a:solidFill>
                <a:effectLst/>
                <a:uLnTx/>
                <a:uFillTx/>
                <a:latin typeface="Aptos" panose="020B0004020202020204" pitchFamily="34" charset="0"/>
                <a:ea typeface="Aptos" panose="020B0004020202020204" pitchFamily="34" charset="0"/>
                <a:cs typeface="Times New Roman" panose="02020603050405020304" pitchFamily="18" charset="0"/>
              </a:rPr>
              <a:t>All evidence on malaria vaccines to support country discussions and decisions is available on the </a:t>
            </a:r>
            <a:r>
              <a:rPr kumimoji="0" lang="en-US" sz="1092" b="1" i="0" u="none" strike="noStrike" kern="1200" cap="none" spc="0" normalizeH="0" baseline="0" noProof="0">
                <a:ln>
                  <a:noFill/>
                </a:ln>
                <a:solidFill>
                  <a:srgbClr val="000000"/>
                </a:solidFill>
                <a:effectLst/>
                <a:uLnTx/>
                <a:uFillTx/>
                <a:latin typeface="Aptos" panose="020B0004020202020204" pitchFamily="34" charset="0"/>
                <a:ea typeface="Aptos" panose="020B0004020202020204" pitchFamily="34" charset="0"/>
                <a:cs typeface="Times New Roman" panose="02020603050405020304" pitchFamily="18" charset="0"/>
              </a:rPr>
              <a:t>NITAG Resource Center</a:t>
            </a:r>
            <a:r>
              <a:rPr kumimoji="0" lang="en-US" sz="1092" b="0" i="0" u="none" strike="noStrike" kern="1200" cap="none" spc="0" normalizeH="0" baseline="0" noProof="0">
                <a:ln>
                  <a:noFill/>
                </a:ln>
                <a:solidFill>
                  <a:srgbClr val="000000"/>
                </a:solidFill>
                <a:effectLst/>
                <a:uLnTx/>
                <a:uFillTx/>
                <a:latin typeface="Aptos" panose="020B0004020202020204" pitchFamily="34" charset="0"/>
                <a:ea typeface="Aptos" panose="020B0004020202020204" pitchFamily="34" charset="0"/>
                <a:cs typeface="Times New Roman" panose="02020603050405020304" pitchFamily="18" charset="0"/>
              </a:rPr>
              <a:t>: </a:t>
            </a:r>
            <a:r>
              <a:rPr kumimoji="0" lang="en-US" sz="1092" b="0" i="0" u="sng" strike="noStrike" kern="1200" cap="none" spc="0" normalizeH="0" baseline="0" noProof="0">
                <a:ln>
                  <a:noFill/>
                </a:ln>
                <a:solidFill>
                  <a:srgbClr val="467886"/>
                </a:solidFill>
                <a:effectLst/>
                <a:uLnTx/>
                <a:uFillTx/>
                <a:latin typeface="Aptos" panose="020B0004020202020204" pitchFamily="34" charset="0"/>
                <a:ea typeface="Aptos" panose="020B0004020202020204" pitchFamily="34" charset="0"/>
                <a:cs typeface="Times New Roman" panose="02020603050405020304" pitchFamily="18" charset="0"/>
                <a:hlinkClick r:id="rId13"/>
              </a:rPr>
              <a:t>https://www.nitag-resource.org/diseases/malaria</a:t>
            </a:r>
            <a:endParaRPr kumimoji="0" lang="en-US" sz="1092" b="0" i="0" u="none" strike="noStrike" kern="1200" cap="none" spc="0" normalizeH="0" baseline="0" noProof="0">
              <a:ln>
                <a:noFill/>
              </a:ln>
              <a:solidFill>
                <a:srgbClr val="000000"/>
              </a:solidFill>
              <a:effectLst/>
              <a:uLnTx/>
              <a:uFillTx/>
              <a:latin typeface="Poppins"/>
              <a:ea typeface="+mn-ea"/>
              <a:cs typeface="+mn-cs"/>
            </a:endParaRPr>
          </a:p>
        </p:txBody>
      </p:sp>
    </p:spTree>
    <p:extLst>
      <p:ext uri="{BB962C8B-B14F-4D97-AF65-F5344CB8AC3E}">
        <p14:creationId xmlns:p14="http://schemas.microsoft.com/office/powerpoint/2010/main" val="191421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4A03B10D-2464-4EE3-86FC-884CC0038998}"/>
              </a:ext>
            </a:extLst>
          </p:cNvPr>
          <p:cNvSpPr>
            <a:spLocks noGrp="1"/>
          </p:cNvSpPr>
          <p:nvPr>
            <p:ph type="sldNum" sz="quarter" idx="12"/>
          </p:nvPr>
        </p:nvSpPr>
        <p:spPr>
          <a:xfrm>
            <a:off x="10693671" y="6482886"/>
            <a:ext cx="897133" cy="112018"/>
          </a:xfrm>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FFFFFF"/>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53</a:t>
            </a:fld>
            <a:endParaRPr kumimoji="0" lang="en-GB" sz="728" b="0" i="0" u="none" strike="noStrike" kern="1200" cap="none" spc="0" normalizeH="0" baseline="0" noProof="0">
              <a:ln>
                <a:noFill/>
              </a:ln>
              <a:solidFill>
                <a:srgbClr val="FFFFFF"/>
              </a:solidFill>
              <a:effectLst/>
              <a:uLnTx/>
              <a:uFillTx/>
              <a:latin typeface="Poppins" pitchFamily="2" charset="77"/>
              <a:ea typeface="+mn-ea"/>
              <a:cs typeface="Poppins" pitchFamily="2" charset="77"/>
            </a:endParaRPr>
          </a:p>
        </p:txBody>
      </p:sp>
      <p:sp>
        <p:nvSpPr>
          <p:cNvPr id="7" name="Text Placeholder 6">
            <a:extLst>
              <a:ext uri="{FF2B5EF4-FFF2-40B4-BE49-F238E27FC236}">
                <a16:creationId xmlns:a16="http://schemas.microsoft.com/office/drawing/2014/main" id="{D3C52CF2-C461-46C6-96CD-AF00CB9F52B9}"/>
              </a:ext>
            </a:extLst>
          </p:cNvPr>
          <p:cNvSpPr>
            <a:spLocks noGrp="1"/>
          </p:cNvSpPr>
          <p:nvPr>
            <p:ph type="body" sz="quarter" idx="13"/>
          </p:nvPr>
        </p:nvSpPr>
        <p:spPr>
          <a:xfrm>
            <a:off x="1497367" y="3868759"/>
            <a:ext cx="9195342" cy="465320"/>
          </a:xfrm>
        </p:spPr>
        <p:txBody>
          <a:bodyPr/>
          <a:lstStyle/>
          <a:p>
            <a:r>
              <a:rPr lang="en-GB"/>
              <a:t>Thank you</a:t>
            </a:r>
          </a:p>
        </p:txBody>
      </p:sp>
    </p:spTree>
    <p:extLst>
      <p:ext uri="{BB962C8B-B14F-4D97-AF65-F5344CB8AC3E}">
        <p14:creationId xmlns:p14="http://schemas.microsoft.com/office/powerpoint/2010/main" val="180479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AA0ACA-70DC-442E-01A1-E1EE0D8DB719}"/>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4E65ED9-3583-2C03-294D-EDCC9EF5151F}"/>
              </a:ext>
            </a:extLst>
          </p:cNvPr>
          <p:cNvSpPr>
            <a:spLocks noGrp="1"/>
          </p:cNvSpPr>
          <p:nvPr>
            <p:ph type="sldNum" sz="quarter" idx="12"/>
          </p:nvPr>
        </p:nvSpPr>
        <p:spPr/>
        <p:txBody>
          <a:bodyPr/>
          <a:lstStyle/>
          <a:p>
            <a:pPr marL="0" marR="0" lvl="0" indent="0" algn="r" defTabSz="554466"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66" rtl="0" eaLnBrk="1" fontAlgn="auto" latinLnBrk="0" hangingPunct="1">
                <a:lnSpc>
                  <a:spcPct val="100000"/>
                </a:lnSpc>
                <a:spcBef>
                  <a:spcPts val="0"/>
                </a:spcBef>
                <a:spcAft>
                  <a:spcPts val="0"/>
                </a:spcAft>
                <a:buClrTx/>
                <a:buSzTx/>
                <a:buFontTx/>
                <a:buNone/>
                <a:tabLst/>
                <a:defRPr/>
              </a:pPr>
              <a:t>6</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5" name="Title 44">
            <a:extLst>
              <a:ext uri="{FF2B5EF4-FFF2-40B4-BE49-F238E27FC236}">
                <a16:creationId xmlns:a16="http://schemas.microsoft.com/office/drawing/2014/main" id="{39B751AB-AED8-166F-C9E6-B0BDFFE524AA}"/>
              </a:ext>
            </a:extLst>
          </p:cNvPr>
          <p:cNvSpPr>
            <a:spLocks noGrp="1"/>
          </p:cNvSpPr>
          <p:nvPr>
            <p:ph type="title"/>
          </p:nvPr>
        </p:nvSpPr>
        <p:spPr>
          <a:xfrm>
            <a:off x="578414" y="283277"/>
            <a:ext cx="10904262" cy="895790"/>
          </a:xfrm>
        </p:spPr>
        <p:txBody>
          <a:bodyPr/>
          <a:lstStyle/>
          <a:p>
            <a:r>
              <a:rPr lang="en-GB"/>
              <a:t>The global health context is becoming more challenging. For countries, for global health agencies</a:t>
            </a:r>
          </a:p>
        </p:txBody>
      </p:sp>
      <p:sp>
        <p:nvSpPr>
          <p:cNvPr id="30" name="TextBox 29">
            <a:extLst>
              <a:ext uri="{FF2B5EF4-FFF2-40B4-BE49-F238E27FC236}">
                <a16:creationId xmlns:a16="http://schemas.microsoft.com/office/drawing/2014/main" id="{FD2C53D5-42C7-D70A-C0A3-C2B659A40C86}"/>
              </a:ext>
            </a:extLst>
          </p:cNvPr>
          <p:cNvSpPr txBox="1"/>
          <p:nvPr/>
        </p:nvSpPr>
        <p:spPr>
          <a:xfrm>
            <a:off x="2277037" y="6471065"/>
            <a:ext cx="9336551" cy="316369"/>
          </a:xfrm>
          <a:prstGeom prst="rect">
            <a:avLst/>
          </a:prstGeom>
          <a:noFill/>
        </p:spPr>
        <p:txBody>
          <a:bodyPr wrap="square">
            <a:spAutoFit/>
          </a:bodyPr>
          <a:lstStyle/>
          <a:p>
            <a:pPr marL="0" marR="0" lvl="0" indent="0" algn="l" defTabSz="554466" rtl="0" eaLnBrk="1" fontAlgn="auto" latinLnBrk="0" hangingPunct="1">
              <a:lnSpc>
                <a:spcPct val="100000"/>
              </a:lnSpc>
              <a:spcBef>
                <a:spcPts val="0"/>
              </a:spcBef>
              <a:spcAft>
                <a:spcPts val="0"/>
              </a:spcAft>
              <a:buClrTx/>
              <a:buSzTx/>
              <a:buFontTx/>
              <a:buNone/>
              <a:tabLst/>
              <a:defRPr/>
            </a:pPr>
            <a:r>
              <a:rPr kumimoji="0" lang="en-US" sz="728" b="0" i="0" u="none" strike="noStrike" kern="1200" cap="none" spc="0" normalizeH="0" baseline="0" noProof="0">
                <a:ln>
                  <a:noFill/>
                </a:ln>
                <a:solidFill>
                  <a:srgbClr val="000000">
                    <a:tint val="75000"/>
                  </a:srgbClr>
                </a:solidFill>
                <a:effectLst/>
                <a:uLnTx/>
                <a:uFillTx/>
                <a:latin typeface="Poppins"/>
                <a:ea typeface="+mn-ea"/>
                <a:cs typeface="Poppins" pitchFamily="2" charset="77"/>
              </a:rPr>
              <a:t>Sources: Geopolitical</a:t>
            </a:r>
            <a:r>
              <a:rPr kumimoji="0" lang="en-US" sz="728" b="0" i="0" u="none" strike="noStrike" kern="1200" cap="none" spc="0" normalizeH="0" baseline="0" noProof="0">
                <a:ln>
                  <a:noFill/>
                </a:ln>
                <a:solidFill>
                  <a:srgbClr val="000000"/>
                </a:solidFill>
                <a:effectLst/>
                <a:uLnTx/>
                <a:uFillTx/>
                <a:latin typeface="Poppins"/>
                <a:ea typeface="+mn-ea"/>
                <a:cs typeface="+mn-cs"/>
              </a:rPr>
              <a:t>: </a:t>
            </a:r>
            <a:r>
              <a:rPr kumimoji="0" lang="en-US" sz="728" b="0" i="0" u="none" strike="noStrike" kern="1200" cap="none" spc="0" normalizeH="0" baseline="0" noProof="0">
                <a:ln>
                  <a:noFill/>
                </a:ln>
                <a:solidFill>
                  <a:srgbClr val="000000"/>
                </a:solidFill>
                <a:effectLst/>
                <a:uLnTx/>
                <a:uFillTx/>
                <a:latin typeface="Poppins"/>
                <a:ea typeface="+mn-ea"/>
                <a:cs typeface="+mn-cs"/>
                <a:hlinkClick r:id="rId3"/>
              </a:rPr>
              <a:t>https://www.weforum.org/publications/global-risks-report-2025/in-full/global-risks-2025-a-world-of-growing-divisions-c943fe3ba0/</a:t>
            </a:r>
            <a:r>
              <a:rPr kumimoji="0" lang="en-US" sz="728" b="0" i="0" u="none" strike="noStrike" kern="1200" cap="none" spc="0" normalizeH="0" baseline="0" noProof="0">
                <a:ln>
                  <a:noFill/>
                </a:ln>
                <a:solidFill>
                  <a:srgbClr val="000000"/>
                </a:solidFill>
                <a:effectLst/>
                <a:uLnTx/>
                <a:uFillTx/>
                <a:latin typeface="Poppins"/>
                <a:ea typeface="+mn-ea"/>
                <a:cs typeface="+mn-cs"/>
              </a:rPr>
              <a:t>; </a:t>
            </a:r>
            <a:r>
              <a:rPr kumimoji="0" lang="en-US" sz="728" b="0" i="0" u="none" strike="noStrike" kern="1200" cap="none" spc="0" normalizeH="0" baseline="0" noProof="0">
                <a:ln>
                  <a:noFill/>
                </a:ln>
                <a:solidFill>
                  <a:srgbClr val="000000">
                    <a:tint val="75000"/>
                  </a:srgbClr>
                </a:solidFill>
                <a:effectLst/>
                <a:uLnTx/>
                <a:uFillTx/>
                <a:latin typeface="Poppins"/>
                <a:ea typeface="+mn-ea"/>
                <a:cs typeface="Poppins" pitchFamily="2" charset="77"/>
              </a:rPr>
              <a:t>Domestic budget: </a:t>
            </a:r>
            <a:r>
              <a:rPr kumimoji="0" lang="en-US" sz="728" b="0" i="0" u="none" strike="noStrike" kern="1200" cap="none" spc="0" normalizeH="0" baseline="0" noProof="0">
                <a:ln>
                  <a:noFill/>
                </a:ln>
                <a:solidFill>
                  <a:srgbClr val="000000"/>
                </a:solidFill>
                <a:effectLst/>
                <a:uLnTx/>
                <a:uFillTx/>
                <a:latin typeface="Poppins"/>
                <a:ea typeface="+mn-ea"/>
                <a:cs typeface="+mn-cs"/>
                <a:hlinkClick r:id="rId4"/>
              </a:rPr>
              <a:t>https://iris.who.int/bitstream/handle/10665/379750/9789240104495-eng.pdf?sequence=1&amp;isAllowed=y</a:t>
            </a:r>
            <a:r>
              <a:rPr kumimoji="0" lang="en-US" sz="728" b="0" i="0" u="none" strike="noStrike" kern="1200" cap="none" spc="0" normalizeH="0" baseline="0" noProof="0">
                <a:ln>
                  <a:noFill/>
                </a:ln>
                <a:solidFill>
                  <a:srgbClr val="000000"/>
                </a:solidFill>
                <a:effectLst/>
                <a:uLnTx/>
                <a:uFillTx/>
                <a:latin typeface="Poppins"/>
                <a:ea typeface="+mn-ea"/>
                <a:cs typeface="+mn-cs"/>
              </a:rPr>
              <a:t> </a:t>
            </a:r>
          </a:p>
        </p:txBody>
      </p:sp>
      <p:grpSp>
        <p:nvGrpSpPr>
          <p:cNvPr id="1024" name="Group 1023">
            <a:extLst>
              <a:ext uri="{FF2B5EF4-FFF2-40B4-BE49-F238E27FC236}">
                <a16:creationId xmlns:a16="http://schemas.microsoft.com/office/drawing/2014/main" id="{AB4D6C6D-A99E-45C3-26D5-300E196BCA4D}"/>
              </a:ext>
            </a:extLst>
          </p:cNvPr>
          <p:cNvGrpSpPr/>
          <p:nvPr/>
        </p:nvGrpSpPr>
        <p:grpSpPr>
          <a:xfrm>
            <a:off x="673615" y="4008364"/>
            <a:ext cx="2515353" cy="663665"/>
            <a:chOff x="1109507" y="6000556"/>
            <a:chExt cx="4148293" cy="1094508"/>
          </a:xfrm>
        </p:grpSpPr>
        <p:sp>
          <p:nvSpPr>
            <p:cNvPr id="18" name="Rectangle 17">
              <a:extLst>
                <a:ext uri="{FF2B5EF4-FFF2-40B4-BE49-F238E27FC236}">
                  <a16:creationId xmlns:a16="http://schemas.microsoft.com/office/drawing/2014/main" id="{701E0CD6-8E34-9C67-16A9-53494DE943E6}"/>
                </a:ext>
              </a:extLst>
            </p:cNvPr>
            <p:cNvSpPr/>
            <p:nvPr/>
          </p:nvSpPr>
          <p:spPr>
            <a:xfrm>
              <a:off x="1109507" y="6215638"/>
              <a:ext cx="311268" cy="561395"/>
            </a:xfrm>
            <a:prstGeom prst="rect">
              <a:avLst/>
            </a:prstGeom>
            <a:solidFill>
              <a:srgbClr val="C10077"/>
            </a:solidFill>
            <a:ln w="9525" cap="rnd" cmpd="sng" algn="ctr">
              <a:solidFill>
                <a:srgbClr val="C1007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5445" tIns="27723" rIns="55445" bIns="277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en-US" sz="970" b="0" i="0" u="none" strike="noStrike" kern="1200" cap="none" spc="0" normalizeH="0" baseline="0" noProof="0">
                <a:ln>
                  <a:noFill/>
                </a:ln>
                <a:solidFill>
                  <a:srgbClr val="FFFFFF"/>
                </a:solidFill>
                <a:effectLst/>
                <a:uLnTx/>
                <a:uFillTx/>
                <a:latin typeface="Poppins"/>
                <a:ea typeface="+mn-ea"/>
                <a:cs typeface="+mn-cs"/>
              </a:endParaRPr>
            </a:p>
          </p:txBody>
        </p:sp>
        <p:sp>
          <p:nvSpPr>
            <p:cNvPr id="19" name="Oval 18">
              <a:extLst>
                <a:ext uri="{FF2B5EF4-FFF2-40B4-BE49-F238E27FC236}">
                  <a16:creationId xmlns:a16="http://schemas.microsoft.com/office/drawing/2014/main" id="{7B5083C7-5F82-6CF6-4B37-109D3F348FB8}"/>
                </a:ext>
              </a:extLst>
            </p:cNvPr>
            <p:cNvSpPr/>
            <p:nvPr/>
          </p:nvSpPr>
          <p:spPr>
            <a:xfrm>
              <a:off x="1280379" y="6000556"/>
              <a:ext cx="1086253" cy="991557"/>
            </a:xfrm>
            <a:prstGeom prst="ellipse">
              <a:avLst/>
            </a:prstGeom>
            <a:solidFill>
              <a:srgbClr val="FFFFFF"/>
            </a:solidFill>
            <a:ln w="19050" cap="flat" cmpd="sng" algn="ctr">
              <a:solidFill>
                <a:srgbClr val="C10077"/>
              </a:solidFill>
              <a:prstDash val="solid"/>
              <a:round/>
              <a:headEnd type="none" w="med" len="med"/>
              <a:tailEnd type="none" w="med" len="me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54466" rtl="0" eaLnBrk="1" fontAlgn="auto" latinLnBrk="0" hangingPunct="1">
                <a:lnSpc>
                  <a:spcPct val="95000"/>
                </a:lnSpc>
                <a:spcBef>
                  <a:spcPts val="0"/>
                </a:spcBef>
                <a:spcAft>
                  <a:spcPts val="0"/>
                </a:spcAft>
                <a:buClrTx/>
                <a:buSzTx/>
                <a:buFontTx/>
                <a:buNone/>
                <a:tabLst/>
                <a:defRPr/>
              </a:pPr>
              <a:endParaRPr kumimoji="0" lang="en-US" sz="1455" b="0" i="0" u="none" strike="noStrike" kern="0" cap="none" spc="0" normalizeH="0" baseline="0" noProof="0">
                <a:ln>
                  <a:noFill/>
                </a:ln>
                <a:solidFill>
                  <a:srgbClr val="000000"/>
                </a:solidFill>
                <a:effectLst/>
                <a:uLnTx/>
                <a:uFillTx/>
                <a:latin typeface="Poppins"/>
                <a:ea typeface="+mn-ea"/>
                <a:cs typeface="+mn-cs"/>
              </a:endParaRPr>
            </a:p>
          </p:txBody>
        </p:sp>
        <p:sp>
          <p:nvSpPr>
            <p:cNvPr id="21" name="ee4pHeader1">
              <a:extLst>
                <a:ext uri="{FF2B5EF4-FFF2-40B4-BE49-F238E27FC236}">
                  <a16:creationId xmlns:a16="http://schemas.microsoft.com/office/drawing/2014/main" id="{53F4363D-9058-FAD1-C8AA-175C5F0793D5}"/>
                </a:ext>
              </a:extLst>
            </p:cNvPr>
            <p:cNvSpPr txBox="1"/>
            <p:nvPr/>
          </p:nvSpPr>
          <p:spPr>
            <a:xfrm>
              <a:off x="2327153" y="6016036"/>
              <a:ext cx="2930647" cy="1079028"/>
            </a:xfrm>
            <a:prstGeom prst="rect">
              <a:avLst/>
            </a:prstGeom>
            <a:noFill/>
            <a:ln cap="rnd">
              <a:noFill/>
            </a:ln>
          </p:spPr>
          <p:txBody>
            <a:bodyPr wrap="square" lIns="109144"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54466" rtl="0" eaLnBrk="1" fontAlgn="auto" latinLnBrk="0" hangingPunct="1">
                <a:lnSpc>
                  <a:spcPct val="100000"/>
                </a:lnSpc>
                <a:spcBef>
                  <a:spcPts val="0"/>
                </a:spcBef>
                <a:spcAft>
                  <a:spcPts val="0"/>
                </a:spcAft>
                <a:buClr>
                  <a:srgbClr val="EB5A53"/>
                </a:buClr>
                <a:buSzTx/>
                <a:buFont typeface="Trebuchet MS" panose="020B0603020202020204" pitchFamily="34" charset="0"/>
                <a:buChar char="​"/>
                <a:tabLst/>
                <a:defRPr/>
              </a:pPr>
              <a:r>
                <a:rPr kumimoji="0" lang="en-US" sz="1455" b="1" i="0" u="none" strike="noStrike" kern="1200" cap="none" spc="0" normalizeH="0" baseline="0" noProof="0">
                  <a:ln>
                    <a:noFill/>
                  </a:ln>
                  <a:solidFill>
                    <a:srgbClr val="C10077"/>
                  </a:solidFill>
                  <a:effectLst/>
                  <a:uLnTx/>
                  <a:uFillTx/>
                  <a:latin typeface="Poppins"/>
                  <a:ea typeface="+mn-ea"/>
                  <a:cs typeface="+mn-cs"/>
                </a:rPr>
                <a:t>Persistent geopolitical instability</a:t>
              </a:r>
              <a:endParaRPr kumimoji="0" lang="en-US" sz="1455" b="0" i="0" u="none" strike="noStrike" kern="1200" cap="none" spc="0" normalizeH="0" baseline="0" noProof="0">
                <a:ln>
                  <a:noFill/>
                </a:ln>
                <a:solidFill>
                  <a:srgbClr val="C10077"/>
                </a:solidFill>
                <a:effectLst/>
                <a:uLnTx/>
                <a:uFillTx/>
                <a:latin typeface="Poppins"/>
                <a:ea typeface="+mn-ea"/>
                <a:cs typeface="Poppins"/>
              </a:endParaRPr>
            </a:p>
          </p:txBody>
        </p:sp>
        <p:pic>
          <p:nvPicPr>
            <p:cNvPr id="25" name="Graphic 24">
              <a:extLst>
                <a:ext uri="{FF2B5EF4-FFF2-40B4-BE49-F238E27FC236}">
                  <a16:creationId xmlns:a16="http://schemas.microsoft.com/office/drawing/2014/main" id="{4486A836-A371-4893-31ED-C56E422722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66306" y="6039135"/>
              <a:ext cx="914400" cy="914400"/>
            </a:xfrm>
            <a:prstGeom prst="rect">
              <a:avLst/>
            </a:prstGeom>
          </p:spPr>
        </p:pic>
      </p:grpSp>
      <p:sp>
        <p:nvSpPr>
          <p:cNvPr id="29" name="ee4pHeader1">
            <a:extLst>
              <a:ext uri="{FF2B5EF4-FFF2-40B4-BE49-F238E27FC236}">
                <a16:creationId xmlns:a16="http://schemas.microsoft.com/office/drawing/2014/main" id="{4C26CFD7-0F84-E99A-A689-57208FDD1369}"/>
              </a:ext>
            </a:extLst>
          </p:cNvPr>
          <p:cNvSpPr txBox="1"/>
          <p:nvPr/>
        </p:nvSpPr>
        <p:spPr>
          <a:xfrm>
            <a:off x="7455956" y="4008364"/>
            <a:ext cx="3859245" cy="654278"/>
          </a:xfrm>
          <a:prstGeom prst="rect">
            <a:avLst/>
          </a:prstGeom>
          <a:noFill/>
          <a:ln cap="rnd">
            <a:noFill/>
          </a:ln>
        </p:spPr>
        <p:txBody>
          <a:bodyPr wrap="square" lIns="109144"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54466" rtl="0" eaLnBrk="1" fontAlgn="auto" latinLnBrk="0" hangingPunct="1">
              <a:lnSpc>
                <a:spcPct val="100000"/>
              </a:lnSpc>
              <a:spcBef>
                <a:spcPts val="0"/>
              </a:spcBef>
              <a:spcAft>
                <a:spcPts val="0"/>
              </a:spcAft>
              <a:buClr>
                <a:srgbClr val="EB5A53"/>
              </a:buClr>
              <a:buSzTx/>
              <a:buFont typeface="Trebuchet MS" panose="020B0603020202020204" pitchFamily="34" charset="0"/>
              <a:buChar char="​"/>
              <a:tabLst/>
              <a:defRPr/>
            </a:pPr>
            <a:r>
              <a:rPr kumimoji="0" lang="en-US" sz="1455" b="1" i="0" u="none" strike="noStrike" kern="1200" cap="none" spc="0" normalizeH="0" baseline="0" noProof="0">
                <a:ln>
                  <a:noFill/>
                </a:ln>
                <a:solidFill>
                  <a:srgbClr val="C10077"/>
                </a:solidFill>
                <a:effectLst/>
                <a:uLnTx/>
                <a:uFillTx/>
                <a:latin typeface="Poppins"/>
                <a:ea typeface="+mn-ea"/>
                <a:cs typeface="+mn-cs"/>
              </a:rPr>
              <a:t>Shifts in global health architecture</a:t>
            </a:r>
            <a:endParaRPr kumimoji="0" lang="en-US" sz="1455" b="0" i="0" u="none" strike="noStrike" kern="1200" cap="none" spc="0" normalizeH="0" baseline="0" noProof="0">
              <a:ln>
                <a:noFill/>
              </a:ln>
              <a:solidFill>
                <a:srgbClr val="C10077"/>
              </a:solidFill>
              <a:effectLst/>
              <a:uLnTx/>
              <a:uFillTx/>
              <a:latin typeface="Poppins"/>
              <a:ea typeface="+mn-ea"/>
              <a:cs typeface="Poppins"/>
            </a:endParaRPr>
          </a:p>
        </p:txBody>
      </p:sp>
      <p:sp>
        <p:nvSpPr>
          <p:cNvPr id="26" name="Rectangle 25">
            <a:extLst>
              <a:ext uri="{FF2B5EF4-FFF2-40B4-BE49-F238E27FC236}">
                <a16:creationId xmlns:a16="http://schemas.microsoft.com/office/drawing/2014/main" id="{A5106A7C-09D6-640B-6A5B-341FA471777C}"/>
              </a:ext>
            </a:extLst>
          </p:cNvPr>
          <p:cNvSpPr/>
          <p:nvPr/>
        </p:nvSpPr>
        <p:spPr>
          <a:xfrm>
            <a:off x="6678124" y="4174087"/>
            <a:ext cx="188740" cy="340406"/>
          </a:xfrm>
          <a:prstGeom prst="rect">
            <a:avLst/>
          </a:prstGeom>
          <a:solidFill>
            <a:srgbClr val="C10077"/>
          </a:solidFill>
          <a:ln w="9525" cap="rnd" cmpd="sng" algn="ctr">
            <a:solidFill>
              <a:srgbClr val="C1007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5445" tIns="27723" rIns="55445" bIns="277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en-US" sz="970" b="0" i="0" u="none" strike="noStrike" kern="1200" cap="none" spc="0" normalizeH="0" baseline="0" noProof="0">
              <a:ln>
                <a:noFill/>
              </a:ln>
              <a:solidFill>
                <a:srgbClr val="FFFFFF"/>
              </a:solidFill>
              <a:effectLst/>
              <a:uLnTx/>
              <a:uFillTx/>
              <a:latin typeface="Poppins"/>
              <a:ea typeface="+mn-ea"/>
              <a:cs typeface="+mn-cs"/>
            </a:endParaRPr>
          </a:p>
        </p:txBody>
      </p:sp>
      <p:sp>
        <p:nvSpPr>
          <p:cNvPr id="27" name="Oval 26">
            <a:extLst>
              <a:ext uri="{FF2B5EF4-FFF2-40B4-BE49-F238E27FC236}">
                <a16:creationId xmlns:a16="http://schemas.microsoft.com/office/drawing/2014/main" id="{45BE5889-4874-7823-A25F-3AAA0A6BF406}"/>
              </a:ext>
            </a:extLst>
          </p:cNvPr>
          <p:cNvSpPr/>
          <p:nvPr/>
        </p:nvSpPr>
        <p:spPr>
          <a:xfrm>
            <a:off x="6805773" y="4043670"/>
            <a:ext cx="598781" cy="601239"/>
          </a:xfrm>
          <a:prstGeom prst="ellipse">
            <a:avLst/>
          </a:prstGeom>
          <a:solidFill>
            <a:srgbClr val="FFFFFF"/>
          </a:solidFill>
          <a:ln w="19050" cap="flat" cmpd="sng" algn="ctr">
            <a:solidFill>
              <a:srgbClr val="C10077"/>
            </a:solidFill>
            <a:prstDash val="solid"/>
            <a:round/>
            <a:headEnd type="none" w="med" len="med"/>
            <a:tailEnd type="none" w="med" len="me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54466" rtl="0" eaLnBrk="1" fontAlgn="auto" latinLnBrk="0" hangingPunct="1">
              <a:lnSpc>
                <a:spcPct val="95000"/>
              </a:lnSpc>
              <a:spcBef>
                <a:spcPts val="0"/>
              </a:spcBef>
              <a:spcAft>
                <a:spcPts val="0"/>
              </a:spcAft>
              <a:buClrTx/>
              <a:buSzTx/>
              <a:buFontTx/>
              <a:buNone/>
              <a:tabLst/>
              <a:defRPr/>
            </a:pPr>
            <a:endParaRPr kumimoji="0" lang="en-US" sz="1455" b="0" i="0" u="none" strike="noStrike" kern="0" cap="none" spc="0" normalizeH="0" baseline="0" noProof="0">
              <a:ln>
                <a:noFill/>
              </a:ln>
              <a:solidFill>
                <a:srgbClr val="000000"/>
              </a:solidFill>
              <a:effectLst/>
              <a:uLnTx/>
              <a:uFillTx/>
              <a:latin typeface="Poppins"/>
              <a:ea typeface="+mn-ea"/>
              <a:cs typeface="+mn-cs"/>
            </a:endParaRPr>
          </a:p>
        </p:txBody>
      </p:sp>
      <p:pic>
        <p:nvPicPr>
          <p:cNvPr id="31" name="Graphic 30">
            <a:extLst>
              <a:ext uri="{FF2B5EF4-FFF2-40B4-BE49-F238E27FC236}">
                <a16:creationId xmlns:a16="http://schemas.microsoft.com/office/drawing/2014/main" id="{A217CB1F-ABA8-9D88-8F9A-48F1CA5BAC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18116" y="4067063"/>
            <a:ext cx="554454" cy="554454"/>
          </a:xfrm>
          <a:prstGeom prst="rect">
            <a:avLst/>
          </a:prstGeom>
        </p:spPr>
      </p:pic>
      <p:grpSp>
        <p:nvGrpSpPr>
          <p:cNvPr id="1025" name="Group 1024">
            <a:extLst>
              <a:ext uri="{FF2B5EF4-FFF2-40B4-BE49-F238E27FC236}">
                <a16:creationId xmlns:a16="http://schemas.microsoft.com/office/drawing/2014/main" id="{92AA8F8E-D9C8-D604-A843-682B6D22C179}"/>
              </a:ext>
            </a:extLst>
          </p:cNvPr>
          <p:cNvGrpSpPr/>
          <p:nvPr/>
        </p:nvGrpSpPr>
        <p:grpSpPr>
          <a:xfrm>
            <a:off x="6678123" y="1572477"/>
            <a:ext cx="4613580" cy="654278"/>
            <a:chOff x="11012081" y="2592915"/>
            <a:chExt cx="7608669" cy="1079028"/>
          </a:xfrm>
        </p:grpSpPr>
        <p:sp>
          <p:nvSpPr>
            <p:cNvPr id="11" name="Rectangle 10">
              <a:extLst>
                <a:ext uri="{FF2B5EF4-FFF2-40B4-BE49-F238E27FC236}">
                  <a16:creationId xmlns:a16="http://schemas.microsoft.com/office/drawing/2014/main" id="{56C32CDD-2E5B-C4ED-4606-8A883E06E5AC}"/>
                </a:ext>
              </a:extLst>
            </p:cNvPr>
            <p:cNvSpPr/>
            <p:nvPr/>
          </p:nvSpPr>
          <p:spPr>
            <a:xfrm>
              <a:off x="11012081" y="2851732"/>
              <a:ext cx="311268" cy="561395"/>
            </a:xfrm>
            <a:prstGeom prst="rect">
              <a:avLst/>
            </a:prstGeom>
            <a:solidFill>
              <a:srgbClr val="C10077"/>
            </a:solidFill>
            <a:ln w="9525" cap="rnd" cmpd="sng" algn="ctr">
              <a:solidFill>
                <a:srgbClr val="EB59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5445" tIns="27723" rIns="55445" bIns="277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en-US" sz="970" b="0" i="0" u="none" strike="noStrike" kern="1200" cap="none" spc="0" normalizeH="0" baseline="0" noProof="0">
                <a:ln>
                  <a:noFill/>
                </a:ln>
                <a:solidFill>
                  <a:srgbClr val="FFFFFF"/>
                </a:solidFill>
                <a:effectLst/>
                <a:uLnTx/>
                <a:uFillTx/>
                <a:latin typeface="Poppins"/>
                <a:ea typeface="+mn-ea"/>
                <a:cs typeface="+mn-cs"/>
              </a:endParaRPr>
            </a:p>
          </p:txBody>
        </p:sp>
        <p:sp>
          <p:nvSpPr>
            <p:cNvPr id="12" name="Oval 11">
              <a:extLst>
                <a:ext uri="{FF2B5EF4-FFF2-40B4-BE49-F238E27FC236}">
                  <a16:creationId xmlns:a16="http://schemas.microsoft.com/office/drawing/2014/main" id="{B556A904-6793-B3BD-6089-47073FDD9BA7}"/>
                </a:ext>
              </a:extLst>
            </p:cNvPr>
            <p:cNvSpPr/>
            <p:nvPr/>
          </p:nvSpPr>
          <p:spPr>
            <a:xfrm>
              <a:off x="11232328" y="2636651"/>
              <a:ext cx="987503" cy="991557"/>
            </a:xfrm>
            <a:prstGeom prst="ellipse">
              <a:avLst/>
            </a:prstGeom>
            <a:solidFill>
              <a:srgbClr val="FFFFFF"/>
            </a:solidFill>
            <a:ln w="19050" cap="flat" cmpd="sng" algn="ctr">
              <a:solidFill>
                <a:srgbClr val="C10077"/>
              </a:solidFill>
              <a:prstDash val="solid"/>
              <a:round/>
              <a:headEnd type="none" w="med" len="med"/>
              <a:tailEnd type="none" w="med" len="me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54466" rtl="0" eaLnBrk="1" fontAlgn="auto" latinLnBrk="0" hangingPunct="1">
                <a:lnSpc>
                  <a:spcPct val="95000"/>
                </a:lnSpc>
                <a:spcBef>
                  <a:spcPts val="0"/>
                </a:spcBef>
                <a:spcAft>
                  <a:spcPts val="0"/>
                </a:spcAft>
                <a:buClrTx/>
                <a:buSzTx/>
                <a:buFontTx/>
                <a:buNone/>
                <a:tabLst/>
                <a:defRPr/>
              </a:pPr>
              <a:endParaRPr kumimoji="0" lang="en-US" sz="1455" b="0" i="0" u="none" strike="noStrike" kern="0" cap="none" spc="0" normalizeH="0" baseline="0" noProof="0">
                <a:ln>
                  <a:noFill/>
                </a:ln>
                <a:solidFill>
                  <a:srgbClr val="000000"/>
                </a:solidFill>
                <a:effectLst/>
                <a:uLnTx/>
                <a:uFillTx/>
                <a:latin typeface="Poppins"/>
                <a:ea typeface="+mn-ea"/>
                <a:cs typeface="+mn-cs"/>
              </a:endParaRPr>
            </a:p>
          </p:txBody>
        </p:sp>
        <p:sp>
          <p:nvSpPr>
            <p:cNvPr id="16" name="ee4pHeader1">
              <a:extLst>
                <a:ext uri="{FF2B5EF4-FFF2-40B4-BE49-F238E27FC236}">
                  <a16:creationId xmlns:a16="http://schemas.microsoft.com/office/drawing/2014/main" id="{625C072D-7596-A45B-6B17-FD0EB79733FE}"/>
                </a:ext>
              </a:extLst>
            </p:cNvPr>
            <p:cNvSpPr txBox="1"/>
            <p:nvPr/>
          </p:nvSpPr>
          <p:spPr>
            <a:xfrm>
              <a:off x="12256123" y="2592915"/>
              <a:ext cx="6364627" cy="1079028"/>
            </a:xfrm>
            <a:prstGeom prst="rect">
              <a:avLst/>
            </a:prstGeom>
            <a:noFill/>
            <a:ln cap="rnd">
              <a:noFill/>
            </a:ln>
          </p:spPr>
          <p:txBody>
            <a:bodyPr wrap="square" lIns="109144"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54466" rtl="0" eaLnBrk="1" fontAlgn="auto" latinLnBrk="0" hangingPunct="1">
                <a:lnSpc>
                  <a:spcPct val="100000"/>
                </a:lnSpc>
                <a:spcBef>
                  <a:spcPts val="0"/>
                </a:spcBef>
                <a:spcAft>
                  <a:spcPts val="0"/>
                </a:spcAft>
                <a:buClr>
                  <a:srgbClr val="EB5A53"/>
                </a:buClr>
                <a:buSzTx/>
                <a:buFont typeface="Trebuchet MS" panose="020B0603020202020204" pitchFamily="34" charset="0"/>
                <a:buChar char="​"/>
                <a:tabLst/>
                <a:defRPr/>
              </a:pPr>
              <a:r>
                <a:rPr kumimoji="0" lang="en-US" sz="1455" b="1" i="0" u="none" strike="noStrike" kern="1200" cap="none" spc="0" normalizeH="0" baseline="0" noProof="0">
                  <a:ln>
                    <a:noFill/>
                  </a:ln>
                  <a:solidFill>
                    <a:srgbClr val="C10077"/>
                  </a:solidFill>
                  <a:effectLst/>
                  <a:uLnTx/>
                  <a:uFillTx/>
                  <a:latin typeface="Poppins"/>
                  <a:ea typeface="+mn-ea"/>
                  <a:cs typeface="+mn-cs"/>
                </a:rPr>
                <a:t>Reduced domestic budget allocation for health</a:t>
              </a:r>
              <a:endParaRPr kumimoji="0" lang="en-US" sz="1455" b="0" i="0" u="none" strike="noStrike" kern="1200" cap="none" spc="0" normalizeH="0" baseline="0" noProof="0">
                <a:ln>
                  <a:noFill/>
                </a:ln>
                <a:solidFill>
                  <a:srgbClr val="C10077"/>
                </a:solidFill>
                <a:effectLst/>
                <a:uLnTx/>
                <a:uFillTx/>
                <a:latin typeface="Poppins"/>
                <a:ea typeface="+mn-ea"/>
                <a:cs typeface="Poppins"/>
              </a:endParaRPr>
            </a:p>
          </p:txBody>
        </p:sp>
        <p:grpSp>
          <p:nvGrpSpPr>
            <p:cNvPr id="20" name="bcgIcons_Venture Capital ">
              <a:extLst>
                <a:ext uri="{FF2B5EF4-FFF2-40B4-BE49-F238E27FC236}">
                  <a16:creationId xmlns:a16="http://schemas.microsoft.com/office/drawing/2014/main" id="{8CC257F5-5F9E-EB57-E7A6-0BF07B0F4074}"/>
                </a:ext>
              </a:extLst>
            </p:cNvPr>
            <p:cNvGrpSpPr>
              <a:grpSpLocks noChangeAspect="1"/>
            </p:cNvGrpSpPr>
            <p:nvPr/>
          </p:nvGrpSpPr>
          <p:grpSpPr>
            <a:xfrm>
              <a:off x="11259227" y="2644028"/>
              <a:ext cx="933703" cy="936666"/>
              <a:chOff x="559030" y="2731362"/>
              <a:chExt cx="1644650" cy="1644650"/>
            </a:xfrm>
          </p:grpSpPr>
          <p:sp>
            <p:nvSpPr>
              <p:cNvPr id="28" name="AutoShape 3">
                <a:extLst>
                  <a:ext uri="{FF2B5EF4-FFF2-40B4-BE49-F238E27FC236}">
                    <a16:creationId xmlns:a16="http://schemas.microsoft.com/office/drawing/2014/main" id="{F2D173AD-49C7-2727-9977-1674F91BFDC8}"/>
                  </a:ext>
                </a:extLst>
              </p:cNvPr>
              <p:cNvSpPr>
                <a:spLocks noChangeAspect="1" noChangeArrowheads="1" noTextEdit="1"/>
              </p:cNvSpPr>
              <p:nvPr/>
            </p:nvSpPr>
            <p:spPr bwMode="auto">
              <a:xfrm>
                <a:off x="559030" y="2731362"/>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5445" tIns="27723" rIns="55445" bIns="277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54466"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00000"/>
                  </a:solidFill>
                  <a:effectLst/>
                  <a:uLnTx/>
                  <a:uFillTx/>
                  <a:latin typeface="Poppins"/>
                  <a:ea typeface="+mn-ea"/>
                  <a:cs typeface="+mn-cs"/>
                </a:endParaRPr>
              </a:p>
            </p:txBody>
          </p:sp>
          <p:grpSp>
            <p:nvGrpSpPr>
              <p:cNvPr id="34" name="Group 33">
                <a:extLst>
                  <a:ext uri="{FF2B5EF4-FFF2-40B4-BE49-F238E27FC236}">
                    <a16:creationId xmlns:a16="http://schemas.microsoft.com/office/drawing/2014/main" id="{E8996EE1-0B33-49F2-1460-375BE2A09904}"/>
                  </a:ext>
                </a:extLst>
              </p:cNvPr>
              <p:cNvGrpSpPr/>
              <p:nvPr/>
            </p:nvGrpSpPr>
            <p:grpSpPr>
              <a:xfrm>
                <a:off x="887643" y="2994887"/>
                <a:ext cx="984250" cy="1104900"/>
                <a:chOff x="887643" y="2994887"/>
                <a:chExt cx="984250" cy="1104900"/>
              </a:xfrm>
            </p:grpSpPr>
            <p:sp>
              <p:nvSpPr>
                <p:cNvPr id="35" name="Freeform 10">
                  <a:extLst>
                    <a:ext uri="{FF2B5EF4-FFF2-40B4-BE49-F238E27FC236}">
                      <a16:creationId xmlns:a16="http://schemas.microsoft.com/office/drawing/2014/main" id="{49EB61E7-BCE7-9F9D-84AC-AC726C16B7BA}"/>
                    </a:ext>
                  </a:extLst>
                </p:cNvPr>
                <p:cNvSpPr>
                  <a:spLocks/>
                </p:cNvSpPr>
                <p:nvPr/>
              </p:nvSpPr>
              <p:spPr bwMode="auto">
                <a:xfrm>
                  <a:off x="953749" y="3067910"/>
                  <a:ext cx="851128" cy="969963"/>
                </a:xfrm>
                <a:custGeom>
                  <a:avLst/>
                  <a:gdLst>
                    <a:gd name="connsiteX0" fmla="*/ 399103 w 851129"/>
                    <a:gd name="connsiteY0" fmla="*/ 419100 h 969963"/>
                    <a:gd name="connsiteX1" fmla="*/ 399103 w 851129"/>
                    <a:gd name="connsiteY1" fmla="*/ 457745 h 969963"/>
                    <a:gd name="connsiteX2" fmla="*/ 351016 w 851129"/>
                    <a:gd name="connsiteY2" fmla="*/ 486372 h 969963"/>
                    <a:gd name="connsiteX3" fmla="*/ 333073 w 851129"/>
                    <a:gd name="connsiteY3" fmla="*/ 537183 h 969963"/>
                    <a:gd name="connsiteX4" fmla="*/ 339532 w 851129"/>
                    <a:gd name="connsiteY4" fmla="*/ 572966 h 969963"/>
                    <a:gd name="connsiteX5" fmla="*/ 358911 w 851129"/>
                    <a:gd name="connsiteY5" fmla="*/ 600160 h 969963"/>
                    <a:gd name="connsiteX6" fmla="*/ 405563 w 851129"/>
                    <a:gd name="connsiteY6" fmla="*/ 628786 h 969963"/>
                    <a:gd name="connsiteX7" fmla="*/ 452215 w 851129"/>
                    <a:gd name="connsiteY7" fmla="*/ 660991 h 969963"/>
                    <a:gd name="connsiteX8" fmla="*/ 465133 w 851129"/>
                    <a:gd name="connsiteY8" fmla="*/ 692480 h 969963"/>
                    <a:gd name="connsiteX9" fmla="*/ 416329 w 851129"/>
                    <a:gd name="connsiteY9" fmla="*/ 726115 h 969963"/>
                    <a:gd name="connsiteX10" fmla="*/ 352451 w 851129"/>
                    <a:gd name="connsiteY10" fmla="*/ 703214 h 969963"/>
                    <a:gd name="connsiteX11" fmla="*/ 332355 w 851129"/>
                    <a:gd name="connsiteY11" fmla="*/ 752594 h 969963"/>
                    <a:gd name="connsiteX12" fmla="*/ 399103 w 851129"/>
                    <a:gd name="connsiteY12" fmla="*/ 774064 h 969963"/>
                    <a:gd name="connsiteX13" fmla="*/ 399103 w 851129"/>
                    <a:gd name="connsiteY13" fmla="*/ 819150 h 969963"/>
                    <a:gd name="connsiteX14" fmla="*/ 447908 w 851129"/>
                    <a:gd name="connsiteY14" fmla="*/ 819150 h 969963"/>
                    <a:gd name="connsiteX15" fmla="*/ 447908 w 851129"/>
                    <a:gd name="connsiteY15" fmla="*/ 770486 h 969963"/>
                    <a:gd name="connsiteX16" fmla="*/ 501020 w 851129"/>
                    <a:gd name="connsiteY16" fmla="*/ 740428 h 969963"/>
                    <a:gd name="connsiteX17" fmla="*/ 519680 w 851129"/>
                    <a:gd name="connsiteY17" fmla="*/ 688186 h 969963"/>
                    <a:gd name="connsiteX18" fmla="*/ 512503 w 851129"/>
                    <a:gd name="connsiteY18" fmla="*/ 650256 h 969963"/>
                    <a:gd name="connsiteX19" fmla="*/ 491689 w 851129"/>
                    <a:gd name="connsiteY19" fmla="*/ 620199 h 969963"/>
                    <a:gd name="connsiteX20" fmla="*/ 446473 w 851129"/>
                    <a:gd name="connsiteY20" fmla="*/ 592288 h 969963"/>
                    <a:gd name="connsiteX21" fmla="*/ 387620 w 851129"/>
                    <a:gd name="connsiteY21" fmla="*/ 537183 h 969963"/>
                    <a:gd name="connsiteX22" fmla="*/ 397668 w 851129"/>
                    <a:gd name="connsiteY22" fmla="*/ 510704 h 969963"/>
                    <a:gd name="connsiteX23" fmla="*/ 427094 w 851129"/>
                    <a:gd name="connsiteY23" fmla="*/ 500685 h 969963"/>
                    <a:gd name="connsiteX24" fmla="*/ 488818 w 851129"/>
                    <a:gd name="connsiteY24" fmla="*/ 521439 h 969963"/>
                    <a:gd name="connsiteX25" fmla="*/ 505326 w 851129"/>
                    <a:gd name="connsiteY25" fmla="*/ 474205 h 969963"/>
                    <a:gd name="connsiteX26" fmla="*/ 447190 w 851129"/>
                    <a:gd name="connsiteY26" fmla="*/ 455598 h 969963"/>
                    <a:gd name="connsiteX27" fmla="*/ 447908 w 851129"/>
                    <a:gd name="connsiteY27" fmla="*/ 419100 h 969963"/>
                    <a:gd name="connsiteX28" fmla="*/ 399103 w 851129"/>
                    <a:gd name="connsiteY28" fmla="*/ 419100 h 969963"/>
                    <a:gd name="connsiteX29" fmla="*/ 357759 w 851129"/>
                    <a:gd name="connsiteY29" fmla="*/ 201613 h 969963"/>
                    <a:gd name="connsiteX30" fmla="*/ 494117 w 851129"/>
                    <a:gd name="connsiteY30" fmla="*/ 201613 h 969963"/>
                    <a:gd name="connsiteX31" fmla="*/ 524101 w 851129"/>
                    <a:gd name="connsiteY31" fmla="*/ 248699 h 969963"/>
                    <a:gd name="connsiteX32" fmla="*/ 702580 w 851129"/>
                    <a:gd name="connsiteY32" fmla="*/ 440608 h 969963"/>
                    <a:gd name="connsiteX33" fmla="*/ 851074 w 851129"/>
                    <a:gd name="connsiteY33" fmla="*/ 777341 h 969963"/>
                    <a:gd name="connsiteX34" fmla="*/ 851074 w 851129"/>
                    <a:gd name="connsiteY34" fmla="*/ 778054 h 969963"/>
                    <a:gd name="connsiteX35" fmla="*/ 851074 w 851129"/>
                    <a:gd name="connsiteY35" fmla="*/ 779481 h 969963"/>
                    <a:gd name="connsiteX36" fmla="*/ 851074 w 851129"/>
                    <a:gd name="connsiteY36" fmla="*/ 780194 h 969963"/>
                    <a:gd name="connsiteX37" fmla="*/ 804669 w 851129"/>
                    <a:gd name="connsiteY37" fmla="*/ 914317 h 969963"/>
                    <a:gd name="connsiteX38" fmla="*/ 641183 w 851129"/>
                    <a:gd name="connsiteY38" fmla="*/ 969963 h 969963"/>
                    <a:gd name="connsiteX39" fmla="*/ 210693 w 851129"/>
                    <a:gd name="connsiteY39" fmla="*/ 969963 h 969963"/>
                    <a:gd name="connsiteX40" fmla="*/ 46493 w 851129"/>
                    <a:gd name="connsiteY40" fmla="*/ 914317 h 969963"/>
                    <a:gd name="connsiteX41" fmla="*/ 89 w 851129"/>
                    <a:gd name="connsiteY41" fmla="*/ 780194 h 969963"/>
                    <a:gd name="connsiteX42" fmla="*/ 89 w 851129"/>
                    <a:gd name="connsiteY42" fmla="*/ 779481 h 969963"/>
                    <a:gd name="connsiteX43" fmla="*/ 89 w 851129"/>
                    <a:gd name="connsiteY43" fmla="*/ 778054 h 969963"/>
                    <a:gd name="connsiteX44" fmla="*/ 89 w 851129"/>
                    <a:gd name="connsiteY44" fmla="*/ 777341 h 969963"/>
                    <a:gd name="connsiteX45" fmla="*/ 149297 w 851129"/>
                    <a:gd name="connsiteY45" fmla="*/ 440608 h 969963"/>
                    <a:gd name="connsiteX46" fmla="*/ 327775 w 851129"/>
                    <a:gd name="connsiteY46" fmla="*/ 248699 h 969963"/>
                    <a:gd name="connsiteX47" fmla="*/ 357759 w 851129"/>
                    <a:gd name="connsiteY47" fmla="*/ 201613 h 969963"/>
                    <a:gd name="connsiteX48" fmla="*/ 426375 w 851129"/>
                    <a:gd name="connsiteY48" fmla="*/ 0 h 969963"/>
                    <a:gd name="connsiteX49" fmla="*/ 541196 w 851129"/>
                    <a:gd name="connsiteY49" fmla="*/ 22721 h 969963"/>
                    <a:gd name="connsiteX50" fmla="*/ 591118 w 851129"/>
                    <a:gd name="connsiteY50" fmla="*/ 48282 h 969963"/>
                    <a:gd name="connsiteX51" fmla="*/ 526932 w 851129"/>
                    <a:gd name="connsiteY51" fmla="*/ 113604 h 969963"/>
                    <a:gd name="connsiteX52" fmla="*/ 494840 w 851129"/>
                    <a:gd name="connsiteY52" fmla="*/ 168275 h 969963"/>
                    <a:gd name="connsiteX53" fmla="*/ 357910 w 851129"/>
                    <a:gd name="connsiteY53" fmla="*/ 168275 h 969963"/>
                    <a:gd name="connsiteX54" fmla="*/ 325817 w 851129"/>
                    <a:gd name="connsiteY54" fmla="*/ 113604 h 969963"/>
                    <a:gd name="connsiteX55" fmla="*/ 260918 w 851129"/>
                    <a:gd name="connsiteY55" fmla="*/ 48282 h 969963"/>
                    <a:gd name="connsiteX56" fmla="*/ 311554 w 851129"/>
                    <a:gd name="connsiteY56" fmla="*/ 22721 h 969963"/>
                    <a:gd name="connsiteX57" fmla="*/ 426375 w 851129"/>
                    <a:gd name="connsiteY57" fmla="*/ 0 h 96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51129" h="969963">
                      <a:moveTo>
                        <a:pt x="399103" y="419100"/>
                      </a:moveTo>
                      <a:cubicBezTo>
                        <a:pt x="399103" y="419100"/>
                        <a:pt x="399103" y="419100"/>
                        <a:pt x="399103" y="457745"/>
                      </a:cubicBezTo>
                      <a:cubicBezTo>
                        <a:pt x="378289" y="462755"/>
                        <a:pt x="362500" y="472058"/>
                        <a:pt x="351016" y="486372"/>
                      </a:cubicBezTo>
                      <a:cubicBezTo>
                        <a:pt x="338815" y="501400"/>
                        <a:pt x="333073" y="517860"/>
                        <a:pt x="333073" y="537183"/>
                      </a:cubicBezTo>
                      <a:cubicBezTo>
                        <a:pt x="333073" y="550065"/>
                        <a:pt x="335226" y="562231"/>
                        <a:pt x="339532" y="572966"/>
                      </a:cubicBezTo>
                      <a:cubicBezTo>
                        <a:pt x="343839" y="582985"/>
                        <a:pt x="350298" y="592288"/>
                        <a:pt x="358911" y="600160"/>
                      </a:cubicBezTo>
                      <a:cubicBezTo>
                        <a:pt x="366088" y="607317"/>
                        <a:pt x="381878" y="617336"/>
                        <a:pt x="405563" y="628786"/>
                      </a:cubicBezTo>
                      <a:cubicBezTo>
                        <a:pt x="428530" y="640237"/>
                        <a:pt x="444320" y="650972"/>
                        <a:pt x="452215" y="660991"/>
                      </a:cubicBezTo>
                      <a:cubicBezTo>
                        <a:pt x="460827" y="671010"/>
                        <a:pt x="465133" y="681029"/>
                        <a:pt x="465133" y="692480"/>
                      </a:cubicBezTo>
                      <a:cubicBezTo>
                        <a:pt x="465133" y="714665"/>
                        <a:pt x="448626" y="726115"/>
                        <a:pt x="416329" y="726115"/>
                      </a:cubicBezTo>
                      <a:cubicBezTo>
                        <a:pt x="394797" y="726115"/>
                        <a:pt x="373265" y="718243"/>
                        <a:pt x="352451" y="703214"/>
                      </a:cubicBezTo>
                      <a:cubicBezTo>
                        <a:pt x="352451" y="703214"/>
                        <a:pt x="352451" y="703214"/>
                        <a:pt x="332355" y="752594"/>
                      </a:cubicBezTo>
                      <a:cubicBezTo>
                        <a:pt x="352451" y="765476"/>
                        <a:pt x="373983" y="772633"/>
                        <a:pt x="399103" y="774064"/>
                      </a:cubicBezTo>
                      <a:cubicBezTo>
                        <a:pt x="399103" y="774064"/>
                        <a:pt x="399103" y="774064"/>
                        <a:pt x="399103" y="819150"/>
                      </a:cubicBezTo>
                      <a:cubicBezTo>
                        <a:pt x="399103" y="819150"/>
                        <a:pt x="399103" y="819150"/>
                        <a:pt x="447908" y="819150"/>
                      </a:cubicBezTo>
                      <a:cubicBezTo>
                        <a:pt x="447908" y="819150"/>
                        <a:pt x="447908" y="819150"/>
                        <a:pt x="447908" y="770486"/>
                      </a:cubicBezTo>
                      <a:cubicBezTo>
                        <a:pt x="470158" y="764761"/>
                        <a:pt x="488101" y="754741"/>
                        <a:pt x="501020" y="740428"/>
                      </a:cubicBezTo>
                      <a:cubicBezTo>
                        <a:pt x="513221" y="725400"/>
                        <a:pt x="519680" y="708224"/>
                        <a:pt x="519680" y="688186"/>
                      </a:cubicBezTo>
                      <a:cubicBezTo>
                        <a:pt x="519680" y="674588"/>
                        <a:pt x="517527" y="661706"/>
                        <a:pt x="512503" y="650256"/>
                      </a:cubicBezTo>
                      <a:cubicBezTo>
                        <a:pt x="508197" y="638806"/>
                        <a:pt x="501020" y="628786"/>
                        <a:pt x="491689" y="620199"/>
                      </a:cubicBezTo>
                      <a:cubicBezTo>
                        <a:pt x="482359" y="611611"/>
                        <a:pt x="467287" y="602307"/>
                        <a:pt x="446473" y="592288"/>
                      </a:cubicBezTo>
                      <a:cubicBezTo>
                        <a:pt x="406998" y="572966"/>
                        <a:pt x="387620" y="554359"/>
                        <a:pt x="387620" y="537183"/>
                      </a:cubicBezTo>
                      <a:cubicBezTo>
                        <a:pt x="387620" y="526448"/>
                        <a:pt x="390491" y="517860"/>
                        <a:pt x="397668" y="510704"/>
                      </a:cubicBezTo>
                      <a:cubicBezTo>
                        <a:pt x="404845" y="504263"/>
                        <a:pt x="414893" y="500685"/>
                        <a:pt x="427094" y="500685"/>
                      </a:cubicBezTo>
                      <a:cubicBezTo>
                        <a:pt x="448626" y="500685"/>
                        <a:pt x="469440" y="507841"/>
                        <a:pt x="488818" y="521439"/>
                      </a:cubicBezTo>
                      <a:cubicBezTo>
                        <a:pt x="488818" y="521439"/>
                        <a:pt x="488818" y="521439"/>
                        <a:pt x="505326" y="474205"/>
                      </a:cubicBezTo>
                      <a:cubicBezTo>
                        <a:pt x="493125" y="463471"/>
                        <a:pt x="473746" y="457745"/>
                        <a:pt x="447190" y="455598"/>
                      </a:cubicBezTo>
                      <a:cubicBezTo>
                        <a:pt x="447190" y="455598"/>
                        <a:pt x="447190" y="455598"/>
                        <a:pt x="447908" y="419100"/>
                      </a:cubicBezTo>
                      <a:cubicBezTo>
                        <a:pt x="447908" y="419100"/>
                        <a:pt x="447908" y="419100"/>
                        <a:pt x="399103" y="419100"/>
                      </a:cubicBezTo>
                      <a:close/>
                      <a:moveTo>
                        <a:pt x="357759" y="201613"/>
                      </a:moveTo>
                      <a:cubicBezTo>
                        <a:pt x="357759" y="201613"/>
                        <a:pt x="357759" y="201613"/>
                        <a:pt x="494117" y="201613"/>
                      </a:cubicBezTo>
                      <a:cubicBezTo>
                        <a:pt x="497686" y="215881"/>
                        <a:pt x="505540" y="233003"/>
                        <a:pt x="524101" y="248699"/>
                      </a:cubicBezTo>
                      <a:cubicBezTo>
                        <a:pt x="525529" y="249412"/>
                        <a:pt x="613340" y="325034"/>
                        <a:pt x="702580" y="440608"/>
                      </a:cubicBezTo>
                      <a:cubicBezTo>
                        <a:pt x="800386" y="566169"/>
                        <a:pt x="851074" y="683170"/>
                        <a:pt x="851074" y="777341"/>
                      </a:cubicBezTo>
                      <a:cubicBezTo>
                        <a:pt x="851074" y="777341"/>
                        <a:pt x="851074" y="777341"/>
                        <a:pt x="851074" y="778054"/>
                      </a:cubicBezTo>
                      <a:cubicBezTo>
                        <a:pt x="851074" y="778767"/>
                        <a:pt x="851074" y="778767"/>
                        <a:pt x="851074" y="779481"/>
                      </a:cubicBezTo>
                      <a:cubicBezTo>
                        <a:pt x="851074" y="779481"/>
                        <a:pt x="851074" y="779481"/>
                        <a:pt x="851074" y="780194"/>
                      </a:cubicBezTo>
                      <a:cubicBezTo>
                        <a:pt x="851074" y="780908"/>
                        <a:pt x="854643" y="860097"/>
                        <a:pt x="804669" y="914317"/>
                      </a:cubicBezTo>
                      <a:cubicBezTo>
                        <a:pt x="769688" y="951414"/>
                        <a:pt x="714716" y="969963"/>
                        <a:pt x="641183" y="969963"/>
                      </a:cubicBezTo>
                      <a:cubicBezTo>
                        <a:pt x="641183" y="969963"/>
                        <a:pt x="641183" y="969963"/>
                        <a:pt x="210693" y="969963"/>
                      </a:cubicBezTo>
                      <a:cubicBezTo>
                        <a:pt x="137160" y="969963"/>
                        <a:pt x="82189" y="950701"/>
                        <a:pt x="46493" y="914317"/>
                      </a:cubicBezTo>
                      <a:cubicBezTo>
                        <a:pt x="-4195" y="859384"/>
                        <a:pt x="89" y="780908"/>
                        <a:pt x="89" y="780194"/>
                      </a:cubicBezTo>
                      <a:cubicBezTo>
                        <a:pt x="89" y="780194"/>
                        <a:pt x="89" y="780194"/>
                        <a:pt x="89" y="779481"/>
                      </a:cubicBezTo>
                      <a:cubicBezTo>
                        <a:pt x="89" y="778767"/>
                        <a:pt x="89" y="778767"/>
                        <a:pt x="89" y="778054"/>
                      </a:cubicBezTo>
                      <a:cubicBezTo>
                        <a:pt x="89" y="778054"/>
                        <a:pt x="89" y="778054"/>
                        <a:pt x="89" y="777341"/>
                      </a:cubicBezTo>
                      <a:cubicBezTo>
                        <a:pt x="89" y="683170"/>
                        <a:pt x="51491" y="566169"/>
                        <a:pt x="149297" y="440608"/>
                      </a:cubicBezTo>
                      <a:cubicBezTo>
                        <a:pt x="237822" y="325034"/>
                        <a:pt x="326347" y="249412"/>
                        <a:pt x="327775" y="248699"/>
                      </a:cubicBezTo>
                      <a:cubicBezTo>
                        <a:pt x="346337" y="233003"/>
                        <a:pt x="354190" y="215881"/>
                        <a:pt x="357759" y="201613"/>
                      </a:cubicBezTo>
                      <a:close/>
                      <a:moveTo>
                        <a:pt x="426375" y="0"/>
                      </a:moveTo>
                      <a:cubicBezTo>
                        <a:pt x="466313" y="0"/>
                        <a:pt x="504824" y="7810"/>
                        <a:pt x="541196" y="22721"/>
                      </a:cubicBezTo>
                      <a:cubicBezTo>
                        <a:pt x="558312" y="30531"/>
                        <a:pt x="576855" y="39761"/>
                        <a:pt x="591118" y="48282"/>
                      </a:cubicBezTo>
                      <a:cubicBezTo>
                        <a:pt x="574715" y="66742"/>
                        <a:pt x="551180" y="91593"/>
                        <a:pt x="526932" y="113604"/>
                      </a:cubicBezTo>
                      <a:cubicBezTo>
                        <a:pt x="520514" y="119994"/>
                        <a:pt x="500545" y="139164"/>
                        <a:pt x="494840" y="168275"/>
                      </a:cubicBezTo>
                      <a:cubicBezTo>
                        <a:pt x="494840" y="168275"/>
                        <a:pt x="494840" y="168275"/>
                        <a:pt x="357910" y="168275"/>
                      </a:cubicBezTo>
                      <a:cubicBezTo>
                        <a:pt x="352205" y="139164"/>
                        <a:pt x="332236" y="119994"/>
                        <a:pt x="325817" y="113604"/>
                      </a:cubicBezTo>
                      <a:cubicBezTo>
                        <a:pt x="301569" y="91593"/>
                        <a:pt x="277321" y="66742"/>
                        <a:pt x="260918" y="48282"/>
                      </a:cubicBezTo>
                      <a:cubicBezTo>
                        <a:pt x="275182" y="39761"/>
                        <a:pt x="294437" y="30531"/>
                        <a:pt x="311554" y="22721"/>
                      </a:cubicBezTo>
                      <a:cubicBezTo>
                        <a:pt x="347926" y="7810"/>
                        <a:pt x="386437" y="0"/>
                        <a:pt x="426375" y="0"/>
                      </a:cubicBezTo>
                      <a:close/>
                    </a:path>
                  </a:pathLst>
                </a:custGeom>
                <a:solidFill>
                  <a:srgbClr val="C10077"/>
                </a:solidFill>
                <a:ln w="9525">
                  <a:noFill/>
                  <a:round/>
                  <a:headEnd/>
                  <a:tailEnd/>
                </a:ln>
              </p:spPr>
              <p:txBody>
                <a:bodyPr vert="horz" wrap="square" lIns="55445" tIns="27723" rIns="55445" bIns="27723" numCol="1"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54466" rtl="0" eaLnBrk="1" fontAlgn="auto" latinLnBrk="0" hangingPunct="1">
                    <a:lnSpc>
                      <a:spcPct val="100000"/>
                    </a:lnSpc>
                    <a:spcBef>
                      <a:spcPts val="0"/>
                    </a:spcBef>
                    <a:spcAft>
                      <a:spcPts val="0"/>
                    </a:spcAft>
                    <a:buClrTx/>
                    <a:buSzTx/>
                    <a:buFontTx/>
                    <a:buNone/>
                    <a:tabLst/>
                    <a:defRPr/>
                  </a:pPr>
                  <a:endParaRPr kumimoji="0" lang="en-US" sz="1455" b="0" i="0" u="none" strike="noStrike" kern="1200" cap="none" spc="0" normalizeH="0" baseline="0" noProof="0">
                    <a:ln>
                      <a:noFill/>
                    </a:ln>
                    <a:solidFill>
                      <a:srgbClr val="000000"/>
                    </a:solidFill>
                    <a:effectLst/>
                    <a:uLnTx/>
                    <a:uFillTx/>
                    <a:latin typeface="Poppins"/>
                    <a:ea typeface="+mn-ea"/>
                    <a:cs typeface="+mn-cs"/>
                  </a:endParaRPr>
                </a:p>
              </p:txBody>
            </p:sp>
            <p:sp>
              <p:nvSpPr>
                <p:cNvPr id="36" name="Freeform 8">
                  <a:extLst>
                    <a:ext uri="{FF2B5EF4-FFF2-40B4-BE49-F238E27FC236}">
                      <a16:creationId xmlns:a16="http://schemas.microsoft.com/office/drawing/2014/main" id="{812D582B-3FB1-DD06-595D-18CF0A0B462A}"/>
                    </a:ext>
                  </a:extLst>
                </p:cNvPr>
                <p:cNvSpPr>
                  <a:spLocks noEditPoints="1"/>
                </p:cNvSpPr>
                <p:nvPr/>
              </p:nvSpPr>
              <p:spPr bwMode="auto">
                <a:xfrm>
                  <a:off x="887643" y="2994887"/>
                  <a:ext cx="984250" cy="1104900"/>
                </a:xfrm>
                <a:custGeom>
                  <a:avLst/>
                  <a:gdLst>
                    <a:gd name="T0" fmla="*/ 885 w 1380"/>
                    <a:gd name="T1" fmla="*/ 381 h 1549"/>
                    <a:gd name="T2" fmla="*/ 890 w 1380"/>
                    <a:gd name="T3" fmla="*/ 326 h 1549"/>
                    <a:gd name="T4" fmla="*/ 886 w 1380"/>
                    <a:gd name="T5" fmla="*/ 52 h 1549"/>
                    <a:gd name="T6" fmla="*/ 352 w 1380"/>
                    <a:gd name="T7" fmla="*/ 165 h 1549"/>
                    <a:gd name="T8" fmla="*/ 509 w 1380"/>
                    <a:gd name="T9" fmla="*/ 359 h 1549"/>
                    <a:gd name="T10" fmla="*/ 6 w 1380"/>
                    <a:gd name="T11" fmla="*/ 1189 h 1549"/>
                    <a:gd name="T12" fmla="*/ 1286 w 1380"/>
                    <a:gd name="T13" fmla="*/ 1442 h 1549"/>
                    <a:gd name="T14" fmla="*/ 1261 w 1380"/>
                    <a:gd name="T15" fmla="*/ 1403 h 1549"/>
                    <a:gd name="T16" fmla="*/ 1247 w 1380"/>
                    <a:gd name="T17" fmla="*/ 1418 h 1549"/>
                    <a:gd name="T18" fmla="*/ 1223 w 1380"/>
                    <a:gd name="T19" fmla="*/ 1440 h 1549"/>
                    <a:gd name="T20" fmla="*/ 1196 w 1380"/>
                    <a:gd name="T21" fmla="*/ 1458 h 1549"/>
                    <a:gd name="T22" fmla="*/ 1166 w 1380"/>
                    <a:gd name="T23" fmla="*/ 1473 h 1549"/>
                    <a:gd name="T24" fmla="*/ 1134 w 1380"/>
                    <a:gd name="T25" fmla="*/ 1485 h 1549"/>
                    <a:gd name="T26" fmla="*/ 1099 w 1380"/>
                    <a:gd name="T27" fmla="*/ 1495 h 1549"/>
                    <a:gd name="T28" fmla="*/ 1062 w 1380"/>
                    <a:gd name="T29" fmla="*/ 1501 h 1549"/>
                    <a:gd name="T30" fmla="*/ 1020 w 1380"/>
                    <a:gd name="T31" fmla="*/ 1505 h 1549"/>
                    <a:gd name="T32" fmla="*/ 367 w 1380"/>
                    <a:gd name="T33" fmla="*/ 1505 h 1549"/>
                    <a:gd name="T34" fmla="*/ 327 w 1380"/>
                    <a:gd name="T35" fmla="*/ 1502 h 1549"/>
                    <a:gd name="T36" fmla="*/ 289 w 1380"/>
                    <a:gd name="T37" fmla="*/ 1496 h 1549"/>
                    <a:gd name="T38" fmla="*/ 253 w 1380"/>
                    <a:gd name="T39" fmla="*/ 1487 h 1549"/>
                    <a:gd name="T40" fmla="*/ 221 w 1380"/>
                    <a:gd name="T41" fmla="*/ 1476 h 1549"/>
                    <a:gd name="T42" fmla="*/ 191 w 1380"/>
                    <a:gd name="T43" fmla="*/ 1461 h 1549"/>
                    <a:gd name="T44" fmla="*/ 163 w 1380"/>
                    <a:gd name="T45" fmla="*/ 1443 h 1549"/>
                    <a:gd name="T46" fmla="*/ 139 w 1380"/>
                    <a:gd name="T47" fmla="*/ 1423 h 1549"/>
                    <a:gd name="T48" fmla="*/ 123 w 1380"/>
                    <a:gd name="T49" fmla="*/ 1406 h 1549"/>
                    <a:gd name="T50" fmla="*/ 50 w 1380"/>
                    <a:gd name="T51" fmla="*/ 1190 h 1549"/>
                    <a:gd name="T52" fmla="*/ 52 w 1380"/>
                    <a:gd name="T53" fmla="*/ 1147 h 1549"/>
                    <a:gd name="T54" fmla="*/ 340 w 1380"/>
                    <a:gd name="T55" fmla="*/ 601 h 1549"/>
                    <a:gd name="T56" fmla="*/ 530 w 1380"/>
                    <a:gd name="T57" fmla="*/ 409 h 1549"/>
                    <a:gd name="T58" fmla="*/ 540 w 1380"/>
                    <a:gd name="T59" fmla="*/ 398 h 1549"/>
                    <a:gd name="T60" fmla="*/ 547 w 1380"/>
                    <a:gd name="T61" fmla="*/ 385 h 1549"/>
                    <a:gd name="T62" fmla="*/ 551 w 1380"/>
                    <a:gd name="T63" fmla="*/ 373 h 1549"/>
                    <a:gd name="T64" fmla="*/ 553 w 1380"/>
                    <a:gd name="T65" fmla="*/ 360 h 1549"/>
                    <a:gd name="T66" fmla="*/ 521 w 1380"/>
                    <a:gd name="T67" fmla="*/ 294 h 1549"/>
                    <a:gd name="T68" fmla="*/ 519 w 1380"/>
                    <a:gd name="T69" fmla="*/ 293 h 1549"/>
                    <a:gd name="T70" fmla="*/ 503 w 1380"/>
                    <a:gd name="T71" fmla="*/ 277 h 1549"/>
                    <a:gd name="T72" fmla="*/ 482 w 1380"/>
                    <a:gd name="T73" fmla="*/ 256 h 1549"/>
                    <a:gd name="T74" fmla="*/ 409 w 1380"/>
                    <a:gd name="T75" fmla="*/ 178 h 1549"/>
                    <a:gd name="T76" fmla="*/ 447 w 1380"/>
                    <a:gd name="T77" fmla="*/ 125 h 1549"/>
                    <a:gd name="T78" fmla="*/ 527 w 1380"/>
                    <a:gd name="T79" fmla="*/ 87 h 1549"/>
                    <a:gd name="T80" fmla="*/ 935 w 1380"/>
                    <a:gd name="T81" fmla="*/ 126 h 1549"/>
                    <a:gd name="T82" fmla="*/ 972 w 1380"/>
                    <a:gd name="T83" fmla="*/ 178 h 1549"/>
                    <a:gd name="T84" fmla="*/ 955 w 1380"/>
                    <a:gd name="T85" fmla="*/ 198 h 1549"/>
                    <a:gd name="T86" fmla="*/ 891 w 1380"/>
                    <a:gd name="T87" fmla="*/ 265 h 1549"/>
                    <a:gd name="T88" fmla="*/ 870 w 1380"/>
                    <a:gd name="T89" fmla="*/ 284 h 1549"/>
                    <a:gd name="T90" fmla="*/ 861 w 1380"/>
                    <a:gd name="T91" fmla="*/ 293 h 1549"/>
                    <a:gd name="T92" fmla="*/ 828 w 1380"/>
                    <a:gd name="T93" fmla="*/ 360 h 1549"/>
                    <a:gd name="T94" fmla="*/ 830 w 1380"/>
                    <a:gd name="T95" fmla="*/ 373 h 1549"/>
                    <a:gd name="T96" fmla="*/ 834 w 1380"/>
                    <a:gd name="T97" fmla="*/ 385 h 1549"/>
                    <a:gd name="T98" fmla="*/ 841 w 1380"/>
                    <a:gd name="T99" fmla="*/ 398 h 1549"/>
                    <a:gd name="T100" fmla="*/ 851 w 1380"/>
                    <a:gd name="T101" fmla="*/ 409 h 1549"/>
                    <a:gd name="T102" fmla="*/ 1046 w 1380"/>
                    <a:gd name="T103" fmla="*/ 607 h 1549"/>
                    <a:gd name="T104" fmla="*/ 1330 w 1380"/>
                    <a:gd name="T105" fmla="*/ 1167 h 1549"/>
                    <a:gd name="T106" fmla="*/ 1331 w 1380"/>
                    <a:gd name="T107" fmla="*/ 1192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0" h="1549">
                      <a:moveTo>
                        <a:pt x="1375" y="1190"/>
                      </a:moveTo>
                      <a:cubicBezTo>
                        <a:pt x="1375" y="1189"/>
                        <a:pt x="1375" y="1189"/>
                        <a:pt x="1375" y="1189"/>
                      </a:cubicBezTo>
                      <a:cubicBezTo>
                        <a:pt x="1375" y="1036"/>
                        <a:pt x="1298" y="859"/>
                        <a:pt x="1148" y="663"/>
                      </a:cubicBezTo>
                      <a:cubicBezTo>
                        <a:pt x="1037" y="519"/>
                        <a:pt x="918" y="408"/>
                        <a:pt x="885" y="381"/>
                      </a:cubicBezTo>
                      <a:cubicBezTo>
                        <a:pt x="873" y="371"/>
                        <a:pt x="872" y="363"/>
                        <a:pt x="872" y="360"/>
                      </a:cubicBezTo>
                      <a:cubicBezTo>
                        <a:pt x="872" y="360"/>
                        <a:pt x="872" y="360"/>
                        <a:pt x="872" y="360"/>
                      </a:cubicBezTo>
                      <a:cubicBezTo>
                        <a:pt x="872" y="360"/>
                        <a:pt x="872" y="360"/>
                        <a:pt x="872" y="359"/>
                      </a:cubicBezTo>
                      <a:cubicBezTo>
                        <a:pt x="872" y="346"/>
                        <a:pt x="885" y="330"/>
                        <a:pt x="890" y="326"/>
                      </a:cubicBezTo>
                      <a:cubicBezTo>
                        <a:pt x="891" y="326"/>
                        <a:pt x="891" y="326"/>
                        <a:pt x="891" y="326"/>
                      </a:cubicBezTo>
                      <a:cubicBezTo>
                        <a:pt x="940" y="280"/>
                        <a:pt x="1024" y="197"/>
                        <a:pt x="1029" y="165"/>
                      </a:cubicBezTo>
                      <a:cubicBezTo>
                        <a:pt x="1033" y="141"/>
                        <a:pt x="1012" y="118"/>
                        <a:pt x="955" y="87"/>
                      </a:cubicBezTo>
                      <a:cubicBezTo>
                        <a:pt x="921" y="68"/>
                        <a:pt x="887" y="53"/>
                        <a:pt x="886" y="52"/>
                      </a:cubicBezTo>
                      <a:cubicBezTo>
                        <a:pt x="885" y="52"/>
                        <a:pt x="885" y="52"/>
                        <a:pt x="885" y="52"/>
                      </a:cubicBezTo>
                      <a:cubicBezTo>
                        <a:pt x="761" y="0"/>
                        <a:pt x="619" y="0"/>
                        <a:pt x="495" y="52"/>
                      </a:cubicBezTo>
                      <a:cubicBezTo>
                        <a:pt x="494" y="53"/>
                        <a:pt x="460" y="68"/>
                        <a:pt x="426" y="87"/>
                      </a:cubicBezTo>
                      <a:cubicBezTo>
                        <a:pt x="369" y="118"/>
                        <a:pt x="348" y="141"/>
                        <a:pt x="352" y="165"/>
                      </a:cubicBezTo>
                      <a:cubicBezTo>
                        <a:pt x="357" y="197"/>
                        <a:pt x="441" y="280"/>
                        <a:pt x="490" y="326"/>
                      </a:cubicBezTo>
                      <a:cubicBezTo>
                        <a:pt x="491" y="326"/>
                        <a:pt x="491" y="326"/>
                        <a:pt x="491" y="326"/>
                      </a:cubicBezTo>
                      <a:cubicBezTo>
                        <a:pt x="495" y="330"/>
                        <a:pt x="509" y="345"/>
                        <a:pt x="509" y="359"/>
                      </a:cubicBezTo>
                      <a:cubicBezTo>
                        <a:pt x="509" y="359"/>
                        <a:pt x="509" y="359"/>
                        <a:pt x="509" y="359"/>
                      </a:cubicBezTo>
                      <a:cubicBezTo>
                        <a:pt x="509" y="360"/>
                        <a:pt x="509" y="360"/>
                        <a:pt x="509" y="360"/>
                      </a:cubicBezTo>
                      <a:cubicBezTo>
                        <a:pt x="509" y="363"/>
                        <a:pt x="508" y="371"/>
                        <a:pt x="496" y="381"/>
                      </a:cubicBezTo>
                      <a:cubicBezTo>
                        <a:pt x="463" y="408"/>
                        <a:pt x="344" y="519"/>
                        <a:pt x="233" y="663"/>
                      </a:cubicBezTo>
                      <a:cubicBezTo>
                        <a:pt x="83" y="859"/>
                        <a:pt x="6" y="1036"/>
                        <a:pt x="6" y="1189"/>
                      </a:cubicBezTo>
                      <a:cubicBezTo>
                        <a:pt x="5" y="1202"/>
                        <a:pt x="0" y="1339"/>
                        <a:pt x="95" y="1442"/>
                      </a:cubicBezTo>
                      <a:cubicBezTo>
                        <a:pt x="162" y="1513"/>
                        <a:pt x="260" y="1549"/>
                        <a:pt x="389" y="1549"/>
                      </a:cubicBezTo>
                      <a:cubicBezTo>
                        <a:pt x="992" y="1549"/>
                        <a:pt x="992" y="1549"/>
                        <a:pt x="992" y="1549"/>
                      </a:cubicBezTo>
                      <a:cubicBezTo>
                        <a:pt x="1121" y="1549"/>
                        <a:pt x="1219" y="1513"/>
                        <a:pt x="1286" y="1442"/>
                      </a:cubicBezTo>
                      <a:cubicBezTo>
                        <a:pt x="1380" y="1341"/>
                        <a:pt x="1376" y="1206"/>
                        <a:pt x="1375" y="1190"/>
                      </a:cubicBezTo>
                      <a:close/>
                      <a:moveTo>
                        <a:pt x="1268" y="1395"/>
                      </a:moveTo>
                      <a:cubicBezTo>
                        <a:pt x="1267" y="1396"/>
                        <a:pt x="1267" y="1396"/>
                        <a:pt x="1266" y="1397"/>
                      </a:cubicBezTo>
                      <a:cubicBezTo>
                        <a:pt x="1264" y="1399"/>
                        <a:pt x="1263" y="1401"/>
                        <a:pt x="1261" y="1403"/>
                      </a:cubicBezTo>
                      <a:cubicBezTo>
                        <a:pt x="1260" y="1405"/>
                        <a:pt x="1258" y="1406"/>
                        <a:pt x="1257" y="1408"/>
                      </a:cubicBezTo>
                      <a:cubicBezTo>
                        <a:pt x="1256" y="1409"/>
                        <a:pt x="1255" y="1411"/>
                        <a:pt x="1253" y="1412"/>
                      </a:cubicBezTo>
                      <a:cubicBezTo>
                        <a:pt x="1253" y="1412"/>
                        <a:pt x="1253" y="1412"/>
                        <a:pt x="1253" y="1412"/>
                      </a:cubicBezTo>
                      <a:cubicBezTo>
                        <a:pt x="1251" y="1414"/>
                        <a:pt x="1249" y="1416"/>
                        <a:pt x="1247" y="1418"/>
                      </a:cubicBezTo>
                      <a:cubicBezTo>
                        <a:pt x="1245" y="1420"/>
                        <a:pt x="1244" y="1422"/>
                        <a:pt x="1242" y="1423"/>
                      </a:cubicBezTo>
                      <a:cubicBezTo>
                        <a:pt x="1240" y="1425"/>
                        <a:pt x="1237" y="1427"/>
                        <a:pt x="1235" y="1429"/>
                      </a:cubicBezTo>
                      <a:cubicBezTo>
                        <a:pt x="1233" y="1431"/>
                        <a:pt x="1232" y="1432"/>
                        <a:pt x="1230" y="1434"/>
                      </a:cubicBezTo>
                      <a:cubicBezTo>
                        <a:pt x="1228" y="1436"/>
                        <a:pt x="1225" y="1438"/>
                        <a:pt x="1223" y="1440"/>
                      </a:cubicBezTo>
                      <a:cubicBezTo>
                        <a:pt x="1221" y="1441"/>
                        <a:pt x="1219" y="1442"/>
                        <a:pt x="1218" y="1444"/>
                      </a:cubicBezTo>
                      <a:cubicBezTo>
                        <a:pt x="1215" y="1445"/>
                        <a:pt x="1212" y="1447"/>
                        <a:pt x="1210" y="1449"/>
                      </a:cubicBezTo>
                      <a:cubicBezTo>
                        <a:pt x="1208" y="1450"/>
                        <a:pt x="1206" y="1452"/>
                        <a:pt x="1204" y="1453"/>
                      </a:cubicBezTo>
                      <a:cubicBezTo>
                        <a:pt x="1201" y="1454"/>
                        <a:pt x="1199" y="1456"/>
                        <a:pt x="1196" y="1458"/>
                      </a:cubicBezTo>
                      <a:cubicBezTo>
                        <a:pt x="1194" y="1459"/>
                        <a:pt x="1192" y="1460"/>
                        <a:pt x="1190" y="1461"/>
                      </a:cubicBezTo>
                      <a:cubicBezTo>
                        <a:pt x="1187" y="1463"/>
                        <a:pt x="1184" y="1464"/>
                        <a:pt x="1181" y="1466"/>
                      </a:cubicBezTo>
                      <a:cubicBezTo>
                        <a:pt x="1179" y="1467"/>
                        <a:pt x="1178" y="1468"/>
                        <a:pt x="1176" y="1469"/>
                      </a:cubicBezTo>
                      <a:cubicBezTo>
                        <a:pt x="1173" y="1470"/>
                        <a:pt x="1169" y="1472"/>
                        <a:pt x="1166" y="1473"/>
                      </a:cubicBezTo>
                      <a:cubicBezTo>
                        <a:pt x="1164" y="1474"/>
                        <a:pt x="1162" y="1475"/>
                        <a:pt x="1160" y="1476"/>
                      </a:cubicBezTo>
                      <a:cubicBezTo>
                        <a:pt x="1157" y="1477"/>
                        <a:pt x="1154" y="1478"/>
                        <a:pt x="1151" y="1479"/>
                      </a:cubicBezTo>
                      <a:cubicBezTo>
                        <a:pt x="1148" y="1480"/>
                        <a:pt x="1146" y="1481"/>
                        <a:pt x="1144" y="1482"/>
                      </a:cubicBezTo>
                      <a:cubicBezTo>
                        <a:pt x="1141" y="1483"/>
                        <a:pt x="1137" y="1484"/>
                        <a:pt x="1134" y="1485"/>
                      </a:cubicBezTo>
                      <a:cubicBezTo>
                        <a:pt x="1132" y="1486"/>
                        <a:pt x="1130" y="1487"/>
                        <a:pt x="1128" y="1487"/>
                      </a:cubicBezTo>
                      <a:cubicBezTo>
                        <a:pt x="1124" y="1488"/>
                        <a:pt x="1120" y="1489"/>
                        <a:pt x="1117" y="1490"/>
                      </a:cubicBezTo>
                      <a:cubicBezTo>
                        <a:pt x="1115" y="1491"/>
                        <a:pt x="1113" y="1492"/>
                        <a:pt x="1110" y="1492"/>
                      </a:cubicBezTo>
                      <a:cubicBezTo>
                        <a:pt x="1107" y="1493"/>
                        <a:pt x="1103" y="1494"/>
                        <a:pt x="1099" y="1495"/>
                      </a:cubicBezTo>
                      <a:cubicBezTo>
                        <a:pt x="1097" y="1495"/>
                        <a:pt x="1095" y="1496"/>
                        <a:pt x="1092" y="1496"/>
                      </a:cubicBezTo>
                      <a:cubicBezTo>
                        <a:pt x="1089" y="1497"/>
                        <a:pt x="1085" y="1497"/>
                        <a:pt x="1081" y="1498"/>
                      </a:cubicBezTo>
                      <a:cubicBezTo>
                        <a:pt x="1078" y="1499"/>
                        <a:pt x="1076" y="1499"/>
                        <a:pt x="1074" y="1499"/>
                      </a:cubicBezTo>
                      <a:cubicBezTo>
                        <a:pt x="1070" y="1500"/>
                        <a:pt x="1066" y="1500"/>
                        <a:pt x="1062" y="1501"/>
                      </a:cubicBezTo>
                      <a:cubicBezTo>
                        <a:pt x="1059" y="1501"/>
                        <a:pt x="1057" y="1502"/>
                        <a:pt x="1054" y="1502"/>
                      </a:cubicBezTo>
                      <a:cubicBezTo>
                        <a:pt x="1050" y="1502"/>
                        <a:pt x="1046" y="1503"/>
                        <a:pt x="1042" y="1503"/>
                      </a:cubicBezTo>
                      <a:cubicBezTo>
                        <a:pt x="1039" y="1503"/>
                        <a:pt x="1037" y="1504"/>
                        <a:pt x="1034" y="1504"/>
                      </a:cubicBezTo>
                      <a:cubicBezTo>
                        <a:pt x="1030" y="1504"/>
                        <a:pt x="1025" y="1504"/>
                        <a:pt x="1020" y="1505"/>
                      </a:cubicBezTo>
                      <a:cubicBezTo>
                        <a:pt x="1018" y="1505"/>
                        <a:pt x="1016" y="1505"/>
                        <a:pt x="1014" y="1505"/>
                      </a:cubicBezTo>
                      <a:cubicBezTo>
                        <a:pt x="1007" y="1505"/>
                        <a:pt x="1000" y="1505"/>
                        <a:pt x="992" y="1505"/>
                      </a:cubicBezTo>
                      <a:cubicBezTo>
                        <a:pt x="389" y="1505"/>
                        <a:pt x="389" y="1505"/>
                        <a:pt x="389" y="1505"/>
                      </a:cubicBezTo>
                      <a:cubicBezTo>
                        <a:pt x="381" y="1505"/>
                        <a:pt x="374" y="1505"/>
                        <a:pt x="367" y="1505"/>
                      </a:cubicBezTo>
                      <a:cubicBezTo>
                        <a:pt x="364" y="1505"/>
                        <a:pt x="362" y="1505"/>
                        <a:pt x="359" y="1504"/>
                      </a:cubicBezTo>
                      <a:cubicBezTo>
                        <a:pt x="355" y="1504"/>
                        <a:pt x="351" y="1504"/>
                        <a:pt x="347" y="1504"/>
                      </a:cubicBezTo>
                      <a:cubicBezTo>
                        <a:pt x="343" y="1504"/>
                        <a:pt x="340" y="1503"/>
                        <a:pt x="337" y="1503"/>
                      </a:cubicBezTo>
                      <a:cubicBezTo>
                        <a:pt x="333" y="1503"/>
                        <a:pt x="330" y="1502"/>
                        <a:pt x="327" y="1502"/>
                      </a:cubicBezTo>
                      <a:cubicBezTo>
                        <a:pt x="323" y="1502"/>
                        <a:pt x="320" y="1501"/>
                        <a:pt x="316" y="1501"/>
                      </a:cubicBezTo>
                      <a:cubicBezTo>
                        <a:pt x="313" y="1500"/>
                        <a:pt x="310" y="1500"/>
                        <a:pt x="307" y="1499"/>
                      </a:cubicBezTo>
                      <a:cubicBezTo>
                        <a:pt x="304" y="1499"/>
                        <a:pt x="300" y="1498"/>
                        <a:pt x="297" y="1498"/>
                      </a:cubicBezTo>
                      <a:cubicBezTo>
                        <a:pt x="294" y="1497"/>
                        <a:pt x="291" y="1497"/>
                        <a:pt x="289" y="1496"/>
                      </a:cubicBezTo>
                      <a:cubicBezTo>
                        <a:pt x="285" y="1495"/>
                        <a:pt x="282" y="1495"/>
                        <a:pt x="278" y="1494"/>
                      </a:cubicBezTo>
                      <a:cubicBezTo>
                        <a:pt x="276" y="1493"/>
                        <a:pt x="273" y="1493"/>
                        <a:pt x="271" y="1492"/>
                      </a:cubicBezTo>
                      <a:cubicBezTo>
                        <a:pt x="267" y="1491"/>
                        <a:pt x="264" y="1490"/>
                        <a:pt x="260" y="1489"/>
                      </a:cubicBezTo>
                      <a:cubicBezTo>
                        <a:pt x="258" y="1489"/>
                        <a:pt x="256" y="1488"/>
                        <a:pt x="253" y="1487"/>
                      </a:cubicBezTo>
                      <a:cubicBezTo>
                        <a:pt x="250" y="1486"/>
                        <a:pt x="247" y="1485"/>
                        <a:pt x="243" y="1484"/>
                      </a:cubicBezTo>
                      <a:cubicBezTo>
                        <a:pt x="241" y="1483"/>
                        <a:pt x="239" y="1483"/>
                        <a:pt x="237" y="1482"/>
                      </a:cubicBezTo>
                      <a:cubicBezTo>
                        <a:pt x="233" y="1481"/>
                        <a:pt x="230" y="1479"/>
                        <a:pt x="227" y="1478"/>
                      </a:cubicBezTo>
                      <a:cubicBezTo>
                        <a:pt x="225" y="1477"/>
                        <a:pt x="223" y="1476"/>
                        <a:pt x="221" y="1476"/>
                      </a:cubicBezTo>
                      <a:cubicBezTo>
                        <a:pt x="217" y="1474"/>
                        <a:pt x="215" y="1473"/>
                        <a:pt x="212" y="1472"/>
                      </a:cubicBezTo>
                      <a:cubicBezTo>
                        <a:pt x="209" y="1471"/>
                        <a:pt x="207" y="1470"/>
                        <a:pt x="205" y="1469"/>
                      </a:cubicBezTo>
                      <a:cubicBezTo>
                        <a:pt x="202" y="1467"/>
                        <a:pt x="200" y="1466"/>
                        <a:pt x="197" y="1464"/>
                      </a:cubicBezTo>
                      <a:cubicBezTo>
                        <a:pt x="195" y="1463"/>
                        <a:pt x="193" y="1462"/>
                        <a:pt x="191" y="1461"/>
                      </a:cubicBezTo>
                      <a:cubicBezTo>
                        <a:pt x="188" y="1459"/>
                        <a:pt x="185" y="1458"/>
                        <a:pt x="183" y="1456"/>
                      </a:cubicBezTo>
                      <a:cubicBezTo>
                        <a:pt x="181" y="1455"/>
                        <a:pt x="179" y="1454"/>
                        <a:pt x="177" y="1453"/>
                      </a:cubicBezTo>
                      <a:cubicBezTo>
                        <a:pt x="174" y="1451"/>
                        <a:pt x="172" y="1449"/>
                        <a:pt x="169" y="1447"/>
                      </a:cubicBezTo>
                      <a:cubicBezTo>
                        <a:pt x="167" y="1446"/>
                        <a:pt x="165" y="1445"/>
                        <a:pt x="163" y="1443"/>
                      </a:cubicBezTo>
                      <a:cubicBezTo>
                        <a:pt x="161" y="1442"/>
                        <a:pt x="159" y="1440"/>
                        <a:pt x="156" y="1438"/>
                      </a:cubicBezTo>
                      <a:cubicBezTo>
                        <a:pt x="154" y="1437"/>
                        <a:pt x="152" y="1435"/>
                        <a:pt x="151" y="1434"/>
                      </a:cubicBezTo>
                      <a:cubicBezTo>
                        <a:pt x="148" y="1432"/>
                        <a:pt x="146" y="1430"/>
                        <a:pt x="144" y="1428"/>
                      </a:cubicBezTo>
                      <a:cubicBezTo>
                        <a:pt x="142" y="1426"/>
                        <a:pt x="140" y="1425"/>
                        <a:pt x="139" y="1423"/>
                      </a:cubicBezTo>
                      <a:cubicBezTo>
                        <a:pt x="137" y="1421"/>
                        <a:pt x="135" y="1419"/>
                        <a:pt x="133" y="1417"/>
                      </a:cubicBezTo>
                      <a:cubicBezTo>
                        <a:pt x="131" y="1415"/>
                        <a:pt x="129" y="1414"/>
                        <a:pt x="128" y="1412"/>
                      </a:cubicBezTo>
                      <a:cubicBezTo>
                        <a:pt x="127" y="1412"/>
                        <a:pt x="127" y="1412"/>
                        <a:pt x="127" y="1412"/>
                      </a:cubicBezTo>
                      <a:cubicBezTo>
                        <a:pt x="126" y="1410"/>
                        <a:pt x="124" y="1408"/>
                        <a:pt x="123" y="1406"/>
                      </a:cubicBezTo>
                      <a:cubicBezTo>
                        <a:pt x="122" y="1405"/>
                        <a:pt x="121" y="1404"/>
                        <a:pt x="120" y="1403"/>
                      </a:cubicBezTo>
                      <a:cubicBezTo>
                        <a:pt x="45" y="1316"/>
                        <a:pt x="49" y="1200"/>
                        <a:pt x="50" y="1192"/>
                      </a:cubicBezTo>
                      <a:cubicBezTo>
                        <a:pt x="50" y="1191"/>
                        <a:pt x="50" y="1191"/>
                        <a:pt x="50" y="1191"/>
                      </a:cubicBezTo>
                      <a:cubicBezTo>
                        <a:pt x="50" y="1190"/>
                        <a:pt x="50" y="1190"/>
                        <a:pt x="50" y="1190"/>
                      </a:cubicBezTo>
                      <a:cubicBezTo>
                        <a:pt x="50" y="1185"/>
                        <a:pt x="50" y="1180"/>
                        <a:pt x="50" y="1175"/>
                      </a:cubicBezTo>
                      <a:cubicBezTo>
                        <a:pt x="50" y="1172"/>
                        <a:pt x="50" y="1169"/>
                        <a:pt x="51" y="1167"/>
                      </a:cubicBezTo>
                      <a:cubicBezTo>
                        <a:pt x="51" y="1165"/>
                        <a:pt x="51" y="1163"/>
                        <a:pt x="51" y="1161"/>
                      </a:cubicBezTo>
                      <a:cubicBezTo>
                        <a:pt x="51" y="1156"/>
                        <a:pt x="52" y="1152"/>
                        <a:pt x="52" y="1147"/>
                      </a:cubicBezTo>
                      <a:cubicBezTo>
                        <a:pt x="53" y="1142"/>
                        <a:pt x="53" y="1138"/>
                        <a:pt x="54" y="1133"/>
                      </a:cubicBezTo>
                      <a:cubicBezTo>
                        <a:pt x="78" y="942"/>
                        <a:pt x="216" y="744"/>
                        <a:pt x="337" y="605"/>
                      </a:cubicBezTo>
                      <a:cubicBezTo>
                        <a:pt x="338" y="604"/>
                        <a:pt x="339" y="603"/>
                        <a:pt x="340" y="602"/>
                      </a:cubicBezTo>
                      <a:cubicBezTo>
                        <a:pt x="340" y="601"/>
                        <a:pt x="340" y="601"/>
                        <a:pt x="340" y="601"/>
                      </a:cubicBezTo>
                      <a:cubicBezTo>
                        <a:pt x="437" y="490"/>
                        <a:pt x="522" y="417"/>
                        <a:pt x="524" y="415"/>
                      </a:cubicBezTo>
                      <a:cubicBezTo>
                        <a:pt x="524" y="414"/>
                        <a:pt x="524" y="414"/>
                        <a:pt x="524" y="414"/>
                      </a:cubicBezTo>
                      <a:cubicBezTo>
                        <a:pt x="524" y="414"/>
                        <a:pt x="524" y="414"/>
                        <a:pt x="524" y="414"/>
                      </a:cubicBezTo>
                      <a:cubicBezTo>
                        <a:pt x="526" y="413"/>
                        <a:pt x="528" y="411"/>
                        <a:pt x="530" y="409"/>
                      </a:cubicBezTo>
                      <a:cubicBezTo>
                        <a:pt x="531" y="409"/>
                        <a:pt x="531" y="408"/>
                        <a:pt x="532" y="408"/>
                      </a:cubicBezTo>
                      <a:cubicBezTo>
                        <a:pt x="533" y="406"/>
                        <a:pt x="535" y="405"/>
                        <a:pt x="536" y="403"/>
                      </a:cubicBezTo>
                      <a:cubicBezTo>
                        <a:pt x="537" y="402"/>
                        <a:pt x="537" y="401"/>
                        <a:pt x="538" y="401"/>
                      </a:cubicBezTo>
                      <a:cubicBezTo>
                        <a:pt x="539" y="400"/>
                        <a:pt x="539" y="399"/>
                        <a:pt x="540" y="398"/>
                      </a:cubicBezTo>
                      <a:cubicBezTo>
                        <a:pt x="541" y="396"/>
                        <a:pt x="542" y="395"/>
                        <a:pt x="543" y="393"/>
                      </a:cubicBezTo>
                      <a:cubicBezTo>
                        <a:pt x="544" y="392"/>
                        <a:pt x="544" y="392"/>
                        <a:pt x="544" y="392"/>
                      </a:cubicBezTo>
                      <a:cubicBezTo>
                        <a:pt x="545" y="390"/>
                        <a:pt x="546" y="388"/>
                        <a:pt x="547" y="386"/>
                      </a:cubicBezTo>
                      <a:cubicBezTo>
                        <a:pt x="547" y="385"/>
                        <a:pt x="547" y="385"/>
                        <a:pt x="547" y="385"/>
                      </a:cubicBezTo>
                      <a:cubicBezTo>
                        <a:pt x="548" y="384"/>
                        <a:pt x="548" y="383"/>
                        <a:pt x="549" y="382"/>
                      </a:cubicBezTo>
                      <a:cubicBezTo>
                        <a:pt x="549" y="381"/>
                        <a:pt x="549" y="380"/>
                        <a:pt x="550" y="379"/>
                      </a:cubicBezTo>
                      <a:cubicBezTo>
                        <a:pt x="550" y="379"/>
                        <a:pt x="550" y="378"/>
                        <a:pt x="550" y="377"/>
                      </a:cubicBezTo>
                      <a:cubicBezTo>
                        <a:pt x="551" y="376"/>
                        <a:pt x="551" y="375"/>
                        <a:pt x="551" y="373"/>
                      </a:cubicBezTo>
                      <a:cubicBezTo>
                        <a:pt x="552" y="371"/>
                        <a:pt x="552" y="370"/>
                        <a:pt x="552" y="368"/>
                      </a:cubicBezTo>
                      <a:cubicBezTo>
                        <a:pt x="552" y="367"/>
                        <a:pt x="552" y="367"/>
                        <a:pt x="552" y="367"/>
                      </a:cubicBezTo>
                      <a:cubicBezTo>
                        <a:pt x="553" y="364"/>
                        <a:pt x="553" y="362"/>
                        <a:pt x="553" y="360"/>
                      </a:cubicBezTo>
                      <a:cubicBezTo>
                        <a:pt x="553" y="360"/>
                        <a:pt x="553" y="360"/>
                        <a:pt x="553" y="360"/>
                      </a:cubicBezTo>
                      <a:cubicBezTo>
                        <a:pt x="553" y="358"/>
                        <a:pt x="553" y="355"/>
                        <a:pt x="553" y="353"/>
                      </a:cubicBezTo>
                      <a:cubicBezTo>
                        <a:pt x="553" y="353"/>
                        <a:pt x="553" y="353"/>
                        <a:pt x="553" y="353"/>
                      </a:cubicBezTo>
                      <a:cubicBezTo>
                        <a:pt x="552" y="348"/>
                        <a:pt x="551" y="343"/>
                        <a:pt x="549" y="338"/>
                      </a:cubicBezTo>
                      <a:cubicBezTo>
                        <a:pt x="542" y="316"/>
                        <a:pt x="527" y="299"/>
                        <a:pt x="521" y="294"/>
                      </a:cubicBezTo>
                      <a:cubicBezTo>
                        <a:pt x="521" y="294"/>
                        <a:pt x="521" y="294"/>
                        <a:pt x="521" y="294"/>
                      </a:cubicBezTo>
                      <a:cubicBezTo>
                        <a:pt x="521" y="294"/>
                        <a:pt x="520" y="294"/>
                        <a:pt x="520" y="293"/>
                      </a:cubicBezTo>
                      <a:cubicBezTo>
                        <a:pt x="520" y="293"/>
                        <a:pt x="520" y="293"/>
                        <a:pt x="520" y="293"/>
                      </a:cubicBezTo>
                      <a:cubicBezTo>
                        <a:pt x="519" y="293"/>
                        <a:pt x="519" y="293"/>
                        <a:pt x="519" y="293"/>
                      </a:cubicBezTo>
                      <a:cubicBezTo>
                        <a:pt x="517" y="290"/>
                        <a:pt x="514" y="288"/>
                        <a:pt x="512" y="286"/>
                      </a:cubicBezTo>
                      <a:cubicBezTo>
                        <a:pt x="512" y="285"/>
                        <a:pt x="511" y="285"/>
                        <a:pt x="511" y="285"/>
                      </a:cubicBezTo>
                      <a:cubicBezTo>
                        <a:pt x="508" y="282"/>
                        <a:pt x="506" y="280"/>
                        <a:pt x="503" y="277"/>
                      </a:cubicBezTo>
                      <a:cubicBezTo>
                        <a:pt x="503" y="277"/>
                        <a:pt x="503" y="277"/>
                        <a:pt x="503" y="277"/>
                      </a:cubicBezTo>
                      <a:cubicBezTo>
                        <a:pt x="500" y="275"/>
                        <a:pt x="498" y="272"/>
                        <a:pt x="495" y="270"/>
                      </a:cubicBezTo>
                      <a:cubicBezTo>
                        <a:pt x="494" y="268"/>
                        <a:pt x="492" y="267"/>
                        <a:pt x="490" y="265"/>
                      </a:cubicBezTo>
                      <a:cubicBezTo>
                        <a:pt x="490" y="264"/>
                        <a:pt x="489" y="263"/>
                        <a:pt x="488" y="262"/>
                      </a:cubicBezTo>
                      <a:cubicBezTo>
                        <a:pt x="486" y="260"/>
                        <a:pt x="484" y="258"/>
                        <a:pt x="482" y="256"/>
                      </a:cubicBezTo>
                      <a:cubicBezTo>
                        <a:pt x="481" y="256"/>
                        <a:pt x="481" y="256"/>
                        <a:pt x="481" y="256"/>
                      </a:cubicBezTo>
                      <a:cubicBezTo>
                        <a:pt x="454" y="229"/>
                        <a:pt x="429" y="203"/>
                        <a:pt x="413" y="183"/>
                      </a:cubicBezTo>
                      <a:cubicBezTo>
                        <a:pt x="412" y="182"/>
                        <a:pt x="412" y="182"/>
                        <a:pt x="412" y="182"/>
                      </a:cubicBezTo>
                      <a:cubicBezTo>
                        <a:pt x="411" y="181"/>
                        <a:pt x="410" y="179"/>
                        <a:pt x="409" y="178"/>
                      </a:cubicBezTo>
                      <a:cubicBezTo>
                        <a:pt x="409" y="178"/>
                        <a:pt x="409" y="178"/>
                        <a:pt x="409" y="178"/>
                      </a:cubicBezTo>
                      <a:cubicBezTo>
                        <a:pt x="403" y="171"/>
                        <a:pt x="399" y="165"/>
                        <a:pt x="396" y="160"/>
                      </a:cubicBezTo>
                      <a:cubicBezTo>
                        <a:pt x="399" y="157"/>
                        <a:pt x="405" y="152"/>
                        <a:pt x="412" y="147"/>
                      </a:cubicBezTo>
                      <a:cubicBezTo>
                        <a:pt x="421" y="140"/>
                        <a:pt x="433" y="133"/>
                        <a:pt x="447" y="125"/>
                      </a:cubicBezTo>
                      <a:cubicBezTo>
                        <a:pt x="448" y="125"/>
                        <a:pt x="448" y="125"/>
                        <a:pt x="448" y="125"/>
                      </a:cubicBezTo>
                      <a:cubicBezTo>
                        <a:pt x="449" y="124"/>
                        <a:pt x="450" y="124"/>
                        <a:pt x="451" y="123"/>
                      </a:cubicBezTo>
                      <a:cubicBezTo>
                        <a:pt x="470" y="113"/>
                        <a:pt x="491" y="102"/>
                        <a:pt x="513" y="93"/>
                      </a:cubicBezTo>
                      <a:cubicBezTo>
                        <a:pt x="517" y="91"/>
                        <a:pt x="522" y="89"/>
                        <a:pt x="527" y="87"/>
                      </a:cubicBezTo>
                      <a:cubicBezTo>
                        <a:pt x="631" y="47"/>
                        <a:pt x="750" y="47"/>
                        <a:pt x="855" y="87"/>
                      </a:cubicBezTo>
                      <a:cubicBezTo>
                        <a:pt x="859" y="89"/>
                        <a:pt x="864" y="91"/>
                        <a:pt x="868" y="93"/>
                      </a:cubicBezTo>
                      <a:cubicBezTo>
                        <a:pt x="868" y="93"/>
                        <a:pt x="868" y="93"/>
                        <a:pt x="868" y="93"/>
                      </a:cubicBezTo>
                      <a:cubicBezTo>
                        <a:pt x="892" y="103"/>
                        <a:pt x="915" y="115"/>
                        <a:pt x="935" y="126"/>
                      </a:cubicBezTo>
                      <a:cubicBezTo>
                        <a:pt x="948" y="133"/>
                        <a:pt x="960" y="140"/>
                        <a:pt x="969" y="147"/>
                      </a:cubicBezTo>
                      <a:cubicBezTo>
                        <a:pt x="976" y="152"/>
                        <a:pt x="982" y="157"/>
                        <a:pt x="985" y="160"/>
                      </a:cubicBezTo>
                      <a:cubicBezTo>
                        <a:pt x="982" y="165"/>
                        <a:pt x="978" y="171"/>
                        <a:pt x="972" y="178"/>
                      </a:cubicBezTo>
                      <a:cubicBezTo>
                        <a:pt x="972" y="178"/>
                        <a:pt x="972" y="178"/>
                        <a:pt x="972" y="178"/>
                      </a:cubicBezTo>
                      <a:cubicBezTo>
                        <a:pt x="971" y="179"/>
                        <a:pt x="970" y="180"/>
                        <a:pt x="969" y="181"/>
                      </a:cubicBezTo>
                      <a:cubicBezTo>
                        <a:pt x="969" y="182"/>
                        <a:pt x="968" y="183"/>
                        <a:pt x="967" y="184"/>
                      </a:cubicBezTo>
                      <a:cubicBezTo>
                        <a:pt x="964" y="188"/>
                        <a:pt x="960" y="193"/>
                        <a:pt x="956" y="197"/>
                      </a:cubicBezTo>
                      <a:cubicBezTo>
                        <a:pt x="956" y="197"/>
                        <a:pt x="956" y="198"/>
                        <a:pt x="955" y="198"/>
                      </a:cubicBezTo>
                      <a:cubicBezTo>
                        <a:pt x="941" y="214"/>
                        <a:pt x="921" y="234"/>
                        <a:pt x="901" y="254"/>
                      </a:cubicBezTo>
                      <a:cubicBezTo>
                        <a:pt x="901" y="255"/>
                        <a:pt x="900" y="256"/>
                        <a:pt x="900" y="256"/>
                      </a:cubicBezTo>
                      <a:cubicBezTo>
                        <a:pt x="898" y="258"/>
                        <a:pt x="896" y="259"/>
                        <a:pt x="894" y="261"/>
                      </a:cubicBezTo>
                      <a:cubicBezTo>
                        <a:pt x="893" y="262"/>
                        <a:pt x="892" y="264"/>
                        <a:pt x="891" y="265"/>
                      </a:cubicBezTo>
                      <a:cubicBezTo>
                        <a:pt x="890" y="266"/>
                        <a:pt x="888" y="267"/>
                        <a:pt x="887" y="269"/>
                      </a:cubicBezTo>
                      <a:cubicBezTo>
                        <a:pt x="884" y="271"/>
                        <a:pt x="882" y="274"/>
                        <a:pt x="879" y="276"/>
                      </a:cubicBezTo>
                      <a:cubicBezTo>
                        <a:pt x="878" y="277"/>
                        <a:pt x="878" y="277"/>
                        <a:pt x="877" y="278"/>
                      </a:cubicBezTo>
                      <a:cubicBezTo>
                        <a:pt x="875" y="280"/>
                        <a:pt x="873" y="282"/>
                        <a:pt x="870" y="284"/>
                      </a:cubicBezTo>
                      <a:cubicBezTo>
                        <a:pt x="870" y="285"/>
                        <a:pt x="869" y="286"/>
                        <a:pt x="868" y="287"/>
                      </a:cubicBezTo>
                      <a:cubicBezTo>
                        <a:pt x="866" y="288"/>
                        <a:pt x="864" y="290"/>
                        <a:pt x="862" y="292"/>
                      </a:cubicBezTo>
                      <a:cubicBezTo>
                        <a:pt x="862" y="292"/>
                        <a:pt x="862" y="293"/>
                        <a:pt x="861" y="293"/>
                      </a:cubicBezTo>
                      <a:cubicBezTo>
                        <a:pt x="861" y="293"/>
                        <a:pt x="861" y="293"/>
                        <a:pt x="861" y="293"/>
                      </a:cubicBezTo>
                      <a:cubicBezTo>
                        <a:pt x="857" y="297"/>
                        <a:pt x="839" y="314"/>
                        <a:pt x="832" y="338"/>
                      </a:cubicBezTo>
                      <a:cubicBezTo>
                        <a:pt x="830" y="343"/>
                        <a:pt x="829" y="348"/>
                        <a:pt x="828" y="353"/>
                      </a:cubicBezTo>
                      <a:cubicBezTo>
                        <a:pt x="828" y="353"/>
                        <a:pt x="828" y="353"/>
                        <a:pt x="828" y="353"/>
                      </a:cubicBezTo>
                      <a:cubicBezTo>
                        <a:pt x="828" y="355"/>
                        <a:pt x="828" y="358"/>
                        <a:pt x="828" y="360"/>
                      </a:cubicBezTo>
                      <a:cubicBezTo>
                        <a:pt x="828" y="360"/>
                        <a:pt x="828" y="360"/>
                        <a:pt x="828" y="360"/>
                      </a:cubicBezTo>
                      <a:cubicBezTo>
                        <a:pt x="828" y="362"/>
                        <a:pt x="828" y="364"/>
                        <a:pt x="829" y="367"/>
                      </a:cubicBezTo>
                      <a:cubicBezTo>
                        <a:pt x="829" y="368"/>
                        <a:pt x="829" y="368"/>
                        <a:pt x="829" y="368"/>
                      </a:cubicBezTo>
                      <a:cubicBezTo>
                        <a:pt x="829" y="370"/>
                        <a:pt x="829" y="371"/>
                        <a:pt x="830" y="373"/>
                      </a:cubicBezTo>
                      <a:cubicBezTo>
                        <a:pt x="830" y="375"/>
                        <a:pt x="830" y="376"/>
                        <a:pt x="831" y="377"/>
                      </a:cubicBezTo>
                      <a:cubicBezTo>
                        <a:pt x="831" y="378"/>
                        <a:pt x="831" y="379"/>
                        <a:pt x="831" y="379"/>
                      </a:cubicBezTo>
                      <a:cubicBezTo>
                        <a:pt x="832" y="380"/>
                        <a:pt x="832" y="381"/>
                        <a:pt x="832" y="382"/>
                      </a:cubicBezTo>
                      <a:cubicBezTo>
                        <a:pt x="833" y="383"/>
                        <a:pt x="833" y="384"/>
                        <a:pt x="834" y="385"/>
                      </a:cubicBezTo>
                      <a:cubicBezTo>
                        <a:pt x="834" y="385"/>
                        <a:pt x="834" y="385"/>
                        <a:pt x="834" y="386"/>
                      </a:cubicBezTo>
                      <a:cubicBezTo>
                        <a:pt x="835" y="388"/>
                        <a:pt x="836" y="390"/>
                        <a:pt x="837" y="392"/>
                      </a:cubicBezTo>
                      <a:cubicBezTo>
                        <a:pt x="838" y="393"/>
                        <a:pt x="838" y="393"/>
                        <a:pt x="838" y="393"/>
                      </a:cubicBezTo>
                      <a:cubicBezTo>
                        <a:pt x="839" y="395"/>
                        <a:pt x="840" y="396"/>
                        <a:pt x="841" y="398"/>
                      </a:cubicBezTo>
                      <a:cubicBezTo>
                        <a:pt x="842" y="399"/>
                        <a:pt x="842" y="400"/>
                        <a:pt x="843" y="401"/>
                      </a:cubicBezTo>
                      <a:cubicBezTo>
                        <a:pt x="844" y="401"/>
                        <a:pt x="844" y="402"/>
                        <a:pt x="845" y="403"/>
                      </a:cubicBezTo>
                      <a:cubicBezTo>
                        <a:pt x="846" y="405"/>
                        <a:pt x="848" y="406"/>
                        <a:pt x="849" y="408"/>
                      </a:cubicBezTo>
                      <a:cubicBezTo>
                        <a:pt x="850" y="408"/>
                        <a:pt x="850" y="409"/>
                        <a:pt x="851" y="409"/>
                      </a:cubicBezTo>
                      <a:cubicBezTo>
                        <a:pt x="853" y="411"/>
                        <a:pt x="854" y="413"/>
                        <a:pt x="856" y="414"/>
                      </a:cubicBezTo>
                      <a:cubicBezTo>
                        <a:pt x="857" y="414"/>
                        <a:pt x="857" y="414"/>
                        <a:pt x="857" y="414"/>
                      </a:cubicBezTo>
                      <a:cubicBezTo>
                        <a:pt x="857" y="415"/>
                        <a:pt x="857" y="415"/>
                        <a:pt x="857" y="415"/>
                      </a:cubicBezTo>
                      <a:cubicBezTo>
                        <a:pt x="863" y="420"/>
                        <a:pt x="949" y="495"/>
                        <a:pt x="1046" y="607"/>
                      </a:cubicBezTo>
                      <a:cubicBezTo>
                        <a:pt x="1166" y="747"/>
                        <a:pt x="1304" y="943"/>
                        <a:pt x="1327" y="1133"/>
                      </a:cubicBezTo>
                      <a:cubicBezTo>
                        <a:pt x="1328" y="1138"/>
                        <a:pt x="1328" y="1142"/>
                        <a:pt x="1329" y="1147"/>
                      </a:cubicBezTo>
                      <a:cubicBezTo>
                        <a:pt x="1329" y="1152"/>
                        <a:pt x="1330" y="1156"/>
                        <a:pt x="1330" y="1161"/>
                      </a:cubicBezTo>
                      <a:cubicBezTo>
                        <a:pt x="1330" y="1163"/>
                        <a:pt x="1330" y="1165"/>
                        <a:pt x="1330" y="1167"/>
                      </a:cubicBezTo>
                      <a:cubicBezTo>
                        <a:pt x="1331" y="1169"/>
                        <a:pt x="1331" y="1172"/>
                        <a:pt x="1331" y="1175"/>
                      </a:cubicBezTo>
                      <a:cubicBezTo>
                        <a:pt x="1331" y="1180"/>
                        <a:pt x="1331" y="1185"/>
                        <a:pt x="1331" y="1190"/>
                      </a:cubicBezTo>
                      <a:cubicBezTo>
                        <a:pt x="1331" y="1191"/>
                        <a:pt x="1331" y="1191"/>
                        <a:pt x="1331" y="1191"/>
                      </a:cubicBezTo>
                      <a:cubicBezTo>
                        <a:pt x="1331" y="1192"/>
                        <a:pt x="1331" y="1192"/>
                        <a:pt x="1331" y="1192"/>
                      </a:cubicBezTo>
                      <a:cubicBezTo>
                        <a:pt x="1332" y="1202"/>
                        <a:pt x="1335" y="1309"/>
                        <a:pt x="1268" y="1395"/>
                      </a:cubicBezTo>
                      <a:close/>
                    </a:path>
                  </a:pathLst>
                </a:custGeom>
                <a:solidFill>
                  <a:srgbClr val="C00000"/>
                </a:solidFill>
                <a:ln w="9525">
                  <a:solidFill>
                    <a:srgbClr val="C10077"/>
                  </a:solidFill>
                  <a:round/>
                  <a:headEnd/>
                  <a:tailEnd/>
                </a:ln>
              </p:spPr>
              <p:txBody>
                <a:bodyPr vert="horz" wrap="square" lIns="55445" tIns="27723" rIns="55445" bIns="27723"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54466" rtl="0" eaLnBrk="1" fontAlgn="auto" latinLnBrk="0" hangingPunct="1">
                    <a:lnSpc>
                      <a:spcPct val="100000"/>
                    </a:lnSpc>
                    <a:spcBef>
                      <a:spcPts val="0"/>
                    </a:spcBef>
                    <a:spcAft>
                      <a:spcPts val="0"/>
                    </a:spcAft>
                    <a:buClrTx/>
                    <a:buSzTx/>
                    <a:buFontTx/>
                    <a:buNone/>
                    <a:tabLst/>
                    <a:defRPr/>
                  </a:pPr>
                  <a:endParaRPr kumimoji="0" lang="en-US" sz="1455" b="0" i="0" u="none" strike="noStrike" kern="1200" cap="none" spc="0" normalizeH="0" baseline="0" noProof="0">
                    <a:ln>
                      <a:noFill/>
                    </a:ln>
                    <a:solidFill>
                      <a:srgbClr val="000000"/>
                    </a:solidFill>
                    <a:effectLst/>
                    <a:uLnTx/>
                    <a:uFillTx/>
                    <a:latin typeface="Poppins"/>
                    <a:ea typeface="+mn-ea"/>
                    <a:cs typeface="+mn-cs"/>
                  </a:endParaRPr>
                </a:p>
              </p:txBody>
            </p:sp>
          </p:grpSp>
        </p:grpSp>
      </p:grpSp>
      <p:pic>
        <p:nvPicPr>
          <p:cNvPr id="1026" name="Picture 2" descr="The Future of Official Development Assistance: Incremental Improvements or  Radical Reform? | Center For Global Development">
            <a:extLst>
              <a:ext uri="{FF2B5EF4-FFF2-40B4-BE49-F238E27FC236}">
                <a16:creationId xmlns:a16="http://schemas.microsoft.com/office/drawing/2014/main" id="{F973EF24-9BBA-32EC-D8CF-24A0A9DAEFC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61741" y="4662642"/>
            <a:ext cx="3200679" cy="1528023"/>
          </a:xfrm>
          <a:prstGeom prst="roundRect">
            <a:avLst/>
          </a:prstGeom>
          <a:noFill/>
          <a:extLst>
            <a:ext uri="{909E8E84-426E-40DD-AFC4-6F175D3DCCD1}">
              <a14:hiddenFill xmlns:a14="http://schemas.microsoft.com/office/drawing/2010/main">
                <a:solidFill>
                  <a:srgbClr val="FFFFFF"/>
                </a:solidFill>
              </a14:hiddenFill>
            </a:ext>
          </a:extLst>
        </p:spPr>
      </p:pic>
      <p:grpSp>
        <p:nvGrpSpPr>
          <p:cNvPr id="63" name="Group 62">
            <a:extLst>
              <a:ext uri="{FF2B5EF4-FFF2-40B4-BE49-F238E27FC236}">
                <a16:creationId xmlns:a16="http://schemas.microsoft.com/office/drawing/2014/main" id="{10A812D9-2977-DCE9-950C-67DCD7C39E68}"/>
              </a:ext>
            </a:extLst>
          </p:cNvPr>
          <p:cNvGrpSpPr/>
          <p:nvPr/>
        </p:nvGrpSpPr>
        <p:grpSpPr>
          <a:xfrm>
            <a:off x="673615" y="1572477"/>
            <a:ext cx="4613580" cy="654278"/>
            <a:chOff x="1659755" y="2592915"/>
            <a:chExt cx="7608669" cy="1079028"/>
          </a:xfrm>
        </p:grpSpPr>
        <p:sp>
          <p:nvSpPr>
            <p:cNvPr id="7" name="Rectangle 6">
              <a:extLst>
                <a:ext uri="{FF2B5EF4-FFF2-40B4-BE49-F238E27FC236}">
                  <a16:creationId xmlns:a16="http://schemas.microsoft.com/office/drawing/2014/main" id="{564EFB23-415C-7EEF-7599-882E1D5954EC}"/>
                </a:ext>
              </a:extLst>
            </p:cNvPr>
            <p:cNvSpPr/>
            <p:nvPr/>
          </p:nvSpPr>
          <p:spPr>
            <a:xfrm>
              <a:off x="1659755" y="2851732"/>
              <a:ext cx="311268" cy="561395"/>
            </a:xfrm>
            <a:prstGeom prst="rect">
              <a:avLst/>
            </a:prstGeom>
            <a:solidFill>
              <a:srgbClr val="C10077"/>
            </a:solidFill>
            <a:ln w="9525" cap="rnd" cmpd="sng" algn="ctr">
              <a:solidFill>
                <a:srgbClr val="C1007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5445" tIns="27723" rIns="55445" bIns="277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en-US" sz="970" b="0" i="0" u="none" strike="noStrike" kern="1200" cap="none" spc="0" normalizeH="0" baseline="0" noProof="0">
                <a:ln>
                  <a:noFill/>
                </a:ln>
                <a:solidFill>
                  <a:srgbClr val="FFFFFF"/>
                </a:solidFill>
                <a:effectLst/>
                <a:uLnTx/>
                <a:uFillTx/>
                <a:latin typeface="Poppins"/>
                <a:ea typeface="+mn-ea"/>
                <a:cs typeface="+mn-cs"/>
              </a:endParaRPr>
            </a:p>
          </p:txBody>
        </p:sp>
        <p:sp>
          <p:nvSpPr>
            <p:cNvPr id="13" name="ee4pHeader1">
              <a:extLst>
                <a:ext uri="{FF2B5EF4-FFF2-40B4-BE49-F238E27FC236}">
                  <a16:creationId xmlns:a16="http://schemas.microsoft.com/office/drawing/2014/main" id="{A6C390A7-0586-C68B-BD99-22954BE3BA74}"/>
                </a:ext>
              </a:extLst>
            </p:cNvPr>
            <p:cNvSpPr txBox="1"/>
            <p:nvPr/>
          </p:nvSpPr>
          <p:spPr>
            <a:xfrm>
              <a:off x="2903797" y="2592915"/>
              <a:ext cx="6364627" cy="1079028"/>
            </a:xfrm>
            <a:prstGeom prst="rect">
              <a:avLst/>
            </a:prstGeom>
            <a:noFill/>
            <a:ln cap="rnd">
              <a:noFill/>
            </a:ln>
          </p:spPr>
          <p:txBody>
            <a:bodyPr wrap="square" lIns="109144"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54466" rtl="0" eaLnBrk="1" fontAlgn="auto" latinLnBrk="0" hangingPunct="1">
                <a:lnSpc>
                  <a:spcPct val="100000"/>
                </a:lnSpc>
                <a:spcBef>
                  <a:spcPts val="0"/>
                </a:spcBef>
                <a:spcAft>
                  <a:spcPts val="0"/>
                </a:spcAft>
                <a:buClr>
                  <a:srgbClr val="EB5A53"/>
                </a:buClr>
                <a:buSzTx/>
                <a:buFont typeface="Trebuchet MS" panose="020B0603020202020204" pitchFamily="34" charset="0"/>
                <a:buChar char="​"/>
                <a:tabLst/>
                <a:defRPr/>
              </a:pPr>
              <a:r>
                <a:rPr kumimoji="0" lang="en-US" sz="1455" b="1" i="0" u="none" strike="noStrike" kern="1200" cap="none" spc="0" normalizeH="0" baseline="0" noProof="0">
                  <a:ln>
                    <a:noFill/>
                  </a:ln>
                  <a:solidFill>
                    <a:srgbClr val="C10077"/>
                  </a:solidFill>
                  <a:effectLst/>
                  <a:uLnTx/>
                  <a:uFillTx/>
                  <a:latin typeface="Poppins"/>
                  <a:ea typeface="+mn-ea"/>
                  <a:cs typeface="+mn-cs"/>
                </a:rPr>
                <a:t>Constrained global funding landscape</a:t>
              </a:r>
              <a:endParaRPr kumimoji="0" lang="en-US" sz="1455" b="0" i="0" u="none" strike="noStrike" kern="1200" cap="none" spc="0" normalizeH="0" baseline="0" noProof="0">
                <a:ln>
                  <a:noFill/>
                </a:ln>
                <a:solidFill>
                  <a:srgbClr val="C10077"/>
                </a:solidFill>
                <a:effectLst/>
                <a:uLnTx/>
                <a:uFillTx/>
                <a:latin typeface="Poppins"/>
                <a:ea typeface="+mn-ea"/>
                <a:cs typeface="+mn-cs"/>
              </a:endParaRPr>
            </a:p>
          </p:txBody>
        </p:sp>
        <p:sp>
          <p:nvSpPr>
            <p:cNvPr id="33" name="AutoShape 3">
              <a:extLst>
                <a:ext uri="{FF2B5EF4-FFF2-40B4-BE49-F238E27FC236}">
                  <a16:creationId xmlns:a16="http://schemas.microsoft.com/office/drawing/2014/main" id="{A37F9C30-4545-F596-46E9-738AF584FEF5}"/>
                </a:ext>
              </a:extLst>
            </p:cNvPr>
            <p:cNvSpPr>
              <a:spLocks noChangeAspect="1" noChangeArrowheads="1" noTextEdit="1"/>
            </p:cNvSpPr>
            <p:nvPr/>
          </p:nvSpPr>
          <p:spPr bwMode="auto">
            <a:xfrm>
              <a:off x="1906901" y="2644028"/>
              <a:ext cx="933703" cy="936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5445" tIns="27723" rIns="55445" bIns="277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54466"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000000"/>
                </a:solidFill>
                <a:effectLst/>
                <a:uLnTx/>
                <a:uFillTx/>
                <a:latin typeface="Poppins"/>
                <a:ea typeface="+mn-ea"/>
                <a:cs typeface="+mn-cs"/>
              </a:endParaRPr>
            </a:p>
          </p:txBody>
        </p:sp>
        <p:grpSp>
          <p:nvGrpSpPr>
            <p:cNvPr id="44" name="Group 43">
              <a:extLst>
                <a:ext uri="{FF2B5EF4-FFF2-40B4-BE49-F238E27FC236}">
                  <a16:creationId xmlns:a16="http://schemas.microsoft.com/office/drawing/2014/main" id="{5EFA5CA9-BE15-B475-AE6A-0213936F6C32}"/>
                </a:ext>
              </a:extLst>
            </p:cNvPr>
            <p:cNvGrpSpPr/>
            <p:nvPr/>
          </p:nvGrpSpPr>
          <p:grpSpPr>
            <a:xfrm>
              <a:off x="1878248" y="2680386"/>
              <a:ext cx="987503" cy="991557"/>
              <a:chOff x="1575207" y="3802127"/>
              <a:chExt cx="987503" cy="991557"/>
            </a:xfrm>
          </p:grpSpPr>
          <p:sp>
            <p:nvSpPr>
              <p:cNvPr id="8" name="Oval 7">
                <a:extLst>
                  <a:ext uri="{FF2B5EF4-FFF2-40B4-BE49-F238E27FC236}">
                    <a16:creationId xmlns:a16="http://schemas.microsoft.com/office/drawing/2014/main" id="{95B8A0A1-88EC-4CD6-B0A9-E1AF739D4260}"/>
                  </a:ext>
                </a:extLst>
              </p:cNvPr>
              <p:cNvSpPr/>
              <p:nvPr/>
            </p:nvSpPr>
            <p:spPr>
              <a:xfrm>
                <a:off x="1575207" y="3802127"/>
                <a:ext cx="987503" cy="991557"/>
              </a:xfrm>
              <a:prstGeom prst="ellipse">
                <a:avLst/>
              </a:prstGeom>
              <a:solidFill>
                <a:schemeClr val="bg1"/>
              </a:solidFill>
              <a:ln w="19050" cap="flat" cmpd="sng" algn="ctr">
                <a:solidFill>
                  <a:srgbClr val="C10077"/>
                </a:solidFill>
                <a:prstDash val="solid"/>
                <a:round/>
                <a:headEnd type="none" w="med" len="med"/>
                <a:tailEnd type="none" w="med" len="me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54466" rtl="0" eaLnBrk="1" fontAlgn="auto" latinLnBrk="0" hangingPunct="1">
                  <a:lnSpc>
                    <a:spcPct val="95000"/>
                  </a:lnSpc>
                  <a:spcBef>
                    <a:spcPts val="0"/>
                  </a:spcBef>
                  <a:spcAft>
                    <a:spcPts val="0"/>
                  </a:spcAft>
                  <a:buClrTx/>
                  <a:buSzTx/>
                  <a:buFontTx/>
                  <a:buNone/>
                  <a:tabLst/>
                  <a:defRPr/>
                </a:pPr>
                <a:endParaRPr kumimoji="0" lang="en-US" sz="1455" b="0" i="0" u="none" strike="noStrike" kern="0" cap="none" spc="0" normalizeH="0" baseline="0" noProof="0">
                  <a:ln>
                    <a:noFill/>
                  </a:ln>
                  <a:solidFill>
                    <a:srgbClr val="000000"/>
                  </a:solidFill>
                  <a:effectLst/>
                  <a:uLnTx/>
                  <a:uFillTx/>
                  <a:latin typeface="Poppins"/>
                  <a:ea typeface="+mn-ea"/>
                  <a:cs typeface="+mn-cs"/>
                </a:endParaRPr>
              </a:p>
            </p:txBody>
          </p:sp>
          <p:pic>
            <p:nvPicPr>
              <p:cNvPr id="43" name="Graphic 42" descr="World outline">
                <a:extLst>
                  <a:ext uri="{FF2B5EF4-FFF2-40B4-BE49-F238E27FC236}">
                    <a16:creationId xmlns:a16="http://schemas.microsoft.com/office/drawing/2014/main" id="{469784E5-D830-2DD1-724F-B1880BCB9C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11758" y="3848681"/>
                <a:ext cx="914400" cy="914400"/>
              </a:xfrm>
              <a:prstGeom prst="rect">
                <a:avLst/>
              </a:prstGeom>
            </p:spPr>
          </p:pic>
        </p:grpSp>
      </p:grpSp>
      <p:pic>
        <p:nvPicPr>
          <p:cNvPr id="6" name="Picture 5">
            <a:extLst>
              <a:ext uri="{FF2B5EF4-FFF2-40B4-BE49-F238E27FC236}">
                <a16:creationId xmlns:a16="http://schemas.microsoft.com/office/drawing/2014/main" id="{2533DEA4-80F3-BEA5-49E2-1A8156A6F54C}"/>
              </a:ext>
            </a:extLst>
          </p:cNvPr>
          <p:cNvPicPr>
            <a:picLocks noChangeAspect="1"/>
          </p:cNvPicPr>
          <p:nvPr/>
        </p:nvPicPr>
        <p:blipFill>
          <a:blip r:embed="rId12"/>
          <a:stretch>
            <a:fillRect/>
          </a:stretch>
        </p:blipFill>
        <p:spPr>
          <a:xfrm>
            <a:off x="637011" y="2291097"/>
            <a:ext cx="5103910" cy="1107630"/>
          </a:xfrm>
          <a:prstGeom prst="rect">
            <a:avLst/>
          </a:prstGeom>
        </p:spPr>
      </p:pic>
      <p:pic>
        <p:nvPicPr>
          <p:cNvPr id="48" name="Picture 47">
            <a:extLst>
              <a:ext uri="{FF2B5EF4-FFF2-40B4-BE49-F238E27FC236}">
                <a16:creationId xmlns:a16="http://schemas.microsoft.com/office/drawing/2014/main" id="{009A6A80-7F43-8888-F59B-0BAC8DA42377}"/>
              </a:ext>
            </a:extLst>
          </p:cNvPr>
          <p:cNvPicPr>
            <a:picLocks noChangeAspect="1"/>
          </p:cNvPicPr>
          <p:nvPr/>
        </p:nvPicPr>
        <p:blipFill>
          <a:blip r:embed="rId13"/>
          <a:stretch>
            <a:fillRect/>
          </a:stretch>
        </p:blipFill>
        <p:spPr>
          <a:xfrm>
            <a:off x="2786214" y="3733012"/>
            <a:ext cx="3524209" cy="2596043"/>
          </a:xfrm>
          <a:prstGeom prst="rect">
            <a:avLst/>
          </a:prstGeom>
        </p:spPr>
      </p:pic>
      <p:pic>
        <p:nvPicPr>
          <p:cNvPr id="50" name="Picture 49">
            <a:extLst>
              <a:ext uri="{FF2B5EF4-FFF2-40B4-BE49-F238E27FC236}">
                <a16:creationId xmlns:a16="http://schemas.microsoft.com/office/drawing/2014/main" id="{A184C5DD-F1A3-DDBF-CA6A-9AC5454030BF}"/>
              </a:ext>
            </a:extLst>
          </p:cNvPr>
          <p:cNvPicPr>
            <a:picLocks noChangeAspect="1"/>
          </p:cNvPicPr>
          <p:nvPr/>
        </p:nvPicPr>
        <p:blipFill>
          <a:blip r:embed="rId14"/>
          <a:stretch>
            <a:fillRect/>
          </a:stretch>
        </p:blipFill>
        <p:spPr>
          <a:xfrm>
            <a:off x="7447557" y="2142192"/>
            <a:ext cx="3974726" cy="1913757"/>
          </a:xfrm>
          <a:prstGeom prst="rect">
            <a:avLst/>
          </a:prstGeom>
        </p:spPr>
      </p:pic>
      <p:sp>
        <p:nvSpPr>
          <p:cNvPr id="4" name="Footer Placeholder 3">
            <a:extLst>
              <a:ext uri="{FF2B5EF4-FFF2-40B4-BE49-F238E27FC236}">
                <a16:creationId xmlns:a16="http://schemas.microsoft.com/office/drawing/2014/main" id="{0C5F9BF9-B758-7E51-555D-004D4FC657AC}"/>
              </a:ext>
            </a:extLst>
          </p:cNvPr>
          <p:cNvSpPr>
            <a:spLocks noGrp="1"/>
          </p:cNvSpPr>
          <p:nvPr>
            <p:ph type="ftr" sz="quarter" idx="11"/>
          </p:nvPr>
        </p:nvSpPr>
        <p:spPr/>
        <p: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VB Director’s Report to SAGE</a:t>
            </a:r>
          </a:p>
        </p:txBody>
      </p:sp>
      <p:pic>
        <p:nvPicPr>
          <p:cNvPr id="2" name="Graphic 1">
            <a:extLst>
              <a:ext uri="{FF2B5EF4-FFF2-40B4-BE49-F238E27FC236}">
                <a16:creationId xmlns:a16="http://schemas.microsoft.com/office/drawing/2014/main" id="{FBBAA856-8F1A-0EF5-E9D4-CCCE6729CA97}"/>
              </a:ext>
            </a:extLst>
          </p:cNvPr>
          <p:cNvPicPr>
            <a:picLocks noChangeAspect="1"/>
          </p:cNvPicPr>
          <p:nvPr/>
        </p:nvPicPr>
        <p:blipFill rotWithShape="1">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t="-11699"/>
          <a:stretch/>
        </p:blipFill>
        <p:spPr>
          <a:xfrm>
            <a:off x="11343276" y="110032"/>
            <a:ext cx="636511" cy="710972"/>
          </a:xfrm>
          <a:prstGeom prst="rect">
            <a:avLst/>
          </a:prstGeom>
        </p:spPr>
      </p:pic>
    </p:spTree>
    <p:extLst>
      <p:ext uri="{BB962C8B-B14F-4D97-AF65-F5344CB8AC3E}">
        <p14:creationId xmlns:p14="http://schemas.microsoft.com/office/powerpoint/2010/main" val="197846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08D8B9-5049-C728-5BD3-79D198E7DC38}"/>
            </a:ext>
          </a:extLst>
        </p:cNvPr>
        <p:cNvGrpSpPr/>
        <p:nvPr/>
      </p:nvGrpSpPr>
      <p:grpSpPr>
        <a:xfrm>
          <a:off x="0" y="0"/>
          <a:ext cx="0" cy="0"/>
          <a:chOff x="0" y="0"/>
          <a:chExt cx="0" cy="0"/>
        </a:xfrm>
      </p:grpSpPr>
      <p:graphicFrame>
        <p:nvGraphicFramePr>
          <p:cNvPr id="14" name="Content Placeholder 13">
            <a:extLst>
              <a:ext uri="{FF2B5EF4-FFF2-40B4-BE49-F238E27FC236}">
                <a16:creationId xmlns:a16="http://schemas.microsoft.com/office/drawing/2014/main" id="{80644EA7-CE88-4173-A5D6-2F3BD280EC30}"/>
              </a:ext>
            </a:extLst>
          </p:cNvPr>
          <p:cNvGraphicFramePr>
            <a:graphicFrameLocks noGrp="1"/>
          </p:cNvGraphicFramePr>
          <p:nvPr>
            <p:ph sz="quarter" idx="16"/>
          </p:nvPr>
        </p:nvGraphicFramePr>
        <p:xfrm>
          <a:off x="4212842" y="5680666"/>
          <a:ext cx="7148166" cy="83270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ontent Placeholder 11">
            <a:extLst>
              <a:ext uri="{FF2B5EF4-FFF2-40B4-BE49-F238E27FC236}">
                <a16:creationId xmlns:a16="http://schemas.microsoft.com/office/drawing/2014/main" id="{5DD743DA-7394-4ACB-979A-F60A29E93949}"/>
              </a:ext>
            </a:extLst>
          </p:cNvPr>
          <p:cNvGraphicFramePr>
            <a:graphicFrameLocks noGrp="1"/>
          </p:cNvGraphicFramePr>
          <p:nvPr>
            <p:ph sz="quarter" idx="15"/>
          </p:nvPr>
        </p:nvGraphicFramePr>
        <p:xfrm>
          <a:off x="4212842" y="263132"/>
          <a:ext cx="7148166" cy="5275366"/>
        </p:xfrm>
        <a:graphic>
          <a:graphicData uri="http://schemas.openxmlformats.org/drawingml/2006/chart">
            <c:chart xmlns:c="http://schemas.openxmlformats.org/drawingml/2006/chart" xmlns:r="http://schemas.openxmlformats.org/officeDocument/2006/relationships" r:id="rId4"/>
          </a:graphicData>
        </a:graphic>
      </p:graphicFrame>
      <p:sp>
        <p:nvSpPr>
          <p:cNvPr id="4" name="Source">
            <a:extLst>
              <a:ext uri="{FF2B5EF4-FFF2-40B4-BE49-F238E27FC236}">
                <a16:creationId xmlns:a16="http://schemas.microsoft.com/office/drawing/2014/main" id="{A4A818EC-A9F8-9C40-7F5C-6AD7C1774021}"/>
              </a:ext>
            </a:extLst>
          </p:cNvPr>
          <p:cNvSpPr>
            <a:spLocks noGrp="1"/>
          </p:cNvSpPr>
          <p:nvPr>
            <p:ph type="body" sz="quarter" idx="14"/>
          </p:nvPr>
        </p:nvSpPr>
        <p:spPr/>
        <p:txBody>
          <a:bodyPr/>
          <a:lstStyle/>
          <a:p>
            <a:r>
              <a:t>WUENIC 2024</a:t>
            </a:r>
          </a:p>
        </p:txBody>
      </p:sp>
      <p:sp>
        <p:nvSpPr>
          <p:cNvPr id="7" name="Slide Number Placeholder 6">
            <a:extLst>
              <a:ext uri="{FF2B5EF4-FFF2-40B4-BE49-F238E27FC236}">
                <a16:creationId xmlns:a16="http://schemas.microsoft.com/office/drawing/2014/main" id="{9770A97C-AEBC-77B7-FDBC-358BF31B7534}"/>
              </a:ext>
            </a:extLst>
          </p:cNvPr>
          <p:cNvSpPr>
            <a:spLocks noGrp="1"/>
          </p:cNvSpPr>
          <p:nvPr>
            <p:ph type="sldNum" sz="quarter" idx="13"/>
          </p:nvPr>
        </p:nvSpPr>
        <p:spPr/>
        <p:txBody>
          <a:bodyPr/>
          <a:lstStyle/>
          <a:p>
            <a:pPr marL="0" marR="0" lvl="0" indent="0" algn="l"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l" defTabSz="554492" rtl="0" eaLnBrk="1" fontAlgn="auto" latinLnBrk="0" hangingPunct="1">
                <a:lnSpc>
                  <a:spcPct val="100000"/>
                </a:lnSpc>
                <a:spcBef>
                  <a:spcPts val="0"/>
                </a:spcBef>
                <a:spcAft>
                  <a:spcPts val="0"/>
                </a:spcAft>
                <a:buClrTx/>
                <a:buSzTx/>
                <a:buFontTx/>
                <a:buNone/>
                <a:tabLst/>
                <a:defRPr/>
              </a:pPr>
              <a:t>7</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Description">
            <a:extLst>
              <a:ext uri="{FF2B5EF4-FFF2-40B4-BE49-F238E27FC236}">
                <a16:creationId xmlns:a16="http://schemas.microsoft.com/office/drawing/2014/main" id="{47B45EFB-C20F-27E6-B47E-72C60CCE794C}"/>
              </a:ext>
            </a:extLst>
          </p:cNvPr>
          <p:cNvSpPr>
            <a:spLocks noGrp="1"/>
          </p:cNvSpPr>
          <p:nvPr>
            <p:ph type="body" sz="quarter" idx="11"/>
          </p:nvPr>
        </p:nvSpPr>
        <p:spPr>
          <a:xfrm>
            <a:off x="511260" y="3107471"/>
            <a:ext cx="3305127" cy="1658112"/>
          </a:xfrm>
        </p:spPr>
        <p:txBody>
          <a:bodyPr/>
          <a:lstStyle/>
          <a:p>
            <a:pPr marL="277246" indent="-277246">
              <a:buFont typeface="Arial" panose="020B0604020202020204" pitchFamily="34" charset="0"/>
              <a:buChar char="•"/>
            </a:pPr>
            <a:r>
              <a:rPr lang="en-GB" sz="1698">
                <a:latin typeface="+mn-lt"/>
              </a:rPr>
              <a:t>171k fewer Zero Dose Children (ZDC)</a:t>
            </a:r>
          </a:p>
          <a:p>
            <a:pPr marL="277246" indent="-277246">
              <a:buFont typeface="Arial" panose="020B0604020202020204" pitchFamily="34" charset="0"/>
              <a:buChar char="•"/>
            </a:pPr>
            <a:r>
              <a:rPr lang="en-GB" sz="1698">
                <a:latin typeface="+mn-lt"/>
              </a:rPr>
              <a:t>426k fewer Un and Under vaccinated</a:t>
            </a:r>
          </a:p>
        </p:txBody>
      </p:sp>
      <p:sp>
        <p:nvSpPr>
          <p:cNvPr id="2" name="Title">
            <a:extLst>
              <a:ext uri="{FF2B5EF4-FFF2-40B4-BE49-F238E27FC236}">
                <a16:creationId xmlns:a16="http://schemas.microsoft.com/office/drawing/2014/main" id="{34CE612E-09EC-CD8C-EE06-13D7699D427C}"/>
              </a:ext>
            </a:extLst>
          </p:cNvPr>
          <p:cNvSpPr>
            <a:spLocks noGrp="1"/>
          </p:cNvSpPr>
          <p:nvPr>
            <p:ph type="body" sz="quarter" idx="10"/>
          </p:nvPr>
        </p:nvSpPr>
        <p:spPr/>
        <p:txBody>
          <a:bodyPr/>
          <a:lstStyle/>
          <a:p>
            <a:r>
              <a:rPr lang="en-US" sz="2183"/>
              <a:t>Immunization coverage is nearly back to pre-pandemic levels, with improvements in 2024 compared to 2023:</a:t>
            </a:r>
            <a:endParaRPr lang="en-GB" sz="2183"/>
          </a:p>
        </p:txBody>
      </p:sp>
      <p:sp>
        <p:nvSpPr>
          <p:cNvPr id="20" name="TextBox 19">
            <a:extLst>
              <a:ext uri="{FF2B5EF4-FFF2-40B4-BE49-F238E27FC236}">
                <a16:creationId xmlns:a16="http://schemas.microsoft.com/office/drawing/2014/main" id="{E35F696F-71F7-A293-7D6C-B6B719CC82A1}"/>
              </a:ext>
            </a:extLst>
          </p:cNvPr>
          <p:cNvSpPr txBox="1"/>
          <p:nvPr/>
        </p:nvSpPr>
        <p:spPr>
          <a:xfrm>
            <a:off x="5340250" y="6550399"/>
            <a:ext cx="6095253" cy="223010"/>
          </a:xfrm>
          <a:prstGeom prst="rect">
            <a:avLst/>
          </a:prstGeom>
          <a:noFill/>
        </p:spPr>
        <p:txBody>
          <a:bodyPr wrap="square">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sz="1400" b="0" i="0" u="none" strike="noStrike" kern="1200" spc="0" baseline="0">
                <a:solidFill>
                  <a:srgbClr val="000000">
                    <a:lumMod val="65000"/>
                    <a:lumOff val="35000"/>
                  </a:srgbClr>
                </a:solidFill>
                <a:latin typeface="+mn-lt"/>
                <a:ea typeface="+mn-ea"/>
                <a:cs typeface="+mn-cs"/>
              </a:defRPr>
            </a:pPr>
            <a:r>
              <a:rPr kumimoji="0" lang="en-GB" sz="849" b="0" i="0" u="none" strike="noStrike" kern="1200" cap="none" spc="0" normalizeH="0" baseline="0" noProof="0">
                <a:ln>
                  <a:noFill/>
                </a:ln>
                <a:solidFill>
                  <a:srgbClr val="000000">
                    <a:lumMod val="65000"/>
                    <a:lumOff val="35000"/>
                  </a:srgbClr>
                </a:solidFill>
                <a:effectLst/>
                <a:uLnTx/>
                <a:uFillTx/>
                <a:latin typeface="Poppins"/>
                <a:ea typeface="+mn-ea"/>
                <a:cs typeface="+mn-cs"/>
              </a:rPr>
              <a:t>Millions of Un and Under vaccinated children</a:t>
            </a:r>
          </a:p>
        </p:txBody>
      </p:sp>
      <p:sp>
        <p:nvSpPr>
          <p:cNvPr id="5" name="Oval 4">
            <a:extLst>
              <a:ext uri="{FF2B5EF4-FFF2-40B4-BE49-F238E27FC236}">
                <a16:creationId xmlns:a16="http://schemas.microsoft.com/office/drawing/2014/main" id="{CF72E89E-2D92-01B8-BECB-CC9805B25BD0}"/>
              </a:ext>
            </a:extLst>
          </p:cNvPr>
          <p:cNvSpPr/>
          <p:nvPr/>
        </p:nvSpPr>
        <p:spPr>
          <a:xfrm>
            <a:off x="7606861" y="467171"/>
            <a:ext cx="497622" cy="840863"/>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FFFFFF"/>
              </a:solidFill>
              <a:effectLst/>
              <a:uLnTx/>
              <a:uFillTx/>
              <a:latin typeface="Poppins"/>
              <a:ea typeface="+mn-ea"/>
              <a:cs typeface="+mn-cs"/>
            </a:endParaRPr>
          </a:p>
        </p:txBody>
      </p:sp>
      <p:sp>
        <p:nvSpPr>
          <p:cNvPr id="6" name="Oval 5">
            <a:extLst>
              <a:ext uri="{FF2B5EF4-FFF2-40B4-BE49-F238E27FC236}">
                <a16:creationId xmlns:a16="http://schemas.microsoft.com/office/drawing/2014/main" id="{89C046AB-F315-9F67-4F53-9B076AF01ED5}"/>
              </a:ext>
            </a:extLst>
          </p:cNvPr>
          <p:cNvSpPr/>
          <p:nvPr/>
        </p:nvSpPr>
        <p:spPr>
          <a:xfrm>
            <a:off x="10751285" y="467171"/>
            <a:ext cx="497622" cy="840863"/>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a:ln>
                <a:noFill/>
              </a:ln>
              <a:solidFill>
                <a:srgbClr val="FFFFFF"/>
              </a:solidFill>
              <a:effectLst/>
              <a:uLnTx/>
              <a:uFillTx/>
              <a:latin typeface="Poppins"/>
              <a:ea typeface="+mn-ea"/>
              <a:cs typeface="+mn-cs"/>
            </a:endParaRPr>
          </a:p>
        </p:txBody>
      </p:sp>
      <p:sp>
        <p:nvSpPr>
          <p:cNvPr id="8" name="TextBox 7">
            <a:extLst>
              <a:ext uri="{FF2B5EF4-FFF2-40B4-BE49-F238E27FC236}">
                <a16:creationId xmlns:a16="http://schemas.microsoft.com/office/drawing/2014/main" id="{E19389F1-089A-8CFD-16E1-21A26104BDAC}"/>
              </a:ext>
            </a:extLst>
          </p:cNvPr>
          <p:cNvSpPr txBox="1"/>
          <p:nvPr/>
        </p:nvSpPr>
        <p:spPr>
          <a:xfrm>
            <a:off x="7677950" y="1450213"/>
            <a:ext cx="495649" cy="260392"/>
          </a:xfrm>
          <a:prstGeom prst="rect">
            <a:avLst/>
          </a:prstGeom>
          <a:noFill/>
        </p:spPr>
        <p:txBody>
          <a:bodyPr wrap="none" rtlCol="0">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1092" b="1" i="0" u="none" strike="noStrike" kern="1200" cap="none" spc="0" normalizeH="0" baseline="0" noProof="0">
                <a:ln>
                  <a:noFill/>
                </a:ln>
                <a:solidFill>
                  <a:srgbClr val="000000"/>
                </a:solidFill>
                <a:effectLst/>
                <a:uLnTx/>
                <a:uFillTx/>
                <a:latin typeface="Poppins"/>
                <a:ea typeface="+mn-ea"/>
                <a:cs typeface="+mn-cs"/>
              </a:rPr>
              <a:t>2019</a:t>
            </a:r>
          </a:p>
        </p:txBody>
      </p:sp>
      <p:sp>
        <p:nvSpPr>
          <p:cNvPr id="9" name="TextBox 8">
            <a:extLst>
              <a:ext uri="{FF2B5EF4-FFF2-40B4-BE49-F238E27FC236}">
                <a16:creationId xmlns:a16="http://schemas.microsoft.com/office/drawing/2014/main" id="{728AC56C-7E86-37EC-192E-8A45F09E6429}"/>
              </a:ext>
            </a:extLst>
          </p:cNvPr>
          <p:cNvSpPr txBox="1"/>
          <p:nvPr/>
        </p:nvSpPr>
        <p:spPr>
          <a:xfrm>
            <a:off x="10751285" y="1450213"/>
            <a:ext cx="609724" cy="260392"/>
          </a:xfrm>
          <a:prstGeom prst="rect">
            <a:avLst/>
          </a:prstGeom>
          <a:noFill/>
        </p:spPr>
        <p:txBody>
          <a:bodyPr wrap="square" rtlCol="0">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1092" b="1" i="0" u="none" strike="noStrike" kern="1200" cap="none" spc="0" normalizeH="0" baseline="0" noProof="0">
                <a:ln>
                  <a:noFill/>
                </a:ln>
                <a:solidFill>
                  <a:srgbClr val="000000"/>
                </a:solidFill>
                <a:effectLst/>
                <a:uLnTx/>
                <a:uFillTx/>
                <a:latin typeface="Poppins"/>
                <a:ea typeface="+mn-ea"/>
                <a:cs typeface="+mn-cs"/>
              </a:rPr>
              <a:t>2024</a:t>
            </a:r>
          </a:p>
        </p:txBody>
      </p:sp>
      <p:pic>
        <p:nvPicPr>
          <p:cNvPr id="10" name="Graphic 9">
            <a:extLst>
              <a:ext uri="{FF2B5EF4-FFF2-40B4-BE49-F238E27FC236}">
                <a16:creationId xmlns:a16="http://schemas.microsoft.com/office/drawing/2014/main" id="{D7632A99-36D7-DE32-B0F8-A4CD59D4A936}"/>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t="-11699"/>
          <a:stretch/>
        </p:blipFill>
        <p:spPr>
          <a:xfrm>
            <a:off x="11426450" y="110032"/>
            <a:ext cx="636511" cy="710972"/>
          </a:xfrm>
          <a:prstGeom prst="rect">
            <a:avLst/>
          </a:prstGeom>
        </p:spPr>
      </p:pic>
    </p:spTree>
    <p:extLst>
      <p:ext uri="{BB962C8B-B14F-4D97-AF65-F5344CB8AC3E}">
        <p14:creationId xmlns:p14="http://schemas.microsoft.com/office/powerpoint/2010/main" val="11382938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A4245A-724C-BBE8-40C8-562091541D69}"/>
              </a:ext>
            </a:extLst>
          </p:cNvPr>
          <p:cNvSpPr>
            <a:spLocks noGrp="1"/>
          </p:cNvSpPr>
          <p:nvPr>
            <p:ph type="body" sz="quarter" idx="14"/>
          </p:nvPr>
        </p:nvSpPr>
        <p:spPr/>
        <p:txBody>
          <a:bodyPr/>
          <a:lstStyle/>
          <a:p>
            <a:r>
              <a:rPr lang="en-US"/>
              <a:t>WUENIC 2024</a:t>
            </a:r>
          </a:p>
        </p:txBody>
      </p:sp>
      <p:sp>
        <p:nvSpPr>
          <p:cNvPr id="4" name="Slide Number Placeholder 3">
            <a:extLst>
              <a:ext uri="{FF2B5EF4-FFF2-40B4-BE49-F238E27FC236}">
                <a16:creationId xmlns:a16="http://schemas.microsoft.com/office/drawing/2014/main" id="{B75AF95D-CAE2-4A74-BA08-36A26D593867}"/>
              </a:ext>
            </a:extLst>
          </p:cNvPr>
          <p:cNvSpPr>
            <a:spLocks noGrp="1"/>
          </p:cNvSpPr>
          <p:nvPr>
            <p:ph type="sldNum" sz="quarter" idx="13"/>
          </p:nvPr>
        </p:nvSpPr>
        <p:spPr/>
        <p:txBody>
          <a:bodyPr/>
          <a:lstStyle/>
          <a:p>
            <a:pPr marL="0" marR="0" lvl="0" indent="0" algn="l"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l" defTabSz="554492" rtl="0" eaLnBrk="1" fontAlgn="auto" latinLnBrk="0" hangingPunct="1">
                <a:lnSpc>
                  <a:spcPct val="100000"/>
                </a:lnSpc>
                <a:spcBef>
                  <a:spcPts val="0"/>
                </a:spcBef>
                <a:spcAft>
                  <a:spcPts val="0"/>
                </a:spcAft>
                <a:buClrTx/>
                <a:buSzTx/>
                <a:buFontTx/>
                <a:buNone/>
                <a:tabLst/>
                <a:defRPr/>
              </a:pPr>
              <a:t>8</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5" name="Text Placeholder 4">
            <a:extLst>
              <a:ext uri="{FF2B5EF4-FFF2-40B4-BE49-F238E27FC236}">
                <a16:creationId xmlns:a16="http://schemas.microsoft.com/office/drawing/2014/main" id="{8B6EC918-C93D-FCF2-9E78-376F9F554A0F}"/>
              </a:ext>
            </a:extLst>
          </p:cNvPr>
          <p:cNvSpPr>
            <a:spLocks noGrp="1"/>
          </p:cNvSpPr>
          <p:nvPr>
            <p:ph type="body" sz="quarter" idx="11"/>
          </p:nvPr>
        </p:nvSpPr>
        <p:spPr>
          <a:xfrm>
            <a:off x="4675401" y="5870585"/>
            <a:ext cx="3224120" cy="1336583"/>
          </a:xfrm>
        </p:spPr>
        <p:txBody>
          <a:bodyPr/>
          <a:lstStyle/>
          <a:p>
            <a:endParaRPr lang="en-GB" sz="1092"/>
          </a:p>
          <a:p>
            <a:r>
              <a:rPr lang="en-GB" sz="849">
                <a:solidFill>
                  <a:schemeClr val="tx1">
                    <a:tint val="75000"/>
                  </a:schemeClr>
                </a:solidFill>
                <a:latin typeface="Poppins" pitchFamily="2" charset="77"/>
                <a:cs typeface="Poppins" pitchFamily="2" charset="77"/>
              </a:rPr>
              <a:t>Definitions: ​Countries are included in the FCV category if they have a Humanitarian Response Plan, or an active Flash Appeal, as per OCHA. </a:t>
            </a:r>
          </a:p>
          <a:p>
            <a:endParaRPr lang="en-GB" sz="849">
              <a:solidFill>
                <a:schemeClr val="tx1">
                  <a:tint val="75000"/>
                </a:schemeClr>
              </a:solidFill>
              <a:latin typeface="Poppins" pitchFamily="2" charset="77"/>
              <a:cs typeface="Poppins" pitchFamily="2" charset="77"/>
            </a:endParaRPr>
          </a:p>
          <a:p>
            <a:endParaRPr lang="en-CH" sz="1092"/>
          </a:p>
        </p:txBody>
      </p:sp>
      <p:sp>
        <p:nvSpPr>
          <p:cNvPr id="6" name="Text Placeholder 5">
            <a:extLst>
              <a:ext uri="{FF2B5EF4-FFF2-40B4-BE49-F238E27FC236}">
                <a16:creationId xmlns:a16="http://schemas.microsoft.com/office/drawing/2014/main" id="{61F10756-ED7E-D9A2-4C41-D11E3CA06126}"/>
              </a:ext>
            </a:extLst>
          </p:cNvPr>
          <p:cNvSpPr>
            <a:spLocks noGrp="1"/>
          </p:cNvSpPr>
          <p:nvPr>
            <p:ph type="body" sz="quarter" idx="10"/>
          </p:nvPr>
        </p:nvSpPr>
        <p:spPr/>
        <p:txBody>
          <a:bodyPr lIns="55449" tIns="27725" rIns="55449" bIns="27725" anchor="t"/>
          <a:lstStyle/>
          <a:p>
            <a:r>
              <a:rPr lang="en-GB" sz="2183">
                <a:latin typeface="Poppins SemiBold"/>
                <a:ea typeface="Roboto"/>
                <a:cs typeface="Poppins SemiBold"/>
              </a:rPr>
              <a:t>Countries with Fragile, Conflict, &amp; Vulnerable (FCV) settings are home to 24% of the world’s birth cohort, but have </a:t>
            </a:r>
            <a:r>
              <a:rPr lang="en-US" sz="2183">
                <a:latin typeface="Poppins SemiBold"/>
                <a:ea typeface="Roboto"/>
                <a:cs typeface="Poppins SemiBold"/>
              </a:rPr>
              <a:t>&gt;</a:t>
            </a:r>
            <a:r>
              <a:rPr lang="en-GB" sz="2183">
                <a:latin typeface="Poppins SemiBold"/>
                <a:ea typeface="Roboto"/>
                <a:cs typeface="Poppins SemiBold"/>
              </a:rPr>
              <a:t>50% of ZDC</a:t>
            </a:r>
            <a:endParaRPr lang="en-CH" sz="2183">
              <a:latin typeface="Poppins SemiBold"/>
              <a:ea typeface="Roboto"/>
              <a:cs typeface="Poppins SemiBold"/>
            </a:endParaRPr>
          </a:p>
        </p:txBody>
      </p:sp>
      <p:grpSp>
        <p:nvGrpSpPr>
          <p:cNvPr id="26" name="Group 25">
            <a:extLst>
              <a:ext uri="{FF2B5EF4-FFF2-40B4-BE49-F238E27FC236}">
                <a16:creationId xmlns:a16="http://schemas.microsoft.com/office/drawing/2014/main" id="{2959562F-F631-87EE-8ED5-597543819441}"/>
              </a:ext>
            </a:extLst>
          </p:cNvPr>
          <p:cNvGrpSpPr/>
          <p:nvPr/>
        </p:nvGrpSpPr>
        <p:grpSpPr>
          <a:xfrm>
            <a:off x="4362859" y="920223"/>
            <a:ext cx="7640575" cy="5222353"/>
            <a:chOff x="-1847139" y="1436754"/>
            <a:chExt cx="7203316" cy="4923486"/>
          </a:xfrm>
        </p:grpSpPr>
        <p:sp>
          <p:nvSpPr>
            <p:cNvPr id="27" name="Oval 26">
              <a:extLst>
                <a:ext uri="{FF2B5EF4-FFF2-40B4-BE49-F238E27FC236}">
                  <a16:creationId xmlns:a16="http://schemas.microsoft.com/office/drawing/2014/main" id="{2AFBA3DE-0616-638F-D402-CBB350F6700F}"/>
                </a:ext>
              </a:extLst>
            </p:cNvPr>
            <p:cNvSpPr/>
            <p:nvPr/>
          </p:nvSpPr>
          <p:spPr>
            <a:xfrm>
              <a:off x="1400220" y="1436754"/>
              <a:ext cx="3955957" cy="4078669"/>
            </a:xfrm>
            <a:prstGeom prst="ellipse">
              <a:avLst/>
            </a:prstGeom>
            <a:solidFill>
              <a:srgbClr val="37A6D5"/>
            </a:solidFill>
            <a:ln w="12700" cap="flat" cmpd="sng" algn="ctr">
              <a:solidFill>
                <a:schemeClr val="accent1"/>
              </a:solidFill>
              <a:prstDash val="solid"/>
              <a:miter lim="800000"/>
            </a:ln>
            <a:effectLst/>
          </p:spPr>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prstClr val="white"/>
                  </a:solidFill>
                  <a:effectLst/>
                  <a:uLnTx/>
                  <a:uFillTx/>
                  <a:latin typeface="Poppins"/>
                  <a:ea typeface="+mn-ea"/>
                  <a:cs typeface="+mn-cs"/>
                </a:rPr>
                <a:t>76% of birth cohort</a:t>
              </a:r>
              <a:endParaRPr kumimoji="0" lang="en-CH" sz="1940" b="1" i="0" u="none" strike="noStrike" kern="0" cap="none" spc="0" normalizeH="0" baseline="0" noProof="0">
                <a:ln>
                  <a:noFill/>
                </a:ln>
                <a:solidFill>
                  <a:prstClr val="white"/>
                </a:solidFill>
                <a:effectLst/>
                <a:uLnTx/>
                <a:uFillTx/>
                <a:latin typeface="Poppins"/>
                <a:ea typeface="+mn-ea"/>
                <a:cs typeface="+mn-cs"/>
              </a:endParaRPr>
            </a:p>
          </p:txBody>
        </p:sp>
        <p:sp>
          <p:nvSpPr>
            <p:cNvPr id="28" name="Oval 27">
              <a:extLst>
                <a:ext uri="{FF2B5EF4-FFF2-40B4-BE49-F238E27FC236}">
                  <a16:creationId xmlns:a16="http://schemas.microsoft.com/office/drawing/2014/main" id="{3BAE5667-2A27-41A9-9317-BD9DFE2CD0FD}"/>
                </a:ext>
              </a:extLst>
            </p:cNvPr>
            <p:cNvSpPr/>
            <p:nvPr/>
          </p:nvSpPr>
          <p:spPr>
            <a:xfrm>
              <a:off x="-1443780" y="3112332"/>
              <a:ext cx="2422320" cy="2268000"/>
            </a:xfrm>
            <a:prstGeom prst="ellipse">
              <a:avLst/>
            </a:prstGeom>
            <a:solidFill>
              <a:srgbClr val="C10077"/>
            </a:solidFill>
            <a:ln w="12700" cap="flat" cmpd="sng" algn="ctr">
              <a:solidFill>
                <a:srgbClr val="C10077"/>
              </a:solidFill>
              <a:prstDash val="solid"/>
              <a:miter lim="800000"/>
            </a:ln>
            <a:effectLst/>
          </p:spPr>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prstClr val="white"/>
                  </a:solidFill>
                  <a:effectLst/>
                  <a:uLnTx/>
                  <a:uFillTx/>
                  <a:latin typeface="Poppins"/>
                  <a:ea typeface="+mn-ea"/>
                  <a:cs typeface="+mn-cs"/>
                </a:rPr>
                <a:t>24% of birth </a:t>
              </a:r>
              <a:br>
                <a:rPr kumimoji="0" lang="en-GB" sz="1940" b="1" i="0" u="none" strike="noStrike" kern="0" cap="none" spc="0" normalizeH="0" baseline="0" noProof="0">
                  <a:ln>
                    <a:noFill/>
                  </a:ln>
                  <a:solidFill>
                    <a:prstClr val="white"/>
                  </a:solidFill>
                  <a:effectLst/>
                  <a:uLnTx/>
                  <a:uFillTx/>
                  <a:latin typeface="Poppins"/>
                  <a:ea typeface="+mn-ea"/>
                  <a:cs typeface="+mn-cs"/>
                </a:rPr>
              </a:br>
              <a:r>
                <a:rPr kumimoji="0" lang="en-GB" sz="1940" b="1" i="0" u="none" strike="noStrike" kern="0" cap="none" spc="0" normalizeH="0" baseline="0" noProof="0">
                  <a:ln>
                    <a:noFill/>
                  </a:ln>
                  <a:solidFill>
                    <a:prstClr val="white"/>
                  </a:solidFill>
                  <a:effectLst/>
                  <a:uLnTx/>
                  <a:uFillTx/>
                  <a:latin typeface="Poppins"/>
                  <a:ea typeface="+mn-ea"/>
                  <a:cs typeface="+mn-cs"/>
                </a:rPr>
                <a:t>cohort (31M)</a:t>
              </a:r>
            </a:p>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GB" sz="1455" b="0" i="0" u="none" strike="noStrike" kern="0" cap="none" spc="0" normalizeH="0" baseline="0" noProof="0">
                <a:ln>
                  <a:noFill/>
                </a:ln>
                <a:solidFill>
                  <a:prstClr val="white"/>
                </a:solidFill>
                <a:effectLst/>
                <a:uLnTx/>
                <a:uFillTx/>
                <a:latin typeface="Calibri" panose="020F0502020204030204"/>
                <a:ea typeface="+mn-ea"/>
                <a:cs typeface="+mn-cs"/>
              </a:endParaRPr>
            </a:p>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GB" sz="1455" b="0" i="0" u="none" strike="noStrike" kern="0" cap="none" spc="0" normalizeH="0" baseline="0" noProof="0">
                <a:ln>
                  <a:noFill/>
                </a:ln>
                <a:solidFill>
                  <a:prstClr val="white"/>
                </a:solidFill>
                <a:effectLst/>
                <a:uLnTx/>
                <a:uFillTx/>
                <a:latin typeface="Calibri" panose="020F0502020204030204"/>
                <a:ea typeface="+mn-ea"/>
                <a:cs typeface="+mn-cs"/>
              </a:endParaRPr>
            </a:p>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CH" sz="1455"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9C0764E2-4C1E-4E22-7588-178DD3FF2EB8}"/>
                </a:ext>
              </a:extLst>
            </p:cNvPr>
            <p:cNvSpPr/>
            <p:nvPr/>
          </p:nvSpPr>
          <p:spPr>
            <a:xfrm>
              <a:off x="2839482" y="4413178"/>
              <a:ext cx="1080000" cy="1080000"/>
            </a:xfrm>
            <a:prstGeom prst="ellipse">
              <a:avLst/>
            </a:prstGeom>
            <a:solidFill>
              <a:sysClr val="window" lastClr="FFFFFF"/>
            </a:solidFill>
            <a:ln w="12700" cap="flat" cmpd="sng" algn="ctr">
              <a:solidFill>
                <a:schemeClr val="accent1"/>
              </a:solidFill>
              <a:prstDash val="solid"/>
              <a:miter lim="800000"/>
            </a:ln>
            <a:effectLst/>
          </p:spPr>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1213" b="1" i="0" u="none" strike="noStrike" kern="0" cap="none" spc="0" normalizeH="0" baseline="0" noProof="0">
                  <a:ln>
                    <a:noFill/>
                  </a:ln>
                  <a:solidFill>
                    <a:srgbClr val="4472C4"/>
                  </a:solidFill>
                  <a:effectLst/>
                  <a:uLnTx/>
                  <a:uFillTx/>
                  <a:latin typeface="Poppins"/>
                  <a:ea typeface="+mn-ea"/>
                  <a:cs typeface="+mn-cs"/>
                </a:rPr>
                <a:t>7.0m ZDC </a:t>
              </a:r>
            </a:p>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1213" b="0" i="0" u="none" strike="noStrike" kern="0" cap="none" spc="0" normalizeH="0" baseline="0" noProof="0">
                  <a:ln>
                    <a:noFill/>
                  </a:ln>
                  <a:solidFill>
                    <a:srgbClr val="4472C4"/>
                  </a:solidFill>
                  <a:effectLst/>
                  <a:uLnTx/>
                  <a:uFillTx/>
                  <a:latin typeface="Poppins"/>
                  <a:ea typeface="+mn-ea"/>
                  <a:cs typeface="+mn-cs"/>
                </a:rPr>
                <a:t>49% of total ZDC</a:t>
              </a:r>
              <a:endParaRPr kumimoji="0" lang="en-CH" sz="1213" b="0" i="0" u="none" strike="noStrike" kern="0" cap="none" spc="0" normalizeH="0" baseline="0" noProof="0">
                <a:ln>
                  <a:noFill/>
                </a:ln>
                <a:solidFill>
                  <a:srgbClr val="4472C4"/>
                </a:solidFill>
                <a:effectLst/>
                <a:uLnTx/>
                <a:uFillTx/>
                <a:latin typeface="Poppins"/>
                <a:ea typeface="+mn-ea"/>
                <a:cs typeface="+mn-cs"/>
              </a:endParaRPr>
            </a:p>
          </p:txBody>
        </p:sp>
        <p:sp>
          <p:nvSpPr>
            <p:cNvPr id="30" name="Oval 29">
              <a:extLst>
                <a:ext uri="{FF2B5EF4-FFF2-40B4-BE49-F238E27FC236}">
                  <a16:creationId xmlns:a16="http://schemas.microsoft.com/office/drawing/2014/main" id="{428C07D7-BB92-9717-64F9-44D22081C428}"/>
                </a:ext>
              </a:extLst>
            </p:cNvPr>
            <p:cNvSpPr/>
            <p:nvPr/>
          </p:nvSpPr>
          <p:spPr>
            <a:xfrm>
              <a:off x="-867780" y="4264332"/>
              <a:ext cx="1098000" cy="1098000"/>
            </a:xfrm>
            <a:prstGeom prst="ellipse">
              <a:avLst/>
            </a:prstGeom>
            <a:solidFill>
              <a:sysClr val="window" lastClr="FFFFFF"/>
            </a:solidFill>
            <a:ln w="12700" cap="flat" cmpd="sng" algn="ctr">
              <a:solidFill>
                <a:srgbClr val="C10077"/>
              </a:solidFill>
              <a:prstDash val="solid"/>
              <a:miter lim="800000"/>
            </a:ln>
            <a:effectLst/>
          </p:spPr>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1213" b="1" i="0" u="none" strike="noStrike" kern="0" cap="none" spc="0" normalizeH="0" baseline="0" noProof="0">
                  <a:ln>
                    <a:noFill/>
                  </a:ln>
                  <a:solidFill>
                    <a:srgbClr val="C10077"/>
                  </a:solidFill>
                  <a:effectLst/>
                  <a:uLnTx/>
                  <a:uFillTx/>
                  <a:latin typeface="Poppins"/>
                  <a:ea typeface="+mn-ea"/>
                  <a:cs typeface="+mn-cs"/>
                </a:rPr>
                <a:t>7.3m ZDC</a:t>
              </a:r>
            </a:p>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1213" b="0" i="0" u="none" strike="noStrike" kern="0" cap="none" spc="0" normalizeH="0" baseline="0" noProof="0">
                  <a:ln>
                    <a:noFill/>
                  </a:ln>
                  <a:solidFill>
                    <a:srgbClr val="C10077"/>
                  </a:solidFill>
                  <a:effectLst/>
                  <a:uLnTx/>
                  <a:uFillTx/>
                  <a:latin typeface="Poppins"/>
                  <a:ea typeface="+mn-ea"/>
                  <a:cs typeface="+mn-cs"/>
                </a:rPr>
                <a:t>51% of total ZDC</a:t>
              </a:r>
              <a:endParaRPr kumimoji="0" lang="en-CH" sz="1213" b="0" i="0" u="none" strike="noStrike" kern="0" cap="none" spc="0" normalizeH="0" baseline="0" noProof="0">
                <a:ln>
                  <a:noFill/>
                </a:ln>
                <a:solidFill>
                  <a:srgbClr val="C10077"/>
                </a:solidFill>
                <a:effectLst/>
                <a:uLnTx/>
                <a:uFillTx/>
                <a:latin typeface="Poppins"/>
                <a:ea typeface="+mn-ea"/>
                <a:cs typeface="+mn-cs"/>
              </a:endParaRPr>
            </a:p>
          </p:txBody>
        </p:sp>
        <p:sp>
          <p:nvSpPr>
            <p:cNvPr id="31" name="TextBox 30">
              <a:extLst>
                <a:ext uri="{FF2B5EF4-FFF2-40B4-BE49-F238E27FC236}">
                  <a16:creationId xmlns:a16="http://schemas.microsoft.com/office/drawing/2014/main" id="{D7BD6B40-F70B-FEC6-4284-4E0A741FDE9C}"/>
                </a:ext>
              </a:extLst>
            </p:cNvPr>
            <p:cNvSpPr txBox="1"/>
            <p:nvPr/>
          </p:nvSpPr>
          <p:spPr>
            <a:xfrm>
              <a:off x="1706220" y="5696208"/>
              <a:ext cx="3267914" cy="649966"/>
            </a:xfrm>
            <a:prstGeom prst="rect">
              <a:avLst/>
            </a:prstGeom>
            <a:noFill/>
          </p:spPr>
          <p:txBody>
            <a:bodyPr wrap="square">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prstClr val="black"/>
                  </a:solidFill>
                  <a:effectLst/>
                  <a:uLnTx/>
                  <a:uFillTx/>
                  <a:latin typeface="Poppins"/>
                  <a:ea typeface="+mn-ea"/>
                  <a:cs typeface="+mn-cs"/>
                </a:rPr>
                <a:t>Countries without FCV settings (n=169)</a:t>
              </a:r>
              <a:endParaRPr kumimoji="0" lang="en-CH" sz="1940" b="1" i="0" u="none" strike="noStrike" kern="0" cap="none" spc="0" normalizeH="0" baseline="0" noProof="0">
                <a:ln>
                  <a:noFill/>
                </a:ln>
                <a:solidFill>
                  <a:prstClr val="black"/>
                </a:solidFill>
                <a:effectLst/>
                <a:uLnTx/>
                <a:uFillTx/>
                <a:latin typeface="Poppins"/>
                <a:ea typeface="+mn-ea"/>
                <a:cs typeface="+mn-cs"/>
              </a:endParaRPr>
            </a:p>
          </p:txBody>
        </p:sp>
        <p:sp>
          <p:nvSpPr>
            <p:cNvPr id="32" name="TextBox 31">
              <a:extLst>
                <a:ext uri="{FF2B5EF4-FFF2-40B4-BE49-F238E27FC236}">
                  <a16:creationId xmlns:a16="http://schemas.microsoft.com/office/drawing/2014/main" id="{A7F0357F-2867-2225-9E35-0A5DCA65BB01}"/>
                </a:ext>
              </a:extLst>
            </p:cNvPr>
            <p:cNvSpPr txBox="1"/>
            <p:nvPr/>
          </p:nvSpPr>
          <p:spPr>
            <a:xfrm>
              <a:off x="-1847139" y="5710274"/>
              <a:ext cx="3267914" cy="649966"/>
            </a:xfrm>
            <a:prstGeom prst="rect">
              <a:avLst/>
            </a:prstGeom>
            <a:noFill/>
          </p:spPr>
          <p:txBody>
            <a:bodyPr wrap="square">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prstClr val="black"/>
                  </a:solidFill>
                  <a:effectLst/>
                  <a:uLnTx/>
                  <a:uFillTx/>
                  <a:latin typeface="Poppins"/>
                  <a:ea typeface="+mn-ea"/>
                  <a:cs typeface="+mn-cs"/>
                </a:rPr>
                <a:t>Countries with FCV settings (n=26)</a:t>
              </a:r>
              <a:endParaRPr kumimoji="0" lang="en-CH" sz="1940" b="1" i="0" u="none" strike="noStrike" kern="0" cap="none" spc="0" normalizeH="0" baseline="0" noProof="0">
                <a:ln>
                  <a:noFill/>
                </a:ln>
                <a:solidFill>
                  <a:prstClr val="black"/>
                </a:solidFill>
                <a:effectLst/>
                <a:uLnTx/>
                <a:uFillTx/>
                <a:latin typeface="Poppins"/>
                <a:ea typeface="+mn-ea"/>
                <a:cs typeface="+mn-cs"/>
              </a:endParaRPr>
            </a:p>
          </p:txBody>
        </p:sp>
      </p:grpSp>
      <p:pic>
        <p:nvPicPr>
          <p:cNvPr id="2" name="Graphic 1">
            <a:extLst>
              <a:ext uri="{FF2B5EF4-FFF2-40B4-BE49-F238E27FC236}">
                <a16:creationId xmlns:a16="http://schemas.microsoft.com/office/drawing/2014/main" id="{96E5E19B-8684-F458-4A57-A28FB8A39444}"/>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1699"/>
          <a:stretch/>
        </p:blipFill>
        <p:spPr>
          <a:xfrm>
            <a:off x="11343276" y="110032"/>
            <a:ext cx="636511" cy="710972"/>
          </a:xfrm>
          <a:prstGeom prst="rect">
            <a:avLst/>
          </a:prstGeom>
        </p:spPr>
      </p:pic>
    </p:spTree>
    <p:extLst>
      <p:ext uri="{BB962C8B-B14F-4D97-AF65-F5344CB8AC3E}">
        <p14:creationId xmlns:p14="http://schemas.microsoft.com/office/powerpoint/2010/main" val="10301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834E92-01E2-25D9-E09D-75B6363D6853}"/>
              </a:ext>
            </a:extLst>
          </p:cNvPr>
          <p:cNvSpPr>
            <a:spLocks noGrp="1"/>
          </p:cNvSpPr>
          <p:nvPr>
            <p:ph type="sldNum" sz="quarter" idx="12"/>
          </p:nvPr>
        </p:nvSpPr>
        <p:spPr/>
        <p:txBody>
          <a:bodyPr/>
          <a:lstStyle/>
          <a:p>
            <a:pPr marL="0" marR="0" lvl="0" indent="0" algn="r" defTabSz="554466"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pPr marL="0" marR="0" lvl="0" indent="0" algn="r" defTabSz="554466" rtl="0" eaLnBrk="1" fontAlgn="auto" latinLnBrk="0" hangingPunct="1">
                <a:lnSpc>
                  <a:spcPct val="100000"/>
                </a:lnSpc>
                <a:spcBef>
                  <a:spcPts val="0"/>
                </a:spcBef>
                <a:spcAft>
                  <a:spcPts val="0"/>
                </a:spcAft>
                <a:buClrTx/>
                <a:buSzTx/>
                <a:buFontTx/>
                <a:buNone/>
                <a:tabLst/>
                <a:defRPr/>
              </a:pPr>
              <a:t>9</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C67B94D0-156F-25E1-746E-8AF03F7CA5C4}"/>
              </a:ext>
            </a:extLst>
          </p:cNvPr>
          <p:cNvSpPr>
            <a:spLocks noGrp="1"/>
          </p:cNvSpPr>
          <p:nvPr>
            <p:ph type="title"/>
          </p:nvPr>
        </p:nvSpPr>
        <p:spPr>
          <a:xfrm>
            <a:off x="351113" y="171876"/>
            <a:ext cx="11239691" cy="1343829"/>
          </a:xfrm>
        </p:spPr>
        <p:txBody>
          <a:bodyPr/>
          <a:lstStyle/>
          <a:p>
            <a:pPr>
              <a:spcBef>
                <a:spcPts val="728"/>
              </a:spcBef>
              <a:spcAft>
                <a:spcPts val="728"/>
              </a:spcAft>
            </a:pPr>
            <a:r>
              <a:rPr lang="en-US"/>
              <a:t>Promoting country ownership in decision-making to </a:t>
            </a:r>
            <a:r>
              <a:rPr lang="fr-CH"/>
              <a:t>maximise </a:t>
            </a:r>
            <a:r>
              <a:rPr lang="fr-CH" err="1"/>
              <a:t>health</a:t>
            </a:r>
            <a:r>
              <a:rPr lang="fr-CH"/>
              <a:t> impact, </a:t>
            </a:r>
            <a:r>
              <a:rPr lang="fr-CH" err="1"/>
              <a:t>within</a:t>
            </a:r>
            <a:r>
              <a:rPr lang="fr-CH"/>
              <a:t> </a:t>
            </a:r>
            <a:r>
              <a:rPr lang="fr-CH" err="1"/>
              <a:t>available</a:t>
            </a:r>
            <a:r>
              <a:rPr lang="fr-CH"/>
              <a:t> </a:t>
            </a:r>
            <a:r>
              <a:rPr lang="fr-CH" err="1"/>
              <a:t>resources</a:t>
            </a:r>
            <a:br>
              <a:rPr lang="en-US">
                <a:latin typeface="Poppins SemiBold" panose="00000700000000000000" pitchFamily="2" charset="0"/>
                <a:cs typeface="Poppins SemiBold" panose="00000700000000000000" pitchFamily="2" charset="0"/>
              </a:rPr>
            </a:br>
            <a:endParaRPr lang="en-US"/>
          </a:p>
        </p:txBody>
      </p:sp>
      <p:sp>
        <p:nvSpPr>
          <p:cNvPr id="31" name="Rectangle 30">
            <a:extLst>
              <a:ext uri="{FF2B5EF4-FFF2-40B4-BE49-F238E27FC236}">
                <a16:creationId xmlns:a16="http://schemas.microsoft.com/office/drawing/2014/main" id="{6A93D890-076B-46BF-3D19-E162BB5BBEDA}"/>
              </a:ext>
            </a:extLst>
          </p:cNvPr>
          <p:cNvSpPr/>
          <p:nvPr/>
        </p:nvSpPr>
        <p:spPr>
          <a:xfrm>
            <a:off x="228410" y="2937538"/>
            <a:ext cx="11816877" cy="64260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fr-CH" sz="2183" b="0"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endParaRPr>
          </a:p>
          <a:p>
            <a:pPr marL="0" marR="0" lvl="0" indent="0" algn="ctr" defTabSz="554466" rtl="0" eaLnBrk="1" fontAlgn="auto" latinLnBrk="0" hangingPunct="1">
              <a:lnSpc>
                <a:spcPct val="100000"/>
              </a:lnSpc>
              <a:spcBef>
                <a:spcPts val="0"/>
              </a:spcBef>
              <a:spcAft>
                <a:spcPts val="0"/>
              </a:spcAft>
              <a:buClrTx/>
              <a:buSzTx/>
              <a:buFontTx/>
              <a:buNone/>
              <a:tabLst/>
              <a:defRPr/>
            </a:pPr>
            <a:r>
              <a:rPr kumimoji="0" lang="fr-CH" sz="2183" b="1" i="0" u="none" strike="noStrike" kern="1200" cap="none" spc="0" normalizeH="0" baseline="0" noProof="0" err="1">
                <a:ln>
                  <a:noFill/>
                </a:ln>
                <a:solidFill>
                  <a:srgbClr val="000000"/>
                </a:solidFill>
                <a:effectLst/>
                <a:uLnTx/>
                <a:uFillTx/>
                <a:latin typeface="Poppins SemiBold" panose="00000700000000000000" pitchFamily="2" charset="0"/>
                <a:ea typeface="+mn-ea"/>
                <a:cs typeface="Poppins SemiBold" panose="00000700000000000000" pitchFamily="2" charset="0"/>
              </a:rPr>
              <a:t>Shifting</a:t>
            </a:r>
            <a:r>
              <a:rPr kumimoji="0" lang="fr-CH" sz="2183"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rPr>
              <a:t> </a:t>
            </a:r>
            <a:r>
              <a:rPr kumimoji="0" lang="fr-CH" sz="2183" b="1" i="0" u="none" strike="noStrike" kern="1200" cap="none" spc="0" normalizeH="0" baseline="0" noProof="0" err="1">
                <a:ln>
                  <a:noFill/>
                </a:ln>
                <a:solidFill>
                  <a:srgbClr val="000000"/>
                </a:solidFill>
                <a:effectLst/>
                <a:uLnTx/>
                <a:uFillTx/>
                <a:latin typeface="Poppins SemiBold" panose="00000700000000000000" pitchFamily="2" charset="0"/>
                <a:ea typeface="+mn-ea"/>
                <a:cs typeface="Poppins SemiBold" panose="00000700000000000000" pitchFamily="2" charset="0"/>
              </a:rPr>
              <a:t>towards</a:t>
            </a:r>
            <a:r>
              <a:rPr kumimoji="0" lang="fr-CH" sz="2183"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rPr>
              <a:t> a </a:t>
            </a:r>
            <a:r>
              <a:rPr kumimoji="0" lang="fr-CH" sz="2183" b="0" i="0" u="none" strike="noStrike" kern="1200" cap="none" spc="0" normalizeH="0" baseline="0" noProof="0" err="1">
                <a:ln>
                  <a:noFill/>
                </a:ln>
                <a:solidFill>
                  <a:srgbClr val="000000"/>
                </a:solidFill>
                <a:effectLst/>
                <a:uLnTx/>
                <a:uFillTx/>
                <a:latin typeface="Poppins SemiBold" panose="00000700000000000000" pitchFamily="2" charset="0"/>
                <a:ea typeface="+mn-ea"/>
                <a:cs typeface="Poppins SemiBold" panose="00000700000000000000" pitchFamily="2" charset="0"/>
              </a:rPr>
              <a:t>systematic</a:t>
            </a:r>
            <a:r>
              <a:rPr kumimoji="0" lang="fr-CH" sz="2183" b="0"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rPr>
              <a:t>, portfolio </a:t>
            </a:r>
            <a:r>
              <a:rPr kumimoji="0" lang="fr-CH" sz="2183" b="0" i="0" u="none" strike="noStrike" kern="1200" cap="none" spc="0" normalizeH="0" baseline="0" noProof="0" err="1">
                <a:ln>
                  <a:noFill/>
                </a:ln>
                <a:solidFill>
                  <a:srgbClr val="000000"/>
                </a:solidFill>
                <a:effectLst/>
                <a:uLnTx/>
                <a:uFillTx/>
                <a:latin typeface="Poppins SemiBold" panose="00000700000000000000" pitchFamily="2" charset="0"/>
                <a:ea typeface="+mn-ea"/>
                <a:cs typeface="Poppins SemiBold" panose="00000700000000000000" pitchFamily="2" charset="0"/>
              </a:rPr>
              <a:t>lens</a:t>
            </a:r>
            <a:r>
              <a:rPr kumimoji="0" lang="fr-CH" sz="2183" b="0"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rPr>
              <a:t>, </a:t>
            </a:r>
            <a:r>
              <a:rPr kumimoji="0" lang="fr-CH" sz="2183"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rPr>
              <a:t>process </a:t>
            </a:r>
            <a:r>
              <a:rPr kumimoji="0" lang="fr-CH" sz="2183" b="1" i="0" u="none" strike="noStrike" kern="1200" cap="none" spc="0" normalizeH="0" baseline="0" noProof="0" err="1">
                <a:ln>
                  <a:noFill/>
                </a:ln>
                <a:solidFill>
                  <a:srgbClr val="000000"/>
                </a:solidFill>
                <a:effectLst/>
                <a:uLnTx/>
                <a:uFillTx/>
                <a:latin typeface="Poppins SemiBold" panose="00000700000000000000" pitchFamily="2" charset="0"/>
                <a:ea typeface="+mn-ea"/>
                <a:cs typeface="Poppins SemiBold" panose="00000700000000000000" pitchFamily="2" charset="0"/>
              </a:rPr>
              <a:t>led</a:t>
            </a:r>
            <a:r>
              <a:rPr kumimoji="0" lang="fr-CH" sz="2183"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rPr>
              <a:t> by national stakeholders </a:t>
            </a:r>
            <a:endParaRPr kumimoji="0" lang="en-US" sz="2183"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endParaRPr>
          </a:p>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en-US" sz="2183" b="0"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endParaRPr>
          </a:p>
        </p:txBody>
      </p:sp>
      <p:grpSp>
        <p:nvGrpSpPr>
          <p:cNvPr id="14" name="Group 13">
            <a:extLst>
              <a:ext uri="{FF2B5EF4-FFF2-40B4-BE49-F238E27FC236}">
                <a16:creationId xmlns:a16="http://schemas.microsoft.com/office/drawing/2014/main" id="{82F0F391-0AC8-71AE-763E-5A80C4CCCBED}"/>
              </a:ext>
            </a:extLst>
          </p:cNvPr>
          <p:cNvGrpSpPr/>
          <p:nvPr/>
        </p:nvGrpSpPr>
        <p:grpSpPr>
          <a:xfrm>
            <a:off x="1024960" y="1588140"/>
            <a:ext cx="10142082" cy="1330690"/>
            <a:chOff x="1647451" y="2618746"/>
            <a:chExt cx="16726217" cy="2194560"/>
          </a:xfrm>
        </p:grpSpPr>
        <p:sp>
          <p:nvSpPr>
            <p:cNvPr id="18" name="Rectangle: Rounded Corners 17">
              <a:extLst>
                <a:ext uri="{FF2B5EF4-FFF2-40B4-BE49-F238E27FC236}">
                  <a16:creationId xmlns:a16="http://schemas.microsoft.com/office/drawing/2014/main" id="{42C277CE-571B-646D-344A-12F158B6021E}"/>
                </a:ext>
              </a:extLst>
            </p:cNvPr>
            <p:cNvSpPr/>
            <p:nvPr/>
          </p:nvSpPr>
          <p:spPr>
            <a:xfrm>
              <a:off x="1647451" y="2618746"/>
              <a:ext cx="6061166" cy="2194560"/>
            </a:xfrm>
            <a:prstGeom prst="roundRect">
              <a:avLst/>
            </a:prstGeom>
            <a:ln w="57150">
              <a:solidFill>
                <a:srgbClr val="00785A"/>
              </a:solidFill>
            </a:ln>
          </p:spPr>
          <p:style>
            <a:lnRef idx="2">
              <a:schemeClr val="accent5"/>
            </a:lnRef>
            <a:fillRef idx="1">
              <a:schemeClr val="lt1"/>
            </a:fillRef>
            <a:effectRef idx="0">
              <a:schemeClr val="accent5"/>
            </a:effectRef>
            <a:fontRef idx="minor">
              <a:schemeClr val="dk1"/>
            </a:fontRef>
          </p:style>
          <p:txBody>
            <a:bodyPr rtlCol="0" anchor="ctr"/>
            <a:lstStyle/>
            <a:p>
              <a:pPr marL="273024" marR="0" lvl="0" indent="0" algn="ctr" defTabSz="554466" rtl="0" eaLnBrk="1" fontAlgn="auto" latinLnBrk="0" hangingPunct="1">
                <a:lnSpc>
                  <a:spcPct val="100000"/>
                </a:lnSpc>
                <a:spcBef>
                  <a:spcPts val="0"/>
                </a:spcBef>
                <a:spcAft>
                  <a:spcPts val="0"/>
                </a:spcAft>
                <a:buClrTx/>
                <a:buSzTx/>
                <a:buFontTx/>
                <a:buNone/>
                <a:tabLst/>
                <a:defRPr/>
              </a:pPr>
              <a:r>
                <a:rPr kumimoji="0" lang="en-GB" sz="1698" b="1" i="0" u="none" strike="noStrike" kern="1200" cap="none" spc="0" normalizeH="0" baseline="0" noProof="0">
                  <a:ln>
                    <a:noFill/>
                  </a:ln>
                  <a:solidFill>
                    <a:srgbClr val="000000"/>
                  </a:solidFill>
                  <a:effectLst/>
                  <a:uLnTx/>
                  <a:uFillTx/>
                  <a:latin typeface="Poppins"/>
                  <a:ea typeface="+mn-ea"/>
                  <a:cs typeface="+mn-cs"/>
                  <a:sym typeface="Wingdings" panose="05000000000000000000" pitchFamily="2" charset="2"/>
                </a:rPr>
                <a:t></a:t>
              </a:r>
              <a:r>
                <a:rPr kumimoji="0" lang="en-GB" sz="1698" b="1" i="0" u="none" strike="noStrike" kern="1200" cap="none" spc="0" normalizeH="0" baseline="0" noProof="0">
                  <a:ln>
                    <a:noFill/>
                  </a:ln>
                  <a:solidFill>
                    <a:srgbClr val="00785A"/>
                  </a:solidFill>
                  <a:effectLst/>
                  <a:uLnTx/>
                  <a:uFillTx/>
                  <a:latin typeface="Poppins"/>
                  <a:ea typeface="+mn-ea"/>
                  <a:cs typeface="+mn-cs"/>
                  <a:sym typeface="Wingdings" panose="05000000000000000000" pitchFamily="2" charset="2"/>
                </a:rPr>
                <a:t> </a:t>
              </a:r>
              <a:r>
                <a:rPr kumimoji="0" lang="en-GB" sz="1698" b="0" i="0" u="none" strike="noStrike" kern="1200" cap="none" spc="0" normalizeH="0" baseline="0" noProof="0">
                  <a:ln>
                    <a:noFill/>
                  </a:ln>
                  <a:solidFill>
                    <a:srgbClr val="000000">
                      <a:lumMod val="85000"/>
                      <a:lumOff val="15000"/>
                    </a:srgbClr>
                  </a:solidFill>
                  <a:effectLst/>
                  <a:uLnTx/>
                  <a:uFillTx/>
                  <a:latin typeface="Poppins SemiBold" panose="00000700000000000000" pitchFamily="2" charset="0"/>
                  <a:ea typeface="+mn-ea"/>
                  <a:cs typeface="Poppins SemiBold" panose="00000700000000000000" pitchFamily="2" charset="0"/>
                  <a:sym typeface="Wingdings" panose="05000000000000000000" pitchFamily="2" charset="2"/>
                </a:rPr>
                <a:t>Maximize the present</a:t>
              </a:r>
              <a:endParaRPr kumimoji="0" lang="en-GB" sz="1698" b="0" i="1" u="none" strike="noStrike" kern="1200" cap="none" spc="0" normalizeH="0" baseline="0" noProof="0">
                <a:ln>
                  <a:noFill/>
                </a:ln>
                <a:solidFill>
                  <a:prstClr val="black"/>
                </a:solidFill>
                <a:effectLst/>
                <a:uLnTx/>
                <a:uFillTx/>
                <a:latin typeface="Poppins SemiBold" panose="00000700000000000000" pitchFamily="2" charset="0"/>
                <a:ea typeface="+mn-ea"/>
                <a:cs typeface="Poppins SemiBold" panose="00000700000000000000" pitchFamily="2" charset="0"/>
              </a:endParaRPr>
            </a:p>
            <a:p>
              <a:pPr marL="273024" marR="0" lvl="0" indent="0" algn="ctr" defTabSz="554466" rtl="0" eaLnBrk="1" fontAlgn="auto" latinLnBrk="0" hangingPunct="1">
                <a:lnSpc>
                  <a:spcPct val="100000"/>
                </a:lnSpc>
                <a:spcBef>
                  <a:spcPts val="0"/>
                </a:spcBef>
                <a:spcAft>
                  <a:spcPts val="0"/>
                </a:spcAft>
                <a:buClrTx/>
                <a:buSzTx/>
                <a:buFontTx/>
                <a:buNone/>
                <a:tabLst/>
                <a:defRPr/>
              </a:pPr>
              <a:endParaRPr kumimoji="0" lang="en-GB" sz="1698" b="1" i="0" u="none" strike="noStrike" kern="1200" cap="none" spc="0" normalizeH="0" baseline="0" noProof="0">
                <a:ln>
                  <a:noFill/>
                </a:ln>
                <a:solidFill>
                  <a:prstClr val="black"/>
                </a:solidFill>
                <a:effectLst/>
                <a:uLnTx/>
                <a:uFillTx/>
                <a:latin typeface="Poppins"/>
                <a:ea typeface="+mn-ea"/>
                <a:cs typeface="+mn-cs"/>
              </a:endParaRPr>
            </a:p>
            <a:p>
              <a:pPr marL="273024" marR="0" lvl="0" indent="0" algn="ctr" defTabSz="554466" rtl="0" eaLnBrk="1" fontAlgn="auto" latinLnBrk="0" hangingPunct="1">
                <a:lnSpc>
                  <a:spcPct val="100000"/>
                </a:lnSpc>
                <a:spcBef>
                  <a:spcPts val="0"/>
                </a:spcBef>
                <a:spcAft>
                  <a:spcPts val="0"/>
                </a:spcAft>
                <a:buClrTx/>
                <a:buSzTx/>
                <a:buFontTx/>
                <a:buNone/>
                <a:tabLst/>
                <a:defRPr/>
              </a:pPr>
              <a:r>
                <a:rPr kumimoji="0" lang="en-GB" sz="1698" b="1" i="0" u="none" strike="noStrike" kern="1200" cap="none" spc="0" normalizeH="0" baseline="0" noProof="0">
                  <a:ln>
                    <a:noFill/>
                  </a:ln>
                  <a:solidFill>
                    <a:prstClr val="black"/>
                  </a:solidFill>
                  <a:effectLst/>
                  <a:uLnTx/>
                  <a:uFillTx/>
                  <a:latin typeface="Poppins"/>
                  <a:ea typeface="+mn-ea"/>
                  <a:cs typeface="+mn-cs"/>
                </a:rPr>
                <a:t>Vaccine Optimisation </a:t>
              </a:r>
            </a:p>
            <a:p>
              <a:pPr marL="273024" marR="0" lvl="0" indent="0" algn="ctr" defTabSz="554466" rtl="0" eaLnBrk="1" fontAlgn="auto" latinLnBrk="0" hangingPunct="1">
                <a:lnSpc>
                  <a:spcPct val="100000"/>
                </a:lnSpc>
                <a:spcBef>
                  <a:spcPts val="0"/>
                </a:spcBef>
                <a:spcAft>
                  <a:spcPts val="0"/>
                </a:spcAft>
                <a:buClrTx/>
                <a:buSzTx/>
                <a:buFontTx/>
                <a:buNone/>
                <a:tabLst/>
                <a:defRPr/>
              </a:pPr>
              <a:r>
                <a:rPr kumimoji="0" lang="en-GB" sz="1092" b="0" i="0" u="none" strike="noStrike" kern="1200" cap="none" spc="0" normalizeH="0" baseline="0" noProof="0">
                  <a:ln>
                    <a:noFill/>
                  </a:ln>
                  <a:solidFill>
                    <a:prstClr val="black"/>
                  </a:solidFill>
                  <a:effectLst/>
                  <a:uLnTx/>
                  <a:uFillTx/>
                  <a:latin typeface="Poppins"/>
                  <a:ea typeface="Calibri"/>
                  <a:cs typeface="Calibri"/>
                </a:rPr>
                <a:t>Assessing new products, presentations, schedules, or uses and switch to more suitable ones based on countries contexts </a:t>
              </a:r>
            </a:p>
          </p:txBody>
        </p:sp>
        <p:sp>
          <p:nvSpPr>
            <p:cNvPr id="19" name="Rectangle: Rounded Corners 18">
              <a:extLst>
                <a:ext uri="{FF2B5EF4-FFF2-40B4-BE49-F238E27FC236}">
                  <a16:creationId xmlns:a16="http://schemas.microsoft.com/office/drawing/2014/main" id="{DFEFDC7C-5383-706F-6F4F-7630A0956715}"/>
                </a:ext>
              </a:extLst>
            </p:cNvPr>
            <p:cNvSpPr/>
            <p:nvPr/>
          </p:nvSpPr>
          <p:spPr>
            <a:xfrm>
              <a:off x="11994223" y="2618746"/>
              <a:ext cx="6379445" cy="2187089"/>
            </a:xfrm>
            <a:prstGeom prst="roundRect">
              <a:avLst/>
            </a:prstGeom>
            <a:solidFill>
              <a:schemeClr val="bg1"/>
            </a:solidFill>
            <a:ln w="38100">
              <a:solidFill>
                <a:srgbClr val="00C8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1842" marR="0" lvl="0" indent="-277233" algn="ctr" defTabSz="554466"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GB" sz="1698" b="0" i="0" u="none" strike="noStrike" kern="1200" cap="none" spc="0" normalizeH="0" baseline="0" noProof="0">
                  <a:ln>
                    <a:noFill/>
                  </a:ln>
                  <a:solidFill>
                    <a:srgbClr val="000000">
                      <a:lumMod val="85000"/>
                      <a:lumOff val="15000"/>
                    </a:srgbClr>
                  </a:solidFill>
                  <a:effectLst/>
                  <a:uLnTx/>
                  <a:uFillTx/>
                  <a:latin typeface="Poppins SemiBold" panose="00000700000000000000" pitchFamily="2" charset="0"/>
                  <a:ea typeface="+mn-ea"/>
                  <a:cs typeface="Poppins SemiBold" panose="00000700000000000000" pitchFamily="2" charset="0"/>
                  <a:sym typeface="Wingdings" panose="05000000000000000000" pitchFamily="2" charset="2"/>
                </a:rPr>
                <a:t>Anticipate the future</a:t>
              </a:r>
            </a:p>
            <a:p>
              <a:pPr marL="174609" marR="0" lvl="0" indent="0" algn="ctr" defTabSz="554466" rtl="0" eaLnBrk="1" fontAlgn="auto" latinLnBrk="0" hangingPunct="1">
                <a:lnSpc>
                  <a:spcPct val="100000"/>
                </a:lnSpc>
                <a:spcBef>
                  <a:spcPts val="0"/>
                </a:spcBef>
                <a:spcAft>
                  <a:spcPts val="0"/>
                </a:spcAft>
                <a:buClrTx/>
                <a:buSzTx/>
                <a:buFontTx/>
                <a:buNone/>
                <a:tabLst/>
                <a:defRPr/>
              </a:pPr>
              <a:endParaRPr kumimoji="0" lang="en-GB" sz="1698" b="1" i="0" u="none" strike="noStrike" kern="1200" cap="none" spc="0" normalizeH="0" baseline="0" noProof="0">
                <a:ln>
                  <a:noFill/>
                </a:ln>
                <a:solidFill>
                  <a:prstClr val="black"/>
                </a:solidFill>
                <a:effectLst/>
                <a:uLnTx/>
                <a:uFillTx/>
                <a:latin typeface="Poppins"/>
                <a:ea typeface="+mn-ea"/>
                <a:cs typeface="+mn-cs"/>
              </a:endParaRPr>
            </a:p>
            <a:p>
              <a:pPr marL="174609" marR="0" lvl="0" indent="0" algn="ctr" defTabSz="554466" rtl="0" eaLnBrk="1" fontAlgn="auto" latinLnBrk="0" hangingPunct="1">
                <a:lnSpc>
                  <a:spcPct val="100000"/>
                </a:lnSpc>
                <a:spcBef>
                  <a:spcPts val="0"/>
                </a:spcBef>
                <a:spcAft>
                  <a:spcPts val="0"/>
                </a:spcAft>
                <a:buClrTx/>
                <a:buSzTx/>
                <a:buFontTx/>
                <a:buNone/>
                <a:tabLst/>
                <a:defRPr/>
              </a:pPr>
              <a:r>
                <a:rPr kumimoji="0" lang="en-GB" sz="1698" b="1" i="0" u="none" strike="noStrike" kern="1200" cap="none" spc="0" normalizeH="0" baseline="0" noProof="0">
                  <a:ln>
                    <a:noFill/>
                  </a:ln>
                  <a:solidFill>
                    <a:prstClr val="black"/>
                  </a:solidFill>
                  <a:effectLst/>
                  <a:uLnTx/>
                  <a:uFillTx/>
                  <a:latin typeface="Poppins"/>
                  <a:ea typeface="+mn-ea"/>
                  <a:cs typeface="+mn-cs"/>
                </a:rPr>
                <a:t>Vaccine prioritisation: </a:t>
              </a:r>
            </a:p>
            <a:p>
              <a:pPr marL="174609" marR="0" lvl="0" indent="0" algn="ctr" defTabSz="554466" rtl="0" eaLnBrk="1" fontAlgn="auto" latinLnBrk="0" hangingPunct="1">
                <a:lnSpc>
                  <a:spcPct val="100000"/>
                </a:lnSpc>
                <a:spcBef>
                  <a:spcPts val="0"/>
                </a:spcBef>
                <a:spcAft>
                  <a:spcPts val="0"/>
                </a:spcAft>
                <a:buClrTx/>
                <a:buSzTx/>
                <a:buFontTx/>
                <a:buNone/>
                <a:tabLst/>
                <a:defRPr/>
              </a:pPr>
              <a:r>
                <a:rPr kumimoji="0" lang="en-GB" sz="1092" b="0" i="0" u="none" strike="noStrike" kern="1200" cap="none" spc="0" normalizeH="0" baseline="0" noProof="0">
                  <a:ln>
                    <a:noFill/>
                  </a:ln>
                  <a:solidFill>
                    <a:srgbClr val="000000">
                      <a:lumMod val="85000"/>
                      <a:lumOff val="15000"/>
                    </a:srgbClr>
                  </a:solidFill>
                  <a:effectLst/>
                  <a:uLnTx/>
                  <a:uFillTx/>
                  <a:latin typeface="Poppins"/>
                  <a:ea typeface="+mn-ea"/>
                  <a:cs typeface="+mn-cs"/>
                </a:rPr>
                <a:t>Deciding which new vaccine introductions programmes to invest in, when and in what order </a:t>
              </a:r>
              <a:endParaRPr kumimoji="0" lang="en-GB" sz="1092" b="0" i="0" u="none" strike="noStrike" kern="1200" cap="none" spc="0" normalizeH="0" baseline="0" noProof="0">
                <a:ln>
                  <a:noFill/>
                </a:ln>
                <a:solidFill>
                  <a:srgbClr val="000000">
                    <a:lumMod val="85000"/>
                    <a:lumOff val="15000"/>
                  </a:srgbClr>
                </a:solidFill>
                <a:effectLst/>
                <a:uLnTx/>
                <a:uFillTx/>
                <a:latin typeface="Poppins SemiBold" panose="00000700000000000000" pitchFamily="2" charset="0"/>
                <a:ea typeface="+mn-ea"/>
                <a:cs typeface="Poppins SemiBold" panose="00000700000000000000" pitchFamily="2" charset="0"/>
              </a:endParaRPr>
            </a:p>
          </p:txBody>
        </p:sp>
        <p:cxnSp>
          <p:nvCxnSpPr>
            <p:cNvPr id="27" name="Straight Arrow Connector 26">
              <a:extLst>
                <a:ext uri="{FF2B5EF4-FFF2-40B4-BE49-F238E27FC236}">
                  <a16:creationId xmlns:a16="http://schemas.microsoft.com/office/drawing/2014/main" id="{6EEBD4D7-EB1C-1C94-AFF7-4CE475A2A1EF}"/>
                </a:ext>
              </a:extLst>
            </p:cNvPr>
            <p:cNvCxnSpPr>
              <a:cxnSpLocks/>
            </p:cNvCxnSpPr>
            <p:nvPr/>
          </p:nvCxnSpPr>
          <p:spPr>
            <a:xfrm>
              <a:off x="8364822" y="3527110"/>
              <a:ext cx="2973197" cy="0"/>
            </a:xfrm>
            <a:prstGeom prst="straightConnector1">
              <a:avLst/>
            </a:prstGeom>
            <a:ln w="76200">
              <a:headEnd type="triangle"/>
              <a:tailEnd type="triangle"/>
            </a:ln>
          </p:spPr>
          <p:style>
            <a:lnRef idx="1">
              <a:schemeClr val="dk1"/>
            </a:lnRef>
            <a:fillRef idx="0">
              <a:schemeClr val="dk1"/>
            </a:fillRef>
            <a:effectRef idx="0">
              <a:schemeClr val="dk1"/>
            </a:effectRef>
            <a:fontRef idx="minor">
              <a:schemeClr val="tx1"/>
            </a:fontRef>
          </p:style>
        </p:cxnSp>
      </p:grpSp>
      <p:grpSp>
        <p:nvGrpSpPr>
          <p:cNvPr id="20" name="Group 19">
            <a:extLst>
              <a:ext uri="{FF2B5EF4-FFF2-40B4-BE49-F238E27FC236}">
                <a16:creationId xmlns:a16="http://schemas.microsoft.com/office/drawing/2014/main" id="{8BEE5903-81C5-D4D7-E869-27C7B69D972D}"/>
              </a:ext>
            </a:extLst>
          </p:cNvPr>
          <p:cNvGrpSpPr/>
          <p:nvPr/>
        </p:nvGrpSpPr>
        <p:grpSpPr>
          <a:xfrm>
            <a:off x="1409652" y="3510621"/>
            <a:ext cx="9372696" cy="2614510"/>
            <a:chOff x="2882897" y="5789285"/>
            <a:chExt cx="15457355" cy="4311822"/>
          </a:xfrm>
        </p:grpSpPr>
        <p:sp>
          <p:nvSpPr>
            <p:cNvPr id="8" name="Rectangle: Rounded Corners 7">
              <a:extLst>
                <a:ext uri="{FF2B5EF4-FFF2-40B4-BE49-F238E27FC236}">
                  <a16:creationId xmlns:a16="http://schemas.microsoft.com/office/drawing/2014/main" id="{3B78A954-EAFE-A6B6-2879-6F9FEF77039B}"/>
                </a:ext>
              </a:extLst>
            </p:cNvPr>
            <p:cNvSpPr/>
            <p:nvPr/>
          </p:nvSpPr>
          <p:spPr>
            <a:xfrm>
              <a:off x="13820506" y="6571468"/>
              <a:ext cx="4519746" cy="3529639"/>
            </a:xfrm>
            <a:prstGeom prst="roundRect">
              <a:avLst>
                <a:gd name="adj" fmla="val 8100"/>
              </a:avLst>
            </a:prstGeom>
            <a:ln w="38100">
              <a:solidFill>
                <a:schemeClr val="accent3"/>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554466" rtl="0" eaLnBrk="1" fontAlgn="auto" latinLnBrk="0" hangingPunct="1">
                <a:lnSpc>
                  <a:spcPct val="100000"/>
                </a:lnSpc>
                <a:spcBef>
                  <a:spcPts val="0"/>
                </a:spcBef>
                <a:spcAft>
                  <a:spcPts val="0"/>
                </a:spcAft>
                <a:buClrTx/>
                <a:buSzTx/>
                <a:buFontTx/>
                <a:buNone/>
                <a:tabLst/>
                <a:defRPr/>
              </a:pPr>
              <a:r>
                <a:rPr kumimoji="0" lang="fr-CH" sz="1940" b="0" i="0" u="none" strike="noStrike" kern="1200" cap="none" spc="0" normalizeH="0" baseline="0" noProof="0" err="1">
                  <a:ln>
                    <a:noFill/>
                  </a:ln>
                  <a:solidFill>
                    <a:srgbClr val="000000"/>
                  </a:solidFill>
                  <a:effectLst/>
                  <a:uLnTx/>
                  <a:uFillTx/>
                  <a:latin typeface="Poppins"/>
                  <a:ea typeface="+mn-ea"/>
                  <a:cs typeface="+mn-cs"/>
                </a:rPr>
                <a:t>Coordinated</a:t>
              </a:r>
              <a:r>
                <a:rPr kumimoji="0" lang="fr-CH" sz="1940" b="0" i="0" u="none" strike="noStrike" kern="1200" cap="none" spc="0" normalizeH="0" baseline="0" noProof="0">
                  <a:ln>
                    <a:noFill/>
                  </a:ln>
                  <a:solidFill>
                    <a:srgbClr val="000000"/>
                  </a:solidFill>
                  <a:effectLst/>
                  <a:uLnTx/>
                  <a:uFillTx/>
                  <a:latin typeface="Poppins"/>
                  <a:ea typeface="+mn-ea"/>
                  <a:cs typeface="+mn-cs"/>
                </a:rPr>
                <a:t> </a:t>
              </a:r>
              <a:r>
                <a:rPr kumimoji="0" lang="fr-CH" sz="1940" b="0" i="0" u="none" strike="noStrike" kern="1200" cap="none" spc="0" normalizeH="0" baseline="0" noProof="0" err="1">
                  <a:ln>
                    <a:noFill/>
                  </a:ln>
                  <a:solidFill>
                    <a:srgbClr val="000000"/>
                  </a:solidFill>
                  <a:effectLst/>
                  <a:uLnTx/>
                  <a:uFillTx/>
                  <a:latin typeface="Poppins SemiBold" panose="00000700000000000000" pitchFamily="2" charset="0"/>
                  <a:ea typeface="+mn-ea"/>
                  <a:cs typeface="Poppins SemiBold" panose="00000700000000000000" pitchFamily="2" charset="0"/>
                </a:rPr>
                <a:t>technical</a:t>
              </a:r>
              <a:r>
                <a:rPr kumimoji="0" lang="fr-CH" sz="1940" b="0"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rPr>
                <a:t> support</a:t>
              </a:r>
              <a:endParaRPr kumimoji="0" lang="en-US" sz="1940" b="0" i="0" u="none" strike="noStrike" kern="1200" cap="none" spc="0" normalizeH="0" baseline="0" noProof="0">
                <a:ln>
                  <a:noFill/>
                </a:ln>
                <a:solidFill>
                  <a:srgbClr val="000000"/>
                </a:solidFill>
                <a:effectLst/>
                <a:uLnTx/>
                <a:uFillTx/>
                <a:latin typeface="Poppins"/>
                <a:ea typeface="+mn-ea"/>
                <a:cs typeface="+mn-cs"/>
              </a:endParaRPr>
            </a:p>
          </p:txBody>
        </p:sp>
        <p:sp>
          <p:nvSpPr>
            <p:cNvPr id="4" name="Rectangle: Rounded Corners 3">
              <a:extLst>
                <a:ext uri="{FF2B5EF4-FFF2-40B4-BE49-F238E27FC236}">
                  <a16:creationId xmlns:a16="http://schemas.microsoft.com/office/drawing/2014/main" id="{BDF19979-B2A7-F1D0-9F7F-B804747ED345}"/>
                </a:ext>
              </a:extLst>
            </p:cNvPr>
            <p:cNvSpPr/>
            <p:nvPr/>
          </p:nvSpPr>
          <p:spPr>
            <a:xfrm>
              <a:off x="2882897" y="6571469"/>
              <a:ext cx="3932234" cy="3511782"/>
            </a:xfrm>
            <a:prstGeom prst="roundRect">
              <a:avLst>
                <a:gd name="adj" fmla="val 8100"/>
              </a:avLst>
            </a:prstGeom>
            <a:ln w="38100">
              <a:solidFill>
                <a:schemeClr val="accent3"/>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554466" rtl="0" eaLnBrk="1" fontAlgn="auto" latinLnBrk="0" hangingPunct="1">
                <a:lnSpc>
                  <a:spcPct val="100000"/>
                </a:lnSpc>
                <a:spcBef>
                  <a:spcPts val="0"/>
                </a:spcBef>
                <a:spcAft>
                  <a:spcPts val="0"/>
                </a:spcAft>
                <a:buClrTx/>
                <a:buSzTx/>
                <a:buFontTx/>
                <a:buNone/>
                <a:tabLst/>
                <a:defRPr/>
              </a:pPr>
              <a:r>
                <a:rPr kumimoji="0" lang="fr-CH" sz="1940" b="1" i="0" u="none" strike="noStrike" kern="1200" cap="none" spc="0" normalizeH="0" baseline="0" noProof="0" err="1">
                  <a:ln>
                    <a:noFill/>
                  </a:ln>
                  <a:solidFill>
                    <a:srgbClr val="000000"/>
                  </a:solidFill>
                  <a:effectLst/>
                  <a:uLnTx/>
                  <a:uFillTx/>
                  <a:latin typeface="Poppins SemiBold" panose="00000700000000000000" pitchFamily="2" charset="0"/>
                  <a:ea typeface="+mn-ea"/>
                  <a:cs typeface="Poppins SemiBold" panose="00000700000000000000" pitchFamily="2" charset="0"/>
                </a:rPr>
                <a:t>NITAGs</a:t>
              </a:r>
              <a:r>
                <a:rPr kumimoji="0" lang="fr-CH" sz="1940"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rPr>
                <a:t> </a:t>
              </a:r>
              <a:r>
                <a:rPr kumimoji="0" lang="fr-CH" sz="1940" b="1" i="0" u="none" strike="noStrike" kern="1200" cap="none" spc="0" normalizeH="0" baseline="0" noProof="0" err="1">
                  <a:ln>
                    <a:noFill/>
                  </a:ln>
                  <a:solidFill>
                    <a:srgbClr val="000000"/>
                  </a:solidFill>
                  <a:effectLst/>
                  <a:uLnTx/>
                  <a:uFillTx/>
                  <a:latin typeface="Poppins SemiBold" panose="00000700000000000000" pitchFamily="2" charset="0"/>
                  <a:ea typeface="+mn-ea"/>
                  <a:cs typeface="Poppins SemiBold" panose="00000700000000000000" pitchFamily="2" charset="0"/>
                </a:rPr>
                <a:t>strenghtening</a:t>
              </a:r>
              <a:endParaRPr kumimoji="0" lang="fr-CH" sz="1940"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endParaRPr>
            </a:p>
            <a:p>
              <a:pPr marL="0" marR="0" lvl="0" indent="0" algn="ctr" defTabSz="554466" rtl="0" eaLnBrk="1" fontAlgn="auto" latinLnBrk="0" hangingPunct="1">
                <a:lnSpc>
                  <a:spcPct val="100000"/>
                </a:lnSpc>
                <a:spcBef>
                  <a:spcPts val="0"/>
                </a:spcBef>
                <a:spcAft>
                  <a:spcPts val="0"/>
                </a:spcAft>
                <a:buClrTx/>
                <a:buSzTx/>
                <a:buFontTx/>
                <a:buNone/>
                <a:tabLst/>
                <a:defRPr/>
              </a:pPr>
              <a:endParaRPr kumimoji="0" lang="fr-CH" sz="1940" b="1" i="0" u="none" strike="noStrike" kern="1200" cap="none" spc="0" normalizeH="0" baseline="0" noProof="0">
                <a:ln>
                  <a:noFill/>
                </a:ln>
                <a:solidFill>
                  <a:srgbClr val="000000"/>
                </a:solidFill>
                <a:effectLst/>
                <a:uLnTx/>
                <a:uFillTx/>
                <a:latin typeface="Poppins"/>
                <a:ea typeface="+mn-ea"/>
                <a:cs typeface="+mn-cs"/>
              </a:endParaRPr>
            </a:p>
            <a:p>
              <a:pPr marL="0" marR="0" lvl="0" indent="0" algn="ctr" defTabSz="554466" rtl="0" eaLnBrk="1" fontAlgn="auto" latinLnBrk="0" hangingPunct="1">
                <a:lnSpc>
                  <a:spcPct val="100000"/>
                </a:lnSpc>
                <a:spcBef>
                  <a:spcPts val="0"/>
                </a:spcBef>
                <a:spcAft>
                  <a:spcPts val="0"/>
                </a:spcAft>
                <a:buClrTx/>
                <a:buSzTx/>
                <a:buFontTx/>
                <a:buNone/>
                <a:tabLst/>
                <a:defRPr/>
              </a:pPr>
              <a:r>
                <a:rPr kumimoji="0" lang="fr-CH" sz="1940" b="0" i="0" u="none" strike="noStrike" kern="1200" cap="none" spc="0" normalizeH="0" baseline="0" noProof="0">
                  <a:ln>
                    <a:noFill/>
                  </a:ln>
                  <a:solidFill>
                    <a:srgbClr val="000000"/>
                  </a:solidFill>
                  <a:effectLst/>
                  <a:uLnTx/>
                  <a:uFillTx/>
                  <a:latin typeface="Poppins"/>
                  <a:ea typeface="+mn-ea"/>
                  <a:cs typeface="+mn-cs"/>
                </a:rPr>
                <a:t>Linkages </a:t>
              </a:r>
              <a:r>
                <a:rPr kumimoji="0" lang="fr-CH" sz="1940" b="0" i="0" u="none" strike="noStrike" kern="1200" cap="none" spc="0" normalizeH="0" baseline="0" noProof="0" err="1">
                  <a:ln>
                    <a:noFill/>
                  </a:ln>
                  <a:solidFill>
                    <a:srgbClr val="000000"/>
                  </a:solidFill>
                  <a:effectLst/>
                  <a:uLnTx/>
                  <a:uFillTx/>
                  <a:latin typeface="Poppins"/>
                  <a:ea typeface="+mn-ea"/>
                  <a:cs typeface="+mn-cs"/>
                </a:rPr>
                <a:t>with</a:t>
              </a:r>
              <a:r>
                <a:rPr kumimoji="0" lang="fr-CH" sz="1940" b="0" i="0" u="none" strike="noStrike" kern="1200" cap="none" spc="0" normalizeH="0" baseline="0" noProof="0">
                  <a:ln>
                    <a:noFill/>
                  </a:ln>
                  <a:solidFill>
                    <a:srgbClr val="000000"/>
                  </a:solidFill>
                  <a:effectLst/>
                  <a:uLnTx/>
                  <a:uFillTx/>
                  <a:latin typeface="Poppins"/>
                  <a:ea typeface="+mn-ea"/>
                  <a:cs typeface="+mn-cs"/>
                </a:rPr>
                <a:t> </a:t>
              </a:r>
              <a:r>
                <a:rPr kumimoji="0" lang="fr-CH" sz="1940"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rPr>
                <a:t>NIS</a:t>
              </a:r>
              <a:endParaRPr kumimoji="0" lang="en-US" sz="1940"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endParaRPr>
            </a:p>
          </p:txBody>
        </p:sp>
        <p:sp>
          <p:nvSpPr>
            <p:cNvPr id="5" name="Rectangle: Rounded Corners 4">
              <a:extLst>
                <a:ext uri="{FF2B5EF4-FFF2-40B4-BE49-F238E27FC236}">
                  <a16:creationId xmlns:a16="http://schemas.microsoft.com/office/drawing/2014/main" id="{84536EDC-3259-0E02-C6A9-51D04398096E}"/>
                </a:ext>
              </a:extLst>
            </p:cNvPr>
            <p:cNvSpPr/>
            <p:nvPr/>
          </p:nvSpPr>
          <p:spPr>
            <a:xfrm>
              <a:off x="7888740" y="6589325"/>
              <a:ext cx="4214362" cy="3511782"/>
            </a:xfrm>
            <a:prstGeom prst="roundRect">
              <a:avLst>
                <a:gd name="adj" fmla="val 8100"/>
              </a:avLst>
            </a:prstGeom>
            <a:ln w="38100">
              <a:solidFill>
                <a:schemeClr val="accent3"/>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554466" rtl="0" eaLnBrk="1" fontAlgn="auto" latinLnBrk="0" hangingPunct="1">
                <a:lnSpc>
                  <a:spcPct val="100000"/>
                </a:lnSpc>
                <a:spcBef>
                  <a:spcPts val="0"/>
                </a:spcBef>
                <a:spcAft>
                  <a:spcPts val="0"/>
                </a:spcAft>
                <a:buClrTx/>
                <a:buSzTx/>
                <a:buFontTx/>
                <a:buNone/>
                <a:tabLst/>
                <a:defRPr/>
              </a:pPr>
              <a:r>
                <a:rPr kumimoji="0" lang="fr-CH" sz="1940"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rPr>
                <a:t>WHO Compendium</a:t>
              </a:r>
              <a:endParaRPr kumimoji="0" lang="en-US" sz="1940" b="1" i="0" u="none" strike="noStrike" kern="1200" cap="none" spc="0" normalizeH="0" baseline="0" noProof="0">
                <a:ln>
                  <a:noFill/>
                </a:ln>
                <a:solidFill>
                  <a:srgbClr val="000000"/>
                </a:solidFill>
                <a:effectLst/>
                <a:uLnTx/>
                <a:uFillTx/>
                <a:latin typeface="Poppins SemiBold" panose="00000700000000000000" pitchFamily="2" charset="0"/>
                <a:ea typeface="+mn-ea"/>
                <a:cs typeface="Poppins SemiBold" panose="00000700000000000000" pitchFamily="2" charset="0"/>
              </a:endParaRPr>
            </a:p>
          </p:txBody>
        </p:sp>
        <p:pic>
          <p:nvPicPr>
            <p:cNvPr id="33" name="Picture 32">
              <a:extLst>
                <a:ext uri="{FF2B5EF4-FFF2-40B4-BE49-F238E27FC236}">
                  <a16:creationId xmlns:a16="http://schemas.microsoft.com/office/drawing/2014/main" id="{EF1BBD38-4645-E06F-0258-D9450D75CAC2}"/>
                </a:ext>
              </a:extLst>
            </p:cNvPr>
            <p:cNvPicPr>
              <a:picLocks noChangeAspect="1"/>
            </p:cNvPicPr>
            <p:nvPr/>
          </p:nvPicPr>
          <p:blipFill>
            <a:blip r:embed="rId3"/>
            <a:srcRect b="39751"/>
            <a:stretch>
              <a:fillRect/>
            </a:stretch>
          </p:blipFill>
          <p:spPr>
            <a:xfrm>
              <a:off x="8371727" y="7888125"/>
              <a:ext cx="3248388" cy="1903342"/>
            </a:xfrm>
            <a:prstGeom prst="rect">
              <a:avLst/>
            </a:prstGeom>
          </p:spPr>
        </p:pic>
        <p:pic>
          <p:nvPicPr>
            <p:cNvPr id="11" name="Picture 10" descr="A blue text on a white background&#10;&#10;AI-generated content may be incorrect.">
              <a:extLst>
                <a:ext uri="{FF2B5EF4-FFF2-40B4-BE49-F238E27FC236}">
                  <a16:creationId xmlns:a16="http://schemas.microsoft.com/office/drawing/2014/main" id="{531D1B56-CCEF-9A97-1BE8-689DC1C83945}"/>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4129064" y="7652533"/>
              <a:ext cx="1942272" cy="593206"/>
            </a:xfrm>
            <a:prstGeom prst="rect">
              <a:avLst/>
            </a:prstGeom>
          </p:spPr>
        </p:pic>
        <p:pic>
          <p:nvPicPr>
            <p:cNvPr id="13" name="Picture 12" descr="A blue and white logo&#10;&#10;AI-generated content may be incorrect.">
              <a:extLst>
                <a:ext uri="{FF2B5EF4-FFF2-40B4-BE49-F238E27FC236}">
                  <a16:creationId xmlns:a16="http://schemas.microsoft.com/office/drawing/2014/main" id="{04692D49-87BA-A5A3-623C-2AFA504B2A9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4346501" y="9283162"/>
              <a:ext cx="1547173" cy="513145"/>
            </a:xfrm>
            <a:prstGeom prst="rect">
              <a:avLst/>
            </a:prstGeom>
          </p:spPr>
        </p:pic>
        <p:pic>
          <p:nvPicPr>
            <p:cNvPr id="15" name="Picture 14" descr="A blue text on a black background&#10;&#10;AI-generated content may be incorrect.">
              <a:extLst>
                <a:ext uri="{FF2B5EF4-FFF2-40B4-BE49-F238E27FC236}">
                  <a16:creationId xmlns:a16="http://schemas.microsoft.com/office/drawing/2014/main" id="{5B3D14D2-5B36-0293-B0DD-941C159E9F24}"/>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5645009" y="8233937"/>
              <a:ext cx="1826988" cy="456747"/>
            </a:xfrm>
            <a:prstGeom prst="rect">
              <a:avLst/>
            </a:prstGeom>
          </p:spPr>
        </p:pic>
        <p:pic>
          <p:nvPicPr>
            <p:cNvPr id="16" name="Picture 15" descr="A red and white rectangular sign with white letters&#10;&#10;AI-generated content may be incorrect.">
              <a:extLst>
                <a:ext uri="{FF2B5EF4-FFF2-40B4-BE49-F238E27FC236}">
                  <a16:creationId xmlns:a16="http://schemas.microsoft.com/office/drawing/2014/main" id="{77E39527-1850-7588-AA28-26E222EE2DCB}"/>
                </a:ext>
              </a:extLst>
            </p:cNvPr>
            <p:cNvPicPr>
              <a:picLocks noChangeAspect="1"/>
            </p:cNvPicPr>
            <p:nvPr/>
          </p:nvPicPr>
          <p:blipFill>
            <a:blip r:embed="rId7"/>
            <a:stretch>
              <a:fillRect/>
            </a:stretch>
          </p:blipFill>
          <p:spPr>
            <a:xfrm>
              <a:off x="14440917" y="8466237"/>
              <a:ext cx="913004" cy="537061"/>
            </a:xfrm>
            <a:prstGeom prst="rect">
              <a:avLst/>
            </a:prstGeom>
          </p:spPr>
        </p:pic>
        <p:pic>
          <p:nvPicPr>
            <p:cNvPr id="17" name="Picture 16" descr="A zebra with text on it&#10;&#10;Description automatically generated">
              <a:extLst>
                <a:ext uri="{FF2B5EF4-FFF2-40B4-BE49-F238E27FC236}">
                  <a16:creationId xmlns:a16="http://schemas.microsoft.com/office/drawing/2014/main" id="{BA7876B6-A3F4-9388-1B9C-D92426F85B07}"/>
                </a:ext>
              </a:extLst>
            </p:cNvPr>
            <p:cNvPicPr>
              <a:picLocks noChangeAspect="1"/>
            </p:cNvPicPr>
            <p:nvPr/>
          </p:nvPicPr>
          <p:blipFill>
            <a:blip r:embed="rId8"/>
            <a:stretch>
              <a:fillRect/>
            </a:stretch>
          </p:blipFill>
          <p:spPr>
            <a:xfrm>
              <a:off x="16094173" y="9462021"/>
              <a:ext cx="1268884" cy="537062"/>
            </a:xfrm>
            <a:prstGeom prst="rect">
              <a:avLst/>
            </a:prstGeom>
          </p:spPr>
        </p:pic>
        <p:pic>
          <p:nvPicPr>
            <p:cNvPr id="1028" name="Picture 4" descr="Gates Foundation – The 74">
              <a:extLst>
                <a:ext uri="{FF2B5EF4-FFF2-40B4-BE49-F238E27FC236}">
                  <a16:creationId xmlns:a16="http://schemas.microsoft.com/office/drawing/2014/main" id="{E8313AE1-53B2-89BB-C2C0-7A5BCBF18D55}"/>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15900923" y="8836735"/>
              <a:ext cx="1804989" cy="633413"/>
            </a:xfrm>
            <a:prstGeom prst="rect">
              <a:avLst/>
            </a:prstGeom>
            <a:noFill/>
            <a:extLst>
              <a:ext uri="{909E8E84-426E-40DD-AFC4-6F175D3DCCD1}">
                <a14:hiddenFill xmlns:a14="http://schemas.microsoft.com/office/drawing/2010/main">
                  <a:solidFill>
                    <a:srgbClr val="FFFFFF"/>
                  </a:solidFill>
                </a14:hiddenFill>
              </a:ext>
            </a:extLst>
          </p:spPr>
        </p:pic>
        <p:pic>
          <p:nvPicPr>
            <p:cNvPr id="39" name="Graphic 38" descr="Chevron arrows outline">
              <a:extLst>
                <a:ext uri="{FF2B5EF4-FFF2-40B4-BE49-F238E27FC236}">
                  <a16:creationId xmlns:a16="http://schemas.microsoft.com/office/drawing/2014/main" id="{57BF406B-BED3-1A28-91A2-4A240ACBC7D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6200000">
              <a:off x="9538721" y="5821986"/>
              <a:ext cx="782183" cy="782183"/>
            </a:xfrm>
            <a:prstGeom prst="rect">
              <a:avLst/>
            </a:prstGeom>
          </p:spPr>
        </p:pic>
        <p:pic>
          <p:nvPicPr>
            <p:cNvPr id="42" name="Graphic 41" descr="Chevron arrows outline">
              <a:extLst>
                <a:ext uri="{FF2B5EF4-FFF2-40B4-BE49-F238E27FC236}">
                  <a16:creationId xmlns:a16="http://schemas.microsoft.com/office/drawing/2014/main" id="{D980F85E-F167-E534-619B-F3AB5A8BF1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6200000">
              <a:off x="15662020" y="5789285"/>
              <a:ext cx="782183" cy="782183"/>
            </a:xfrm>
            <a:prstGeom prst="rect">
              <a:avLst/>
            </a:prstGeom>
          </p:spPr>
        </p:pic>
        <p:pic>
          <p:nvPicPr>
            <p:cNvPr id="43" name="Graphic 42" descr="Chevron arrows outline">
              <a:extLst>
                <a:ext uri="{FF2B5EF4-FFF2-40B4-BE49-F238E27FC236}">
                  <a16:creationId xmlns:a16="http://schemas.microsoft.com/office/drawing/2014/main" id="{E1CBE504-C6C2-B494-F65A-4B9C19D3410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6200000">
              <a:off x="4457922" y="5821985"/>
              <a:ext cx="782183" cy="782183"/>
            </a:xfrm>
            <a:prstGeom prst="rect">
              <a:avLst/>
            </a:prstGeom>
          </p:spPr>
        </p:pic>
        <p:pic>
          <p:nvPicPr>
            <p:cNvPr id="32" name="Picture 31">
              <a:extLst>
                <a:ext uri="{FF2B5EF4-FFF2-40B4-BE49-F238E27FC236}">
                  <a16:creationId xmlns:a16="http://schemas.microsoft.com/office/drawing/2014/main" id="{E32922F8-56CF-3975-69D9-BAC92AF75F64}"/>
                </a:ext>
              </a:extLst>
            </p:cNvPr>
            <p:cNvPicPr>
              <a:picLocks noChangeAspect="1"/>
            </p:cNvPicPr>
            <p:nvPr/>
          </p:nvPicPr>
          <p:blipFill>
            <a:blip r:embed="rId12"/>
            <a:stretch>
              <a:fillRect/>
            </a:stretch>
          </p:blipFill>
          <p:spPr>
            <a:xfrm>
              <a:off x="3053528" y="8731791"/>
              <a:ext cx="3590973" cy="1227534"/>
            </a:xfrm>
            <a:prstGeom prst="rect">
              <a:avLst/>
            </a:prstGeom>
          </p:spPr>
        </p:pic>
      </p:grpSp>
      <p:sp>
        <p:nvSpPr>
          <p:cNvPr id="6" name="Oval 5">
            <a:extLst>
              <a:ext uri="{FF2B5EF4-FFF2-40B4-BE49-F238E27FC236}">
                <a16:creationId xmlns:a16="http://schemas.microsoft.com/office/drawing/2014/main" id="{51EFE6FD-F48A-11CB-8BEB-45B159C42ECD}"/>
              </a:ext>
            </a:extLst>
          </p:cNvPr>
          <p:cNvSpPr/>
          <p:nvPr/>
        </p:nvSpPr>
        <p:spPr>
          <a:xfrm>
            <a:off x="483172" y="3826237"/>
            <a:ext cx="1218572" cy="1216546"/>
          </a:xfrm>
          <a:prstGeom prst="ellipse">
            <a:avLst/>
          </a:prstGeom>
          <a:solidFill>
            <a:srgbClr val="C1007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66" rtl="0" eaLnBrk="1" fontAlgn="auto" latinLnBrk="0" hangingPunct="1">
              <a:lnSpc>
                <a:spcPct val="100000"/>
              </a:lnSpc>
              <a:spcBef>
                <a:spcPts val="0"/>
              </a:spcBef>
              <a:spcAft>
                <a:spcPts val="0"/>
              </a:spcAft>
              <a:buClrTx/>
              <a:buSzTx/>
              <a:buFontTx/>
              <a:buNone/>
              <a:tabLst/>
              <a:defRPr/>
            </a:pPr>
            <a:r>
              <a:rPr kumimoji="0" lang="en-US" sz="2426" b="0" i="0" u="none" strike="noStrike" kern="1200" cap="none" spc="0" normalizeH="0" baseline="0" noProof="0">
                <a:ln>
                  <a:noFill/>
                </a:ln>
                <a:solidFill>
                  <a:srgbClr val="FFFFFF"/>
                </a:solidFill>
                <a:effectLst/>
                <a:uLnTx/>
                <a:uFillTx/>
                <a:latin typeface="Poppins SemiBold" panose="00000700000000000000" pitchFamily="2" charset="0"/>
                <a:ea typeface="+mn-ea"/>
                <a:cs typeface="Poppins SemiBold" panose="00000700000000000000" pitchFamily="2" charset="0"/>
              </a:rPr>
              <a:t>24 </a:t>
            </a:r>
            <a:r>
              <a:rPr kumimoji="0" lang="en-US" sz="1092" b="0" i="0" u="none" strike="noStrike" kern="1200" cap="none" spc="0" normalizeH="0" baseline="0" noProof="0">
                <a:ln>
                  <a:noFill/>
                </a:ln>
                <a:solidFill>
                  <a:srgbClr val="FFFFFF"/>
                </a:solidFill>
                <a:effectLst/>
                <a:uLnTx/>
                <a:uFillTx/>
                <a:latin typeface="Poppins SemiBold" panose="00000700000000000000" pitchFamily="2" charset="0"/>
                <a:ea typeface="+mn-ea"/>
                <a:cs typeface="Poppins SemiBold" panose="00000700000000000000" pitchFamily="2" charset="0"/>
              </a:rPr>
              <a:t>NITAGs trained</a:t>
            </a:r>
            <a:endParaRPr kumimoji="0" lang="en-US" sz="2183" b="0" i="0" u="none" strike="noStrike" kern="1200" cap="none" spc="0" normalizeH="0" baseline="0" noProof="0">
              <a:ln>
                <a:noFill/>
              </a:ln>
              <a:solidFill>
                <a:srgbClr val="FFFFFF"/>
              </a:solidFill>
              <a:effectLst/>
              <a:uLnTx/>
              <a:uFillTx/>
              <a:latin typeface="Poppins"/>
              <a:ea typeface="+mn-ea"/>
              <a:cs typeface="Poppins SemiBold" panose="00000700000000000000" pitchFamily="2" charset="0"/>
            </a:endParaRPr>
          </a:p>
        </p:txBody>
      </p:sp>
      <p:sp>
        <p:nvSpPr>
          <p:cNvPr id="7" name="Oval 6">
            <a:extLst>
              <a:ext uri="{FF2B5EF4-FFF2-40B4-BE49-F238E27FC236}">
                <a16:creationId xmlns:a16="http://schemas.microsoft.com/office/drawing/2014/main" id="{A8ACC930-8FBF-0C03-3A9B-0356A4DBC049}"/>
              </a:ext>
            </a:extLst>
          </p:cNvPr>
          <p:cNvSpPr/>
          <p:nvPr/>
        </p:nvSpPr>
        <p:spPr>
          <a:xfrm>
            <a:off x="497587" y="4924320"/>
            <a:ext cx="942572" cy="942572"/>
          </a:xfrm>
          <a:prstGeom prst="ellipse">
            <a:avLst/>
          </a:prstGeom>
          <a:solidFill>
            <a:srgbClr val="7030A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66" rtl="0" eaLnBrk="1" fontAlgn="auto" latinLnBrk="0" hangingPunct="1">
              <a:lnSpc>
                <a:spcPct val="100000"/>
              </a:lnSpc>
              <a:spcBef>
                <a:spcPts val="0"/>
              </a:spcBef>
              <a:spcAft>
                <a:spcPts val="0"/>
              </a:spcAft>
              <a:buClrTx/>
              <a:buSzTx/>
              <a:buFontTx/>
              <a:buNone/>
              <a:tabLst/>
              <a:defRPr/>
            </a:pPr>
            <a:r>
              <a:rPr kumimoji="0" lang="en-US" sz="2183" b="1" i="0" u="none" strike="noStrike" kern="1200" cap="none" spc="0" normalizeH="0" baseline="0" noProof="0">
                <a:ln>
                  <a:noFill/>
                </a:ln>
                <a:solidFill>
                  <a:srgbClr val="FFFFFF"/>
                </a:solidFill>
                <a:effectLst/>
                <a:uLnTx/>
                <a:uFillTx/>
                <a:latin typeface="Poppins SemiBold" panose="00000700000000000000" pitchFamily="2" charset="0"/>
                <a:ea typeface="+mn-ea"/>
                <a:cs typeface="Poppins SemiBold" panose="00000700000000000000" pitchFamily="2" charset="0"/>
              </a:rPr>
              <a:t>+25</a:t>
            </a:r>
          </a:p>
          <a:p>
            <a:pPr marL="0" marR="0" lvl="0" indent="0" algn="ctr" defTabSz="554466" rtl="0" eaLnBrk="1" fontAlgn="auto" latinLnBrk="0" hangingPunct="1">
              <a:lnSpc>
                <a:spcPct val="100000"/>
              </a:lnSpc>
              <a:spcBef>
                <a:spcPts val="0"/>
              </a:spcBef>
              <a:spcAft>
                <a:spcPts val="0"/>
              </a:spcAft>
              <a:buClrTx/>
              <a:buSzTx/>
              <a:buFontTx/>
              <a:buNone/>
              <a:tabLst/>
              <a:defRPr/>
            </a:pPr>
            <a:r>
              <a:rPr kumimoji="0" lang="en-US" sz="849" b="0" i="0" u="none" strike="noStrike" kern="1200" cap="none" spc="0" normalizeH="0" baseline="0" noProof="0">
                <a:ln>
                  <a:noFill/>
                </a:ln>
                <a:solidFill>
                  <a:srgbClr val="FFFFFF"/>
                </a:solidFill>
                <a:effectLst/>
                <a:uLnTx/>
                <a:uFillTx/>
                <a:latin typeface="Poppins SemiBold" panose="00000700000000000000" pitchFamily="2" charset="0"/>
                <a:ea typeface="+mn-ea"/>
                <a:cs typeface="Poppins SemiBold" panose="00000700000000000000" pitchFamily="2" charset="0"/>
              </a:rPr>
              <a:t>sensitized</a:t>
            </a:r>
          </a:p>
        </p:txBody>
      </p:sp>
      <p:sp>
        <p:nvSpPr>
          <p:cNvPr id="10" name="Oval 9">
            <a:extLst>
              <a:ext uri="{FF2B5EF4-FFF2-40B4-BE49-F238E27FC236}">
                <a16:creationId xmlns:a16="http://schemas.microsoft.com/office/drawing/2014/main" id="{3A5B7CCA-AE52-C1FE-EE4F-F001BBDCB534}"/>
              </a:ext>
            </a:extLst>
          </p:cNvPr>
          <p:cNvSpPr/>
          <p:nvPr/>
        </p:nvSpPr>
        <p:spPr>
          <a:xfrm>
            <a:off x="6641268" y="5100538"/>
            <a:ext cx="1223086" cy="1227414"/>
          </a:xfrm>
          <a:prstGeom prst="ellipse">
            <a:avLst/>
          </a:prstGeom>
          <a:solidFill>
            <a:srgbClr val="FA9A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66" rtl="0" eaLnBrk="1" fontAlgn="auto" latinLnBrk="0" hangingPunct="1">
              <a:lnSpc>
                <a:spcPct val="100000"/>
              </a:lnSpc>
              <a:spcBef>
                <a:spcPts val="0"/>
              </a:spcBef>
              <a:spcAft>
                <a:spcPts val="0"/>
              </a:spcAft>
              <a:buClrTx/>
              <a:buSzTx/>
              <a:buFontTx/>
              <a:buNone/>
              <a:tabLst/>
              <a:defRPr/>
            </a:pPr>
            <a:r>
              <a:rPr kumimoji="0" lang="en-US" sz="2911" b="0" i="0" u="none" strike="noStrike" kern="1200" cap="none" spc="0" normalizeH="0" baseline="0" noProof="0">
                <a:ln>
                  <a:noFill/>
                </a:ln>
                <a:solidFill>
                  <a:srgbClr val="FFFFFF"/>
                </a:solidFill>
                <a:effectLst/>
                <a:uLnTx/>
                <a:uFillTx/>
                <a:latin typeface="Poppins SemiBold" panose="00000700000000000000" pitchFamily="2" charset="0"/>
                <a:ea typeface="+mn-ea"/>
                <a:cs typeface="Poppins SemiBold" panose="00000700000000000000" pitchFamily="2" charset="0"/>
              </a:rPr>
              <a:t>3</a:t>
            </a:r>
            <a:endParaRPr kumimoji="0" lang="en-US" sz="1092" b="0" i="0" u="none" strike="noStrike" kern="1200" cap="none" spc="0" normalizeH="0" baseline="0" noProof="0">
              <a:ln>
                <a:noFill/>
              </a:ln>
              <a:solidFill>
                <a:srgbClr val="FFFFFF"/>
              </a:solidFill>
              <a:effectLst/>
              <a:uLnTx/>
              <a:uFillTx/>
              <a:latin typeface="Poppins SemiBold" panose="00000700000000000000" pitchFamily="2" charset="0"/>
              <a:ea typeface="+mn-ea"/>
              <a:cs typeface="Poppins SemiBold" panose="00000700000000000000" pitchFamily="2" charset="0"/>
            </a:endParaRPr>
          </a:p>
          <a:p>
            <a:pPr marL="0" marR="0" lvl="0" indent="0" algn="ctr" defTabSz="554466" rtl="0" eaLnBrk="1" fontAlgn="auto" latinLnBrk="0" hangingPunct="1">
              <a:lnSpc>
                <a:spcPct val="100000"/>
              </a:lnSpc>
              <a:spcBef>
                <a:spcPts val="0"/>
              </a:spcBef>
              <a:spcAft>
                <a:spcPts val="0"/>
              </a:spcAft>
              <a:buClrTx/>
              <a:buSzTx/>
              <a:buFontTx/>
              <a:buNone/>
              <a:tabLst/>
              <a:defRPr/>
            </a:pPr>
            <a:r>
              <a:rPr kumimoji="0" lang="en-US" sz="1092" b="0" i="0" u="none" strike="noStrike" kern="1200" cap="none" spc="0" normalizeH="0" baseline="0" noProof="0">
                <a:ln>
                  <a:noFill/>
                </a:ln>
                <a:solidFill>
                  <a:srgbClr val="FFFFFF"/>
                </a:solidFill>
                <a:effectLst/>
                <a:uLnTx/>
                <a:uFillTx/>
                <a:latin typeface="Poppins"/>
                <a:ea typeface="+mn-ea"/>
                <a:cs typeface="+mn-cs"/>
              </a:rPr>
              <a:t>Vaccines to date</a:t>
            </a:r>
          </a:p>
        </p:txBody>
      </p:sp>
      <p:sp>
        <p:nvSpPr>
          <p:cNvPr id="12" name="Oval 11">
            <a:extLst>
              <a:ext uri="{FF2B5EF4-FFF2-40B4-BE49-F238E27FC236}">
                <a16:creationId xmlns:a16="http://schemas.microsoft.com/office/drawing/2014/main" id="{F91F5942-6C3C-C078-099C-3E75D85EB7EA}"/>
              </a:ext>
            </a:extLst>
          </p:cNvPr>
          <p:cNvSpPr/>
          <p:nvPr/>
        </p:nvSpPr>
        <p:spPr>
          <a:xfrm>
            <a:off x="10655779" y="4579004"/>
            <a:ext cx="1156804" cy="1220253"/>
          </a:xfrm>
          <a:prstGeom prst="ellipse">
            <a:avLst/>
          </a:prstGeom>
          <a:solidFill>
            <a:srgbClr val="00206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66" rtl="0" eaLnBrk="1" fontAlgn="auto" latinLnBrk="0" hangingPunct="1">
              <a:lnSpc>
                <a:spcPct val="100000"/>
              </a:lnSpc>
              <a:spcBef>
                <a:spcPts val="0"/>
              </a:spcBef>
              <a:spcAft>
                <a:spcPts val="0"/>
              </a:spcAft>
              <a:buClrTx/>
              <a:buSzTx/>
              <a:buFontTx/>
              <a:buNone/>
              <a:tabLst/>
              <a:defRPr/>
            </a:pPr>
            <a:r>
              <a:rPr kumimoji="0" lang="en-US" sz="2183" b="0" i="0" u="none" strike="noStrike" kern="1200" cap="none" spc="0" normalizeH="0" baseline="0" noProof="0">
                <a:ln>
                  <a:noFill/>
                </a:ln>
                <a:solidFill>
                  <a:srgbClr val="FFFFFF"/>
                </a:solidFill>
                <a:effectLst/>
                <a:uLnTx/>
                <a:uFillTx/>
                <a:latin typeface="Poppins SemiBold" panose="00000700000000000000" pitchFamily="2" charset="0"/>
                <a:ea typeface="+mn-ea"/>
                <a:cs typeface="Poppins SemiBold" panose="00000700000000000000" pitchFamily="2" charset="0"/>
              </a:rPr>
              <a:t>1</a:t>
            </a:r>
            <a:r>
              <a:rPr kumimoji="0" lang="en-US" sz="1213" b="0" i="0" u="none" strike="noStrike" kern="1200" cap="none" spc="0" normalizeH="0" baseline="0" noProof="0">
                <a:ln>
                  <a:noFill/>
                </a:ln>
                <a:solidFill>
                  <a:srgbClr val="FFFFFF"/>
                </a:solidFill>
                <a:effectLst/>
                <a:uLnTx/>
                <a:uFillTx/>
                <a:latin typeface="Poppins SemiBold" panose="00000700000000000000" pitchFamily="2" charset="0"/>
                <a:ea typeface="+mn-ea"/>
                <a:cs typeface="Poppins SemiBold" panose="00000700000000000000" pitchFamily="2" charset="0"/>
              </a:rPr>
              <a:t> </a:t>
            </a:r>
            <a:r>
              <a:rPr kumimoji="0" lang="en-US" sz="970" b="0" i="0" u="none" strike="noStrike" kern="1200" cap="none" spc="0" normalizeH="0" baseline="0" noProof="0">
                <a:ln>
                  <a:noFill/>
                </a:ln>
                <a:solidFill>
                  <a:srgbClr val="FFFFFF"/>
                </a:solidFill>
                <a:effectLst/>
                <a:uLnTx/>
                <a:uFillTx/>
                <a:latin typeface="Poppins SemiBold" panose="00000700000000000000" pitchFamily="2" charset="0"/>
                <a:ea typeface="+mn-ea"/>
                <a:cs typeface="Poppins SemiBold" panose="00000700000000000000" pitchFamily="2" charset="0"/>
              </a:rPr>
              <a:t>Working Group  VPOP</a:t>
            </a:r>
            <a:endParaRPr kumimoji="0" lang="en-US" sz="667" b="0" i="0" u="none" strike="noStrike" kern="1200" cap="none" spc="0" normalizeH="0" baseline="0" noProof="0">
              <a:ln>
                <a:noFill/>
              </a:ln>
              <a:solidFill>
                <a:srgbClr val="FFFFFF"/>
              </a:solidFill>
              <a:effectLst/>
              <a:uLnTx/>
              <a:uFillTx/>
              <a:latin typeface="Poppins SemiBold" panose="00000700000000000000" pitchFamily="2" charset="0"/>
              <a:ea typeface="+mn-ea"/>
              <a:cs typeface="Poppins SemiBold" panose="00000700000000000000" pitchFamily="2" charset="0"/>
            </a:endParaRPr>
          </a:p>
        </p:txBody>
      </p:sp>
      <p:sp>
        <p:nvSpPr>
          <p:cNvPr id="9" name="Footer Placeholder 8">
            <a:extLst>
              <a:ext uri="{FF2B5EF4-FFF2-40B4-BE49-F238E27FC236}">
                <a16:creationId xmlns:a16="http://schemas.microsoft.com/office/drawing/2014/main" id="{925AEF00-1C7B-15D8-3E6A-4D03AB0789E0}"/>
              </a:ext>
            </a:extLst>
          </p:cNvPr>
          <p:cNvSpPr>
            <a:spLocks noGrp="1"/>
          </p:cNvSpPr>
          <p:nvPr>
            <p:ph type="ftr" sz="quarter" idx="11"/>
          </p:nvPr>
        </p:nvSpPr>
        <p:spPr/>
        <p: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VB Director’s Report to SAGE</a:t>
            </a:r>
          </a:p>
        </p:txBody>
      </p:sp>
      <p:pic>
        <p:nvPicPr>
          <p:cNvPr id="21" name="Graphic 20">
            <a:extLst>
              <a:ext uri="{FF2B5EF4-FFF2-40B4-BE49-F238E27FC236}">
                <a16:creationId xmlns:a16="http://schemas.microsoft.com/office/drawing/2014/main" id="{F69A1A51-9693-93C3-0E29-197F4FE3F027}"/>
              </a:ext>
            </a:extLst>
          </p:cNvPr>
          <p:cNvPicPr>
            <a:picLocks noChangeAspect="1"/>
          </p:cNvPicPr>
          <p:nvPr/>
        </p:nvPicPr>
        <p:blipFill rotWithShape="1">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rcRect t="-11699"/>
          <a:stretch/>
        </p:blipFill>
        <p:spPr>
          <a:xfrm>
            <a:off x="11343276" y="110032"/>
            <a:ext cx="636511" cy="710972"/>
          </a:xfrm>
          <a:prstGeom prst="rect">
            <a:avLst/>
          </a:prstGeom>
        </p:spPr>
      </p:pic>
    </p:spTree>
    <p:extLst>
      <p:ext uri="{BB962C8B-B14F-4D97-AF65-F5344CB8AC3E}">
        <p14:creationId xmlns:p14="http://schemas.microsoft.com/office/powerpoint/2010/main" val="1552564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NAME" val="ACET"/>
</p:tagLst>
</file>

<file path=ppt/tags/tag1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ANGLE" val="5"/>
</p:tagLst>
</file>

<file path=ppt/tags/tag124.xml><?xml version="1.0" encoding="utf-8"?>
<p:tagLst xmlns:a="http://schemas.openxmlformats.org/drawingml/2006/main" xmlns:r="http://schemas.openxmlformats.org/officeDocument/2006/relationships" xmlns:p="http://schemas.openxmlformats.org/presentationml/2006/main">
  <p:tag name="ANGLE" val="5"/>
</p:tagLst>
</file>

<file path=ppt/tags/tag125.xml><?xml version="1.0" encoding="utf-8"?>
<p:tagLst xmlns:a="http://schemas.openxmlformats.org/drawingml/2006/main" xmlns:r="http://schemas.openxmlformats.org/officeDocument/2006/relationships" xmlns:p="http://schemas.openxmlformats.org/presentationml/2006/main">
  <p:tag name="ANGLE" val="4"/>
</p:tagLst>
</file>

<file path=ppt/tags/tag126.xml><?xml version="1.0" encoding="utf-8"?>
<p:tagLst xmlns:a="http://schemas.openxmlformats.org/drawingml/2006/main" xmlns:r="http://schemas.openxmlformats.org/officeDocument/2006/relationships" xmlns:p="http://schemas.openxmlformats.org/presentationml/2006/main">
  <p:tag name="ANGLE" val="4"/>
</p:tagLst>
</file>

<file path=ppt/tags/tag127.xml><?xml version="1.0" encoding="utf-8"?>
<p:tagLst xmlns:a="http://schemas.openxmlformats.org/drawingml/2006/main" xmlns:r="http://schemas.openxmlformats.org/officeDocument/2006/relationships" xmlns:p="http://schemas.openxmlformats.org/presentationml/2006/main">
  <p:tag name="ANGLE" val="3"/>
</p:tagLst>
</file>

<file path=ppt/tags/tag128.xml><?xml version="1.0" encoding="utf-8"?>
<p:tagLst xmlns:a="http://schemas.openxmlformats.org/drawingml/2006/main" xmlns:r="http://schemas.openxmlformats.org/officeDocument/2006/relationships" xmlns:p="http://schemas.openxmlformats.org/presentationml/2006/main">
  <p:tag name="ANGLE" val="3"/>
</p:tagLst>
</file>

<file path=ppt/tags/tag129.xml><?xml version="1.0" encoding="utf-8"?>
<p:tagLst xmlns:a="http://schemas.openxmlformats.org/drawingml/2006/main" xmlns:r="http://schemas.openxmlformats.org/officeDocument/2006/relationships" xmlns:p="http://schemas.openxmlformats.org/presentationml/2006/main">
  <p:tag name="ANGLE" val="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ANGLE" val="2"/>
</p:tagLst>
</file>

<file path=ppt/tags/tag131.xml><?xml version="1.0" encoding="utf-8"?>
<p:tagLst xmlns:a="http://schemas.openxmlformats.org/drawingml/2006/main" xmlns:r="http://schemas.openxmlformats.org/officeDocument/2006/relationships" xmlns:p="http://schemas.openxmlformats.org/presentationml/2006/main">
  <p:tag name="ANGLE" val="1"/>
</p:tagLst>
</file>

<file path=ppt/tags/tag132.xml><?xml version="1.0" encoding="utf-8"?>
<p:tagLst xmlns:a="http://schemas.openxmlformats.org/drawingml/2006/main" xmlns:r="http://schemas.openxmlformats.org/officeDocument/2006/relationships" xmlns:p="http://schemas.openxmlformats.org/presentationml/2006/main">
  <p:tag name="ANGLE" val="1"/>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xml><?xml version="1.0" encoding="utf-8"?>
<p:tagLst xmlns:a="http://schemas.openxmlformats.org/drawingml/2006/main" xmlns:r="http://schemas.openxmlformats.org/officeDocument/2006/relationships" xmlns:p="http://schemas.openxmlformats.org/presentationml/2006/main">
  <p:tag name="SHAPENAME" val="5. Source"/>
</p:tagLst>
</file>

<file path=ppt/tags/tag2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3.xml><?xml version="1.0" encoding="utf-8"?>
<p:tagLst xmlns:a="http://schemas.openxmlformats.org/drawingml/2006/main" xmlns:r="http://schemas.openxmlformats.org/officeDocument/2006/relationships" xmlns:p="http://schemas.openxmlformats.org/presentationml/2006/main">
  <p:tag name="SHAPENAME" val="Subtitle"/>
</p:tagLst>
</file>

<file path=ppt/tags/tag254.xml><?xml version="1.0" encoding="utf-8"?>
<p:tagLst xmlns:a="http://schemas.openxmlformats.org/drawingml/2006/main" xmlns:r="http://schemas.openxmlformats.org/officeDocument/2006/relationships" xmlns:p="http://schemas.openxmlformats.org/presentationml/2006/main">
  <p:tag name="SHAPENAME" val="Titl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7.xml><?xml version="1.0" encoding="utf-8"?>
<p:tagLst xmlns:a="http://schemas.openxmlformats.org/drawingml/2006/main" xmlns:r="http://schemas.openxmlformats.org/officeDocument/2006/relationships" xmlns:p="http://schemas.openxmlformats.org/presentationml/2006/main">
  <p:tag name="SHAPENAME" val="Subtitle"/>
</p:tagLst>
</file>

<file path=ppt/tags/tag268.xml><?xml version="1.0" encoding="utf-8"?>
<p:tagLst xmlns:a="http://schemas.openxmlformats.org/drawingml/2006/main" xmlns:r="http://schemas.openxmlformats.org/officeDocument/2006/relationships" xmlns:p="http://schemas.openxmlformats.org/presentationml/2006/main">
  <p:tag name="SHAPENAME" val="Titl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t1X6lVtnyUGH.JFkpTZoG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5wHBHwHm8YTNohunMbGLf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qR6uv.ozYH16XjQh9e9pS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_cj4AMvxizRpfEOy83sbx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6WdH8_KfQlr76mmiKN_Kl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uqudyRvh8r_OD1CTHYCi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UDV2CBKmuSV2vzzKqcMzD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UVZaIz86eyv82j7seLNE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e.1UcXBBF9GYjZeuktb9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G86rjX2GlOaRWkT8yPohD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TVzvRmiFWI.p8kdj2Gz5k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nPHuJdjXY933LQEtwOabk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c9m5L03_hwODtMNX5PI8e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wRp9qRqZHrwmdT7jmD17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gIDgqyIk91e9cmU2FMrHF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2MmVsqxbjer0h1Ef1Qjju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PdDPzkcjVhJx7ybh0qj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0cTSMHmjYJgJgKE4IQ_A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KlTfA8WNnz4lWFJd__F9S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0CIpFSEUpuOb0MyCCw_YF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V2XfUrpZbMnRhfUPGm9XH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echJZZ7.wVmAdHB3aMVuv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qvfKqVQ8PM2wNje94CUJ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eo4fJcpwDP2bJJLNmEYPa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4SLYvKzrwSYrzawMYhlq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O6vI2H88lFArfMrbXGf.i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oq5c9a0gES1f0YT6jGpc_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SnKRbbAUZvRcaOuuwgRk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gOzPeo.VQtcI7hPPBSlDXg"/>
</p:tagLst>
</file>

<file path=ppt/tags/tag301.xml><?xml version="1.0" encoding="utf-8"?>
<p:tagLst xmlns:a="http://schemas.openxmlformats.org/drawingml/2006/main" xmlns:r="http://schemas.openxmlformats.org/officeDocument/2006/relationships" xmlns:p="http://schemas.openxmlformats.org/presentationml/2006/main">
  <p:tag name="DEVSCOPEPBISMARTSHAPES.TAG" val="{&quot;Id&quot;:&quot;04de8842cee64f5497fae23dcd390a59&quot;,&quot;CaptureId&quot;:null,&quot;Name&quot;:&quot;C19 VIR&quot;,&quot;Description&quot;:null,&quot;DoNotIncludeHyperlinkToPbi&quot;:true,&quot;PbiElement&quot;:{&quot;ElementType&quot;:3,&quot;Page&quot;:{&quot;Name&quot;:&quot;ReportSection33bcbd2dcdd0126c47b6&quot;,&quot;DisplayName&quot;:&quot;gbl_sum_absorption&quot;,&quot;Visuals&quot;:null,&quot;SavedFilters&quot;:null,&quot;FilterSettings&quot;:null},&quot;SavedBookmark&quot;:null,&quot;SelectedBookmark&quot;:null,&quot;BaseSlicers&quot;:null,&quot;SavedSlicers&quot;:null,&quot;Name&quot;:&quot;C19 VIR&quot;,&quot;Id&quot;:&quot;454f9407-0ffc-4348-8b07-8863118752ca&quot;,&quot;Title&quot;:&quot;C19 VIR&quot;,&quot;EmbedUrl&quot;:&quot;https://app.powerbi.com/reportEmbed?reportId=454f9407-0ffc-4348-8b07-8863118752ca&amp;config=eyJjbHVzdGVyVXJsIjoiaHR0cHM6Ly9XQUJJLU5PUlRILUVVUk9QRS1HLVBSSU1BUlktcmVkaXJlY3QuYW5hbHlzaXMud2luZG93cy5uZXQiLCJlbWJlZEZlYXR1cmVzIjp7InVzYWdlTWV0cmljc1ZOZXh0Ijp0cnVlfX0%3d&quot;,&quot;WebUrl&quot;:&quot;https://app.powerbi.com/groups/me/reports/454f9407-0ffc-4348-8b07-8863118752ca&quot;,&quot;RenderSettings&quot;:{&quot;AbsoluteHeightEnabled&quot;:false,&quot;AbsoluteWidthEnabled&quot;:false,&quot;AbsoluteHeight&quot;:0.0,&quot;AbsoluteWidth&quot;:0.0,&quot;DelayBeforeRender&quot;:3000.0,&quot;DelayBeforeRenderEnabled&quot;:false,&quot;UserControlledWaitDelayEnabled&quot;:false,&quot;ViewResize&quot;:0,&quot;TimeStamp&quot;:{&quot;Enabled&quot;:false}},&quot;Parent&quot;:null,&quot;LastRenderedSize&quot;:&quot;1680, 1050&quot;,&quot;LastRenderScale&quot;:1.5,&quot;LastRenderStatus&quot;:5,&quot;LastRenderStatusMessage&quot;:&quot;&quot;},&quot;ShapeType&quot;:0,&quot;ShapeWidth&quot;:1920,&quot;ShapeHeight&quot;:1080}"/>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0.xml><?xml version="1.0" encoding="utf-8"?>
<a:theme xmlns:a="http://schemas.openxmlformats.org/drawingml/2006/main" name="4_Office Theme">
  <a:themeElements>
    <a:clrScheme name="Combo Vax">
      <a:dk1>
        <a:srgbClr val="3A4151"/>
      </a:dk1>
      <a:lt1>
        <a:srgbClr val="FFFFFF"/>
      </a:lt1>
      <a:dk2>
        <a:srgbClr val="172957"/>
      </a:dk2>
      <a:lt2>
        <a:srgbClr val="F4ECE7"/>
      </a:lt2>
      <a:accent1>
        <a:srgbClr val="0099D6"/>
      </a:accent1>
      <a:accent2>
        <a:srgbClr val="4F4FCD"/>
      </a:accent2>
      <a:accent3>
        <a:srgbClr val="A6228A"/>
      </a:accent3>
      <a:accent4>
        <a:srgbClr val="008B9B"/>
      </a:accent4>
      <a:accent5>
        <a:srgbClr val="7EBB41"/>
      </a:accent5>
      <a:accent6>
        <a:srgbClr val="172957"/>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TH_ComboVAX_L2  -  Read-Only" id="{666D50A4-C2F8-45E9-B572-BFDEAB271D1D}" vid="{BCEFF1E2-6D41-4DFE-AD5E-19AA4423E403}"/>
    </a:ext>
  </a:extLst>
</a:theme>
</file>

<file path=ppt/theme/theme11.xml><?xml version="1.0" encoding="utf-8"?>
<a:theme xmlns:a="http://schemas.openxmlformats.org/drawingml/2006/main" name="5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2.xml><?xml version="1.0" encoding="utf-8"?>
<a:theme xmlns:a="http://schemas.openxmlformats.org/drawingml/2006/main" name="1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13.xml><?xml version="1.0" encoding="utf-8"?>
<a:theme xmlns:a="http://schemas.openxmlformats.org/drawingml/2006/main" name="2_White">
  <a:themeElements>
    <a:clrScheme name="Scheme1">
      <a:dk1>
        <a:srgbClr val="000000"/>
      </a:dk1>
      <a:lt1>
        <a:srgbClr val="FFFFFF"/>
      </a:lt1>
      <a:dk2>
        <a:srgbClr val="FFFFFF"/>
      </a:dk2>
      <a:lt2>
        <a:srgbClr val="FFFFFF"/>
      </a:lt2>
      <a:accent1>
        <a:srgbClr val="025295"/>
      </a:accent1>
      <a:accent2>
        <a:srgbClr val="2D9AD7"/>
      </a:accent2>
      <a:accent3>
        <a:srgbClr val="9CCFEC"/>
      </a:accent3>
      <a:accent4>
        <a:srgbClr val="F8981D"/>
      </a:accent4>
      <a:accent5>
        <a:srgbClr val="FABD86"/>
      </a:accent5>
      <a:accent6>
        <a:srgbClr val="DDDDDD"/>
      </a:accent6>
      <a:hlink>
        <a:srgbClr val="0000FF"/>
      </a:hlink>
      <a:folHlink>
        <a:srgbClr val="800080"/>
      </a:folHlink>
    </a:clrScheme>
    <a:fontScheme name="Custom">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25295"/>
        </a:accent1>
        <a:accent2>
          <a:srgbClr val="2D9AD7"/>
        </a:accent2>
        <a:accent3>
          <a:srgbClr val="9CCFEC"/>
        </a:accent3>
        <a:accent4>
          <a:srgbClr val="F8981D"/>
        </a:accent4>
        <a:accent5>
          <a:srgbClr val="FABD86"/>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0002UT01_CF_16x9_ENG_V1_Template.potx" id="{1B32E31D-02EE-4A5A-AFE8-B2101871C747}" vid="{B3AD19C8-05B2-44EE-B332-85FF4B32A4EA}"/>
    </a:ext>
  </a:extLst>
</a:theme>
</file>

<file path=ppt/theme/theme14.xml><?xml version="1.0" encoding="utf-8"?>
<a:theme xmlns:a="http://schemas.openxmlformats.org/drawingml/2006/main" name="6_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_presentation_template_R1_V06" id="{1BDC1073-AB81-8147-89C3-A79EC2A6301F}" vid="{9D092595-E6B8-C345-B470-402B85CA4A40}"/>
    </a:ext>
  </a:extLst>
</a:theme>
</file>

<file path=ppt/theme/theme15.xml><?xml version="1.0" encoding="utf-8"?>
<a:theme xmlns:a="http://schemas.openxmlformats.org/drawingml/2006/main" name="7_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_presentation_template_R1_V06" id="{1BDC1073-AB81-8147-89C3-A79EC2A6301F}" vid="{9D092595-E6B8-C345-B470-402B85CA4A40}"/>
    </a:ext>
  </a:extLst>
</a:theme>
</file>

<file path=ppt/theme/theme16.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9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8.xml><?xml version="1.0" encoding="utf-8"?>
<a:theme xmlns:a="http://schemas.openxmlformats.org/drawingml/2006/main" name="7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8526BCE4-38A6-4031-BCC7-2AD2232B6817}" vid="{70D14FDA-EDCE-41AB-9C37-844C1F8202D4}"/>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 Master Deck" id="{19C13EDA-FEE5-4E14-9B49-C74B3F274ED1}" vid="{59CDF839-5338-437B-B347-22A50048DBC9}"/>
    </a:ext>
  </a:extLst>
</a:theme>
</file>

<file path=ppt/theme/theme3.xml><?xml version="1.0" encoding="utf-8"?>
<a:theme xmlns:a="http://schemas.openxmlformats.org/drawingml/2006/main" name="2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4.xml><?xml version="1.0" encoding="utf-8"?>
<a:theme xmlns:a="http://schemas.openxmlformats.org/drawingml/2006/main" name="1_Immunization Agenda 2030 Grid 16:9 - 23047">
  <a:themeElements>
    <a:clrScheme name="Custom 1">
      <a:dk1>
        <a:srgbClr val="000000"/>
      </a:dk1>
      <a:lt1>
        <a:srgbClr val="FFFFFF"/>
      </a:lt1>
      <a:dk2>
        <a:srgbClr val="1F4675"/>
      </a:dk2>
      <a:lt2>
        <a:srgbClr val="F2F2F2"/>
      </a:lt2>
      <a:accent1>
        <a:srgbClr val="001738"/>
      </a:accent1>
      <a:accent2>
        <a:srgbClr val="18375C"/>
      </a:accent2>
      <a:accent3>
        <a:srgbClr val="FFD300"/>
      </a:accent3>
      <a:accent4>
        <a:srgbClr val="59B8CD"/>
      </a:accent4>
      <a:accent5>
        <a:srgbClr val="707070"/>
      </a:accent5>
      <a:accent6>
        <a:srgbClr val="EB5953"/>
      </a:accent6>
      <a:hlink>
        <a:srgbClr val="00C871"/>
      </a:hlink>
      <a:folHlink>
        <a:srgbClr val="00281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F4675"/>
        </a:solidFill>
        <a:ln w="9525" cap="rnd" cmpd="sng" algn="ctr">
          <a:solidFill>
            <a:srgbClr val="1F4675"/>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1_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_presentation_template_R1_V06" id="{1BDC1073-AB81-8147-89C3-A79EC2A6301F}" vid="{9D092595-E6B8-C345-B470-402B85CA4A40}"/>
    </a:ext>
  </a:extLst>
</a:theme>
</file>

<file path=ppt/theme/theme6.xml><?xml version="1.0" encoding="utf-8"?>
<a:theme xmlns:a="http://schemas.openxmlformats.org/drawingml/2006/main" name="2_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_presentation_template_R1_V06" id="{1BDC1073-AB81-8147-89C3-A79EC2A6301F}" vid="{9D092595-E6B8-C345-B470-402B85CA4A40}"/>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6E007DE1-C749-4141-AAA6-ECCB399C1BBF}" vid="{5C7CAB7F-DB36-4314-8809-53ECFB07F9B3}"/>
    </a:ext>
  </a:extLst>
</a:theme>
</file>

<file path=ppt/theme/theme9.xml><?xml version="1.0" encoding="utf-8"?>
<a:theme xmlns:a="http://schemas.openxmlformats.org/drawingml/2006/main" name="1_Whit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58</TotalTime>
  <Words>6106</Words>
  <Application>Microsoft Office PowerPoint</Application>
  <PresentationFormat>Widescreen</PresentationFormat>
  <Paragraphs>656</Paragraphs>
  <Slides>53</Slides>
  <Notes>28</Notes>
  <HiddenSlides>1</HiddenSlides>
  <MMClips>0</MMClips>
  <ScaleCrop>false</ScaleCrop>
  <HeadingPairs>
    <vt:vector size="8" baseType="variant">
      <vt:variant>
        <vt:lpstr>Fonts Used</vt:lpstr>
      </vt:variant>
      <vt:variant>
        <vt:i4>26</vt:i4>
      </vt:variant>
      <vt:variant>
        <vt:lpstr>Theme</vt:lpstr>
      </vt:variant>
      <vt:variant>
        <vt:i4>18</vt:i4>
      </vt:variant>
      <vt:variant>
        <vt:lpstr>Embedded OLE Servers</vt:lpstr>
      </vt:variant>
      <vt:variant>
        <vt:i4>1</vt:i4>
      </vt:variant>
      <vt:variant>
        <vt:lpstr>Slide Titles</vt:lpstr>
      </vt:variant>
      <vt:variant>
        <vt:i4>53</vt:i4>
      </vt:variant>
    </vt:vector>
  </HeadingPairs>
  <TitlesOfParts>
    <vt:vector size="98" baseType="lpstr">
      <vt:lpstr>.AppleSystemUIFont</vt:lpstr>
      <vt:lpstr>Aptos</vt:lpstr>
      <vt:lpstr>Aptos Display</vt:lpstr>
      <vt:lpstr>Arial</vt:lpstr>
      <vt:lpstr>Arial Bold</vt:lpstr>
      <vt:lpstr>Arvo</vt:lpstr>
      <vt:lpstr>Calibri</vt:lpstr>
      <vt:lpstr>Calibri (body)</vt:lpstr>
      <vt:lpstr>Calibri Light</vt:lpstr>
      <vt:lpstr>Calibri Light (Headings)</vt:lpstr>
      <vt:lpstr>Century Gothic</vt:lpstr>
      <vt:lpstr>Corbel</vt:lpstr>
      <vt:lpstr>Courier New</vt:lpstr>
      <vt:lpstr>DIN Alternate</vt:lpstr>
      <vt:lpstr>Ebrima (Headings)</vt:lpstr>
      <vt:lpstr>Leelawadee</vt:lpstr>
      <vt:lpstr>Open Sans</vt:lpstr>
      <vt:lpstr>Poppins</vt:lpstr>
      <vt:lpstr>Poppins Light</vt:lpstr>
      <vt:lpstr>Poppins Medium</vt:lpstr>
      <vt:lpstr>Poppins SemiBold</vt:lpstr>
      <vt:lpstr>Raleway</vt:lpstr>
      <vt:lpstr>Segoe UI</vt:lpstr>
      <vt:lpstr>Times New Roman</vt:lpstr>
      <vt:lpstr>Trebuchet MS</vt:lpstr>
      <vt:lpstr>Wingdings</vt:lpstr>
      <vt:lpstr>4_WHO/IVB Presentation</vt:lpstr>
      <vt:lpstr>WHO/IVB Presentation</vt:lpstr>
      <vt:lpstr>2_WHO/IVB Presentation</vt:lpstr>
      <vt:lpstr>1_Immunization Agenda 2030 Grid 16:9 - 23047</vt:lpstr>
      <vt:lpstr>1_Office Theme</vt:lpstr>
      <vt:lpstr>2_Office Theme</vt:lpstr>
      <vt:lpstr>3_Office Theme</vt:lpstr>
      <vt:lpstr>1_WHO/IVB Presentation</vt:lpstr>
      <vt:lpstr>1_White slides</vt:lpstr>
      <vt:lpstr>4_Office Theme</vt:lpstr>
      <vt:lpstr>5_WHO/IVB Presentation</vt:lpstr>
      <vt:lpstr>11_WHO/IVB Presentation</vt:lpstr>
      <vt:lpstr>2_White</vt:lpstr>
      <vt:lpstr>6_Office Theme</vt:lpstr>
      <vt:lpstr>7_Office Theme</vt:lpstr>
      <vt:lpstr>5_Office Theme</vt:lpstr>
      <vt:lpstr>9_WHO/IVB Presentation</vt:lpstr>
      <vt:lpstr>7_WHO/IVB Presentation</vt:lpstr>
      <vt:lpstr>think-cell Slide</vt:lpstr>
      <vt:lpstr>Global NITAG Network (GNN) SAGE Digest</vt:lpstr>
      <vt:lpstr>AGENDA</vt:lpstr>
      <vt:lpstr>Last meeting for the SAGE Chair and SAGE executive secretary </vt:lpstr>
      <vt:lpstr>Welcome to the new SAGE executive secretary </vt:lpstr>
      <vt:lpstr>PowerPoint Presentation</vt:lpstr>
      <vt:lpstr>The global health context is becoming more challenging. For countries, for global health agencies</vt:lpstr>
      <vt:lpstr>PowerPoint Presentation</vt:lpstr>
      <vt:lpstr>PowerPoint Presentation</vt:lpstr>
      <vt:lpstr>Promoting country ownership in decision-making to maximise health impact, within available resources </vt:lpstr>
      <vt:lpstr>WHO and SAGE’s normative role in immunization policy is more critical than ever</vt:lpstr>
      <vt:lpstr>REPORT FROM GAVI, THE VACCINE ALLIANCE</vt:lpstr>
      <vt:lpstr>REGIONAL REPORTS</vt:lpstr>
      <vt:lpstr>PowerPoint Presentation</vt:lpstr>
      <vt:lpstr>Despite significant progress towards impact goals, we are off-track to reach most targets defined in ia2030</vt:lpstr>
      <vt:lpstr>IA2030 mid-term report</vt:lpstr>
      <vt:lpstr>PowerPoint Presentation</vt:lpstr>
      <vt:lpstr>Avian influenza outbreaks, World Organization for Animal Health (WOAH) and Food and Agriculture Organization of the United Nations (FAO)</vt:lpstr>
      <vt:lpstr>Detections of zoonotic influenza A(H5) Gs/Gd lineage viruses in humans </vt:lpstr>
      <vt:lpstr>Summary: approved A(H5) vaccines                           </vt:lpstr>
      <vt:lpstr>At least 13 influenza A(H5) vaccine candidates in clinical studies</vt:lpstr>
      <vt:lpstr>Background: Existing SAGE recommendations on the use of licensed human H5N1 influenza vaccines in the interpandemic period</vt:lpstr>
      <vt:lpstr>INFLUENZA A (H5) VACCINES – SAGE RECOMMENDATIONS</vt:lpstr>
      <vt:lpstr>PowerPoint Presentation</vt:lpstr>
      <vt:lpstr>COVID-19 deaths reported by age  As of 31 July 2025  </vt:lpstr>
      <vt:lpstr>PowerPoint Presentation</vt:lpstr>
      <vt:lpstr>Up-to-date or relative VE (%) against death and severe disease  during JN.1 predominance (BA.2.86/JN.1/KP/XEC/LP.8.1),  high priority use groups</vt:lpstr>
      <vt:lpstr>COVID-19 – SAGE OBSERVATIONS &amp; CONCLUSIONS</vt:lpstr>
      <vt:lpstr>PowerPoint Presentation</vt:lpstr>
      <vt:lpstr>The global TB situation</vt:lpstr>
      <vt:lpstr>PowerPoint Presentation</vt:lpstr>
      <vt:lpstr>TUBERCULOSIS VACCINES - CONCLUSIONS</vt:lpstr>
      <vt:lpstr>PowerPoint Presentation</vt:lpstr>
      <vt:lpstr>Combination vaccines could help broaden and strengthen immunization programs, but few are in development </vt:lpstr>
      <vt:lpstr>Staged approach to prioritize combinations</vt:lpstr>
      <vt:lpstr>Emerging opportunities, cluster view</vt:lpstr>
      <vt:lpstr>COMBINATION VACCINES - CONCLUSIONS</vt:lpstr>
      <vt:lpstr>PowerPoint Presentation</vt:lpstr>
      <vt:lpstr>Poliomyelitis - agenda</vt:lpstr>
      <vt:lpstr>PowerPoint Presentation</vt:lpstr>
      <vt:lpstr>Goal 2 Update (cVDPV2): Progress in Southern AFR &amp; DRC; Lake Chad Basin &amp; Horn of Africa driving cVDPV2 transmission</vt:lpstr>
      <vt:lpstr>Update on bOPV Cessation Planning to SAGE</vt:lpstr>
      <vt:lpstr>Sabin-based Fractional IPV (sfIPV)</vt:lpstr>
      <vt:lpstr>bOPV in RI after wP-Hexa Introduction</vt:lpstr>
      <vt:lpstr>Expanded use of nOPV2</vt:lpstr>
      <vt:lpstr>POLIOMYELITIS – OBSERVATIONS AND RECOMMENDATIONS (1/2)</vt:lpstr>
      <vt:lpstr>POLIOMYELITIS – OBSERVATIONS AND RECOMMENDATIONS (2/2)</vt:lpstr>
      <vt:lpstr>PowerPoint Presentation</vt:lpstr>
      <vt:lpstr>Status of malaria vaccine roll-out  As of 24 Sept 2025</vt:lpstr>
      <vt:lpstr>Rationale and background</vt:lpstr>
      <vt:lpstr>PowerPoint Presentation</vt:lpstr>
      <vt:lpstr>Summary of RTS,S/AS01 case control study results: Safety and Effectiveness against severe malaria and cerebral malaria</vt:lpstr>
      <vt:lpstr>MALARIA VACCINES – CONCLUSIONS &amp; RECOMMENDA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ENAFF, Louise</dc:creator>
  <cp:lastModifiedBy>HENAFF, Louise</cp:lastModifiedBy>
  <cp:revision>1</cp:revision>
  <dcterms:created xsi:type="dcterms:W3CDTF">2025-10-02T09:29:41Z</dcterms:created>
  <dcterms:modified xsi:type="dcterms:W3CDTF">2025-10-02T12:02:03Z</dcterms:modified>
</cp:coreProperties>
</file>